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2.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3.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4.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25.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26.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27.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28.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29.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38.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0" r:id="rId1"/>
  </p:sldMasterIdLst>
  <p:notesMasterIdLst>
    <p:notesMasterId r:id="rId62"/>
  </p:notesMasterIdLst>
  <p:handoutMasterIdLst>
    <p:handoutMasterId r:id="rId63"/>
  </p:handoutMasterIdLst>
  <p:sldIdLst>
    <p:sldId id="808" r:id="rId2"/>
    <p:sldId id="257" r:id="rId3"/>
    <p:sldId id="743" r:id="rId4"/>
    <p:sldId id="798" r:id="rId5"/>
    <p:sldId id="744" r:id="rId6"/>
    <p:sldId id="782" r:id="rId7"/>
    <p:sldId id="871" r:id="rId8"/>
    <p:sldId id="859" r:id="rId9"/>
    <p:sldId id="860" r:id="rId10"/>
    <p:sldId id="848" r:id="rId11"/>
    <p:sldId id="854" r:id="rId12"/>
    <p:sldId id="747" r:id="rId13"/>
    <p:sldId id="748" r:id="rId14"/>
    <p:sldId id="749" r:id="rId15"/>
    <p:sldId id="750" r:id="rId16"/>
    <p:sldId id="751" r:id="rId17"/>
    <p:sldId id="752" r:id="rId18"/>
    <p:sldId id="753" r:id="rId19"/>
    <p:sldId id="754" r:id="rId20"/>
    <p:sldId id="755" r:id="rId21"/>
    <p:sldId id="861" r:id="rId22"/>
    <p:sldId id="849" r:id="rId23"/>
    <p:sldId id="855" r:id="rId24"/>
    <p:sldId id="862" r:id="rId25"/>
    <p:sldId id="758" r:id="rId26"/>
    <p:sldId id="759" r:id="rId27"/>
    <p:sldId id="760" r:id="rId28"/>
    <p:sldId id="761" r:id="rId29"/>
    <p:sldId id="762" r:id="rId30"/>
    <p:sldId id="763" r:id="rId31"/>
    <p:sldId id="764" r:id="rId32"/>
    <p:sldId id="765" r:id="rId33"/>
    <p:sldId id="766" r:id="rId34"/>
    <p:sldId id="853" r:id="rId35"/>
    <p:sldId id="804" r:id="rId36"/>
    <p:sldId id="805" r:id="rId37"/>
    <p:sldId id="866" r:id="rId38"/>
    <p:sldId id="815" r:id="rId39"/>
    <p:sldId id="814" r:id="rId40"/>
    <p:sldId id="839" r:id="rId41"/>
    <p:sldId id="813" r:id="rId42"/>
    <p:sldId id="816" r:id="rId43"/>
    <p:sldId id="817" r:id="rId44"/>
    <p:sldId id="769" r:id="rId45"/>
    <p:sldId id="770" r:id="rId46"/>
    <p:sldId id="777" r:id="rId47"/>
    <p:sldId id="778" r:id="rId48"/>
    <p:sldId id="771" r:id="rId49"/>
    <p:sldId id="779" r:id="rId50"/>
    <p:sldId id="780" r:id="rId51"/>
    <p:sldId id="864" r:id="rId52"/>
    <p:sldId id="852" r:id="rId53"/>
    <p:sldId id="850" r:id="rId54"/>
    <p:sldId id="856" r:id="rId55"/>
    <p:sldId id="841" r:id="rId56"/>
    <p:sldId id="867" r:id="rId57"/>
    <p:sldId id="869" r:id="rId58"/>
    <p:sldId id="868" r:id="rId59"/>
    <p:sldId id="858" r:id="rId60"/>
    <p:sldId id="371" r:id="rId61"/>
  </p:sldIdLst>
  <p:sldSz cx="9144000" cy="6858000" type="screen4x3"/>
  <p:notesSz cx="6858000" cy="9144000"/>
  <p:defaultTextStyle>
    <a:defPPr>
      <a:defRPr lang="en-US"/>
    </a:defPPr>
    <a:lvl1pPr algn="l" rtl="0" fontAlgn="base">
      <a:spcBef>
        <a:spcPct val="0"/>
      </a:spcBef>
      <a:spcAft>
        <a:spcPct val="0"/>
      </a:spcAft>
      <a:defRPr sz="1600" b="1" kern="1200">
        <a:solidFill>
          <a:schemeClr val="tx1"/>
        </a:solidFill>
        <a:latin typeface="Arial" charset="0"/>
        <a:ea typeface="宋体" pitchFamily="2" charset="-122"/>
        <a:cs typeface="+mn-cs"/>
      </a:defRPr>
    </a:lvl1pPr>
    <a:lvl2pPr marL="457200" algn="l" rtl="0" fontAlgn="base">
      <a:spcBef>
        <a:spcPct val="0"/>
      </a:spcBef>
      <a:spcAft>
        <a:spcPct val="0"/>
      </a:spcAft>
      <a:defRPr sz="1600" b="1" kern="1200">
        <a:solidFill>
          <a:schemeClr val="tx1"/>
        </a:solidFill>
        <a:latin typeface="Arial" charset="0"/>
        <a:ea typeface="宋体" pitchFamily="2" charset="-122"/>
        <a:cs typeface="+mn-cs"/>
      </a:defRPr>
    </a:lvl2pPr>
    <a:lvl3pPr marL="914400" algn="l" rtl="0" fontAlgn="base">
      <a:spcBef>
        <a:spcPct val="0"/>
      </a:spcBef>
      <a:spcAft>
        <a:spcPct val="0"/>
      </a:spcAft>
      <a:defRPr sz="1600" b="1" kern="1200">
        <a:solidFill>
          <a:schemeClr val="tx1"/>
        </a:solidFill>
        <a:latin typeface="Arial" charset="0"/>
        <a:ea typeface="宋体" pitchFamily="2" charset="-122"/>
        <a:cs typeface="+mn-cs"/>
      </a:defRPr>
    </a:lvl3pPr>
    <a:lvl4pPr marL="1371600" algn="l" rtl="0" fontAlgn="base">
      <a:spcBef>
        <a:spcPct val="0"/>
      </a:spcBef>
      <a:spcAft>
        <a:spcPct val="0"/>
      </a:spcAft>
      <a:defRPr sz="1600" b="1" kern="1200">
        <a:solidFill>
          <a:schemeClr val="tx1"/>
        </a:solidFill>
        <a:latin typeface="Arial" charset="0"/>
        <a:ea typeface="宋体" pitchFamily="2" charset="-122"/>
        <a:cs typeface="+mn-cs"/>
      </a:defRPr>
    </a:lvl4pPr>
    <a:lvl5pPr marL="1828800" algn="l" rtl="0" fontAlgn="base">
      <a:spcBef>
        <a:spcPct val="0"/>
      </a:spcBef>
      <a:spcAft>
        <a:spcPct val="0"/>
      </a:spcAft>
      <a:defRPr sz="1600" b="1" kern="1200">
        <a:solidFill>
          <a:schemeClr val="tx1"/>
        </a:solidFill>
        <a:latin typeface="Arial" charset="0"/>
        <a:ea typeface="宋体" pitchFamily="2" charset="-122"/>
        <a:cs typeface="+mn-cs"/>
      </a:defRPr>
    </a:lvl5pPr>
    <a:lvl6pPr marL="2286000" algn="l" defTabSz="914400" rtl="0" eaLnBrk="1" latinLnBrk="0" hangingPunct="1">
      <a:defRPr sz="1600" b="1" kern="1200">
        <a:solidFill>
          <a:schemeClr val="tx1"/>
        </a:solidFill>
        <a:latin typeface="Arial" charset="0"/>
        <a:ea typeface="宋体" pitchFamily="2" charset="-122"/>
        <a:cs typeface="+mn-cs"/>
      </a:defRPr>
    </a:lvl6pPr>
    <a:lvl7pPr marL="2743200" algn="l" defTabSz="914400" rtl="0" eaLnBrk="1" latinLnBrk="0" hangingPunct="1">
      <a:defRPr sz="1600" b="1" kern="1200">
        <a:solidFill>
          <a:schemeClr val="tx1"/>
        </a:solidFill>
        <a:latin typeface="Arial" charset="0"/>
        <a:ea typeface="宋体" pitchFamily="2" charset="-122"/>
        <a:cs typeface="+mn-cs"/>
      </a:defRPr>
    </a:lvl7pPr>
    <a:lvl8pPr marL="3200400" algn="l" defTabSz="914400" rtl="0" eaLnBrk="1" latinLnBrk="0" hangingPunct="1">
      <a:defRPr sz="1600" b="1" kern="1200">
        <a:solidFill>
          <a:schemeClr val="tx1"/>
        </a:solidFill>
        <a:latin typeface="Arial" charset="0"/>
        <a:ea typeface="宋体" pitchFamily="2" charset="-122"/>
        <a:cs typeface="+mn-cs"/>
      </a:defRPr>
    </a:lvl8pPr>
    <a:lvl9pPr marL="3657600" algn="l" defTabSz="914400" rtl="0" eaLnBrk="1" latinLnBrk="0" hangingPunct="1">
      <a:defRPr sz="1600" b="1" kern="1200">
        <a:solidFill>
          <a:schemeClr val="tx1"/>
        </a:solidFill>
        <a:latin typeface="Arial" charset="0"/>
        <a:ea typeface="宋体" pitchFamily="2" charset="-122"/>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BCCFF"/>
    <a:srgbClr val="93BFFF"/>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6D9F66E-5EB9-4882-86FB-DCBF35E3C3E4}" styleName="中度样式 4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329" autoAdjust="0"/>
    <p:restoredTop sz="85086" autoAdjust="0"/>
  </p:normalViewPr>
  <p:slideViewPr>
    <p:cSldViewPr snapToGrid="0">
      <p:cViewPr varScale="1">
        <p:scale>
          <a:sx n="76" d="100"/>
          <a:sy n="76" d="100"/>
        </p:scale>
        <p:origin x="1382" y="4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9" d="100"/>
          <a:sy n="69" d="100"/>
        </p:scale>
        <p:origin x="2784" y="39"/>
      </p:cViewPr>
      <p:guideLst/>
    </p:cSldViewPr>
  </p:notesViewPr>
  <p:gridSpacing cx="720089" cy="720089"/>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15E570-C4A0-4E97-9390-5348FA562CA0}" type="doc">
      <dgm:prSet loTypeId="urn:microsoft.com/office/officeart/2005/8/layout/funnel1" loCatId="process" qsTypeId="urn:microsoft.com/office/officeart/2005/8/quickstyle/simple1" qsCatId="simple" csTypeId="urn:microsoft.com/office/officeart/2005/8/colors/accent1_2" csCatId="accent1" phldr="1"/>
      <dgm:spPr/>
    </dgm:pt>
    <dgm:pt modelId="{80F2C6A7-F436-4B43-9AE2-5FFB62E438F4}">
      <dgm:prSet phldrT="[文本]"/>
      <dgm:spPr/>
      <dgm:t>
        <a:bodyPr/>
        <a:lstStyle/>
        <a:p>
          <a:r>
            <a:rPr lang="zh-CN" altLang="en-US" dirty="0" smtClean="0">
              <a:solidFill>
                <a:schemeClr val="tx1"/>
              </a:solidFill>
            </a:rPr>
            <a:t>模拟入侵过程</a:t>
          </a:r>
          <a:endParaRPr lang="zh-CN" altLang="en-US" dirty="0">
            <a:solidFill>
              <a:schemeClr val="tx1"/>
            </a:solidFill>
          </a:endParaRPr>
        </a:p>
      </dgm:t>
    </dgm:pt>
    <dgm:pt modelId="{7F07E48E-D2ED-4007-85F3-F25C1EFF7C17}" type="parTrans" cxnId="{893E68B0-987F-4709-BDE9-0FC382424BEE}">
      <dgm:prSet/>
      <dgm:spPr/>
      <dgm:t>
        <a:bodyPr/>
        <a:lstStyle/>
        <a:p>
          <a:endParaRPr lang="zh-CN" altLang="en-US">
            <a:solidFill>
              <a:schemeClr val="tx1"/>
            </a:solidFill>
          </a:endParaRPr>
        </a:p>
      </dgm:t>
    </dgm:pt>
    <dgm:pt modelId="{8C870D7B-4322-4B87-9895-BD2FE1015952}" type="sibTrans" cxnId="{893E68B0-987F-4709-BDE9-0FC382424BEE}">
      <dgm:prSet/>
      <dgm:spPr/>
      <dgm:t>
        <a:bodyPr/>
        <a:lstStyle/>
        <a:p>
          <a:endParaRPr lang="zh-CN" altLang="en-US">
            <a:solidFill>
              <a:schemeClr val="tx1"/>
            </a:solidFill>
          </a:endParaRPr>
        </a:p>
      </dgm:t>
    </dgm:pt>
    <dgm:pt modelId="{8AA01A18-83D5-42B6-9605-08155A384405}">
      <dgm:prSet phldrT="[文本]"/>
      <dgm:spPr/>
      <dgm:t>
        <a:bodyPr/>
        <a:lstStyle/>
        <a:p>
          <a:r>
            <a:rPr lang="zh-CN" altLang="en-US" dirty="0" smtClean="0">
              <a:solidFill>
                <a:schemeClr val="tx1"/>
              </a:solidFill>
            </a:rPr>
            <a:t>评估验证弱点</a:t>
          </a:r>
          <a:endParaRPr lang="zh-CN" altLang="en-US" dirty="0">
            <a:solidFill>
              <a:schemeClr val="tx1"/>
            </a:solidFill>
          </a:endParaRPr>
        </a:p>
      </dgm:t>
    </dgm:pt>
    <dgm:pt modelId="{CA586AB3-5821-4849-82A2-BBCA0B86891B}" type="parTrans" cxnId="{96386752-676E-45A6-A04D-3782DA0C4B75}">
      <dgm:prSet/>
      <dgm:spPr/>
      <dgm:t>
        <a:bodyPr/>
        <a:lstStyle/>
        <a:p>
          <a:endParaRPr lang="zh-CN" altLang="en-US">
            <a:solidFill>
              <a:schemeClr val="tx1"/>
            </a:solidFill>
          </a:endParaRPr>
        </a:p>
      </dgm:t>
    </dgm:pt>
    <dgm:pt modelId="{3C7059C4-1479-4CDE-87D0-9CD0BFC745E1}" type="sibTrans" cxnId="{96386752-676E-45A6-A04D-3782DA0C4B75}">
      <dgm:prSet/>
      <dgm:spPr/>
      <dgm:t>
        <a:bodyPr/>
        <a:lstStyle/>
        <a:p>
          <a:endParaRPr lang="zh-CN" altLang="en-US">
            <a:solidFill>
              <a:schemeClr val="tx1"/>
            </a:solidFill>
          </a:endParaRPr>
        </a:p>
      </dgm:t>
    </dgm:pt>
    <dgm:pt modelId="{0878602D-9264-423F-85E3-ED7BCCCCC15F}">
      <dgm:prSet phldrT="[文本]"/>
      <dgm:spPr/>
      <dgm:t>
        <a:bodyPr/>
        <a:lstStyle/>
        <a:p>
          <a:r>
            <a:rPr lang="zh-CN" altLang="en-US" dirty="0" smtClean="0">
              <a:solidFill>
                <a:schemeClr val="tx1"/>
              </a:solidFill>
            </a:rPr>
            <a:t>结合业务属性，评估危害和影响</a:t>
          </a:r>
          <a:endParaRPr lang="zh-CN" altLang="en-US" dirty="0">
            <a:solidFill>
              <a:schemeClr val="tx1"/>
            </a:solidFill>
          </a:endParaRPr>
        </a:p>
      </dgm:t>
    </dgm:pt>
    <dgm:pt modelId="{029916EF-8076-4336-950C-9FD2227DC263}" type="parTrans" cxnId="{6CD300DE-9BBC-4C34-8BAA-C442A8983828}">
      <dgm:prSet/>
      <dgm:spPr/>
      <dgm:t>
        <a:bodyPr/>
        <a:lstStyle/>
        <a:p>
          <a:endParaRPr lang="zh-CN" altLang="en-US">
            <a:solidFill>
              <a:schemeClr val="tx1"/>
            </a:solidFill>
          </a:endParaRPr>
        </a:p>
      </dgm:t>
    </dgm:pt>
    <dgm:pt modelId="{025DD9F8-EFD3-45A2-8F03-BEBD4A137185}" type="sibTrans" cxnId="{6CD300DE-9BBC-4C34-8BAA-C442A8983828}">
      <dgm:prSet/>
      <dgm:spPr/>
      <dgm:t>
        <a:bodyPr/>
        <a:lstStyle/>
        <a:p>
          <a:endParaRPr lang="zh-CN" altLang="en-US">
            <a:solidFill>
              <a:schemeClr val="tx1"/>
            </a:solidFill>
          </a:endParaRPr>
        </a:p>
      </dgm:t>
    </dgm:pt>
    <dgm:pt modelId="{22493251-D43C-4E94-AFEB-C0AC66055A21}" type="pres">
      <dgm:prSet presAssocID="{4215E570-C4A0-4E97-9390-5348FA562CA0}" presName="Name0" presStyleCnt="0">
        <dgm:presLayoutVars>
          <dgm:chMax val="4"/>
          <dgm:resizeHandles val="exact"/>
        </dgm:presLayoutVars>
      </dgm:prSet>
      <dgm:spPr/>
    </dgm:pt>
    <dgm:pt modelId="{BCB7E7A9-4569-48B6-B6D0-9AD24C9B5838}" type="pres">
      <dgm:prSet presAssocID="{4215E570-C4A0-4E97-9390-5348FA562CA0}" presName="ellipse" presStyleLbl="trBgShp" presStyleIdx="0" presStyleCnt="1"/>
      <dgm:spPr/>
    </dgm:pt>
    <dgm:pt modelId="{1B44EAEC-DC51-4F30-A63B-7FA73F3E64FC}" type="pres">
      <dgm:prSet presAssocID="{4215E570-C4A0-4E97-9390-5348FA562CA0}" presName="arrow1" presStyleLbl="fgShp" presStyleIdx="0" presStyleCnt="1"/>
      <dgm:spPr/>
    </dgm:pt>
    <dgm:pt modelId="{DAA93D6D-01D5-40A6-977A-85E0044C1BAC}" type="pres">
      <dgm:prSet presAssocID="{4215E570-C4A0-4E97-9390-5348FA562CA0}" presName="rectangle" presStyleLbl="revTx" presStyleIdx="0" presStyleCnt="1" custScaleX="119319">
        <dgm:presLayoutVars>
          <dgm:bulletEnabled val="1"/>
        </dgm:presLayoutVars>
      </dgm:prSet>
      <dgm:spPr/>
      <dgm:t>
        <a:bodyPr/>
        <a:lstStyle/>
        <a:p>
          <a:endParaRPr lang="zh-CN" altLang="en-US"/>
        </a:p>
      </dgm:t>
    </dgm:pt>
    <dgm:pt modelId="{79077C3B-A658-4839-8188-9EB65014B919}" type="pres">
      <dgm:prSet presAssocID="{8AA01A18-83D5-42B6-9605-08155A384405}" presName="item1" presStyleLbl="node1" presStyleIdx="0" presStyleCnt="2">
        <dgm:presLayoutVars>
          <dgm:bulletEnabled val="1"/>
        </dgm:presLayoutVars>
      </dgm:prSet>
      <dgm:spPr/>
      <dgm:t>
        <a:bodyPr/>
        <a:lstStyle/>
        <a:p>
          <a:endParaRPr lang="zh-CN" altLang="en-US"/>
        </a:p>
      </dgm:t>
    </dgm:pt>
    <dgm:pt modelId="{AC8682A6-CDEB-4EF9-BAE4-D970FD7A2EF8}" type="pres">
      <dgm:prSet presAssocID="{0878602D-9264-423F-85E3-ED7BCCCCC15F}" presName="item2" presStyleLbl="node1" presStyleIdx="1" presStyleCnt="2">
        <dgm:presLayoutVars>
          <dgm:bulletEnabled val="1"/>
        </dgm:presLayoutVars>
      </dgm:prSet>
      <dgm:spPr/>
      <dgm:t>
        <a:bodyPr/>
        <a:lstStyle/>
        <a:p>
          <a:endParaRPr lang="zh-CN" altLang="en-US"/>
        </a:p>
      </dgm:t>
    </dgm:pt>
    <dgm:pt modelId="{42C31E17-7B99-42DF-8195-2610C34368D7}" type="pres">
      <dgm:prSet presAssocID="{4215E570-C4A0-4E97-9390-5348FA562CA0}" presName="funnel" presStyleLbl="trAlignAcc1" presStyleIdx="0" presStyleCnt="1"/>
      <dgm:spPr/>
    </dgm:pt>
  </dgm:ptLst>
  <dgm:cxnLst>
    <dgm:cxn modelId="{6CD300DE-9BBC-4C34-8BAA-C442A8983828}" srcId="{4215E570-C4A0-4E97-9390-5348FA562CA0}" destId="{0878602D-9264-423F-85E3-ED7BCCCCC15F}" srcOrd="2" destOrd="0" parTransId="{029916EF-8076-4336-950C-9FD2227DC263}" sibTransId="{025DD9F8-EFD3-45A2-8F03-BEBD4A137185}"/>
    <dgm:cxn modelId="{893E68B0-987F-4709-BDE9-0FC382424BEE}" srcId="{4215E570-C4A0-4E97-9390-5348FA562CA0}" destId="{80F2C6A7-F436-4B43-9AE2-5FFB62E438F4}" srcOrd="0" destOrd="0" parTransId="{7F07E48E-D2ED-4007-85F3-F25C1EFF7C17}" sibTransId="{8C870D7B-4322-4B87-9895-BD2FE1015952}"/>
    <dgm:cxn modelId="{AC188F2E-7196-460E-B536-7D0481ECECB5}" type="presOf" srcId="{80F2C6A7-F436-4B43-9AE2-5FFB62E438F4}" destId="{AC8682A6-CDEB-4EF9-BAE4-D970FD7A2EF8}" srcOrd="0" destOrd="0" presId="urn:microsoft.com/office/officeart/2005/8/layout/funnel1"/>
    <dgm:cxn modelId="{DC61D720-6BE0-4626-B943-27B7F5A99F4B}" type="presOf" srcId="{0878602D-9264-423F-85E3-ED7BCCCCC15F}" destId="{DAA93D6D-01D5-40A6-977A-85E0044C1BAC}" srcOrd="0" destOrd="0" presId="urn:microsoft.com/office/officeart/2005/8/layout/funnel1"/>
    <dgm:cxn modelId="{78C806C0-77D3-49F0-A374-3C7372E9D8DC}" type="presOf" srcId="{4215E570-C4A0-4E97-9390-5348FA562CA0}" destId="{22493251-D43C-4E94-AFEB-C0AC66055A21}" srcOrd="0" destOrd="0" presId="urn:microsoft.com/office/officeart/2005/8/layout/funnel1"/>
    <dgm:cxn modelId="{96386752-676E-45A6-A04D-3782DA0C4B75}" srcId="{4215E570-C4A0-4E97-9390-5348FA562CA0}" destId="{8AA01A18-83D5-42B6-9605-08155A384405}" srcOrd="1" destOrd="0" parTransId="{CA586AB3-5821-4849-82A2-BBCA0B86891B}" sibTransId="{3C7059C4-1479-4CDE-87D0-9CD0BFC745E1}"/>
    <dgm:cxn modelId="{0DCD144B-A409-4EF1-BEE1-7940D3D0AD4E}" type="presOf" srcId="{8AA01A18-83D5-42B6-9605-08155A384405}" destId="{79077C3B-A658-4839-8188-9EB65014B919}" srcOrd="0" destOrd="0" presId="urn:microsoft.com/office/officeart/2005/8/layout/funnel1"/>
    <dgm:cxn modelId="{4FDA806F-569C-4066-A231-D88D75F3DC34}" type="presParOf" srcId="{22493251-D43C-4E94-AFEB-C0AC66055A21}" destId="{BCB7E7A9-4569-48B6-B6D0-9AD24C9B5838}" srcOrd="0" destOrd="0" presId="urn:microsoft.com/office/officeart/2005/8/layout/funnel1"/>
    <dgm:cxn modelId="{AEE7D724-6867-4C40-8534-9049F6EC659F}" type="presParOf" srcId="{22493251-D43C-4E94-AFEB-C0AC66055A21}" destId="{1B44EAEC-DC51-4F30-A63B-7FA73F3E64FC}" srcOrd="1" destOrd="0" presId="urn:microsoft.com/office/officeart/2005/8/layout/funnel1"/>
    <dgm:cxn modelId="{93F5FEB3-D4C1-48EA-8793-7E22B241EA64}" type="presParOf" srcId="{22493251-D43C-4E94-AFEB-C0AC66055A21}" destId="{DAA93D6D-01D5-40A6-977A-85E0044C1BAC}" srcOrd="2" destOrd="0" presId="urn:microsoft.com/office/officeart/2005/8/layout/funnel1"/>
    <dgm:cxn modelId="{BFF04FE6-A880-4938-B3A5-AAF90D08B273}" type="presParOf" srcId="{22493251-D43C-4E94-AFEB-C0AC66055A21}" destId="{79077C3B-A658-4839-8188-9EB65014B919}" srcOrd="3" destOrd="0" presId="urn:microsoft.com/office/officeart/2005/8/layout/funnel1"/>
    <dgm:cxn modelId="{FF46DBDE-5AEE-4EC9-B79E-7F11FB8C775A}" type="presParOf" srcId="{22493251-D43C-4E94-AFEB-C0AC66055A21}" destId="{AC8682A6-CDEB-4EF9-BAE4-D970FD7A2EF8}" srcOrd="4" destOrd="0" presId="urn:microsoft.com/office/officeart/2005/8/layout/funnel1"/>
    <dgm:cxn modelId="{3A4FCC13-F81F-418D-80FF-3B59E589A0DF}" type="presParOf" srcId="{22493251-D43C-4E94-AFEB-C0AC66055A21}" destId="{42C31E17-7B99-42DF-8195-2610C34368D7}" srcOrd="5"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8441239-A9AC-4A17-B1D9-D544A2DF50FA}" type="doc">
      <dgm:prSet loTypeId="urn:microsoft.com/office/officeart/2009/3/layout/SubStepProcess" loCatId="process" qsTypeId="urn:microsoft.com/office/officeart/2005/8/quickstyle/simple1" qsCatId="simple" csTypeId="urn:microsoft.com/office/officeart/2005/8/colors/accent1_2" csCatId="accent1" phldr="1"/>
      <dgm:spPr/>
    </dgm:pt>
    <dgm:pt modelId="{9AA574CB-8BD6-4B60-9457-7F32A38BC259}">
      <dgm:prSet phldrT="[文本]"/>
      <dgm:spPr/>
      <dgm:t>
        <a:bodyPr/>
        <a:lstStyle/>
        <a:p>
          <a:r>
            <a:rPr lang="zh-CN" altLang="en-US" dirty="0" smtClean="0">
              <a:solidFill>
                <a:schemeClr val="tx1"/>
              </a:solidFill>
            </a:rPr>
            <a:t>漏洞分析阶段</a:t>
          </a:r>
          <a:endParaRPr lang="zh-CN" altLang="en-US" dirty="0">
            <a:solidFill>
              <a:schemeClr val="tx1"/>
            </a:solidFill>
          </a:endParaRPr>
        </a:p>
      </dgm:t>
    </dgm:pt>
    <dgm:pt modelId="{3D6FB2E1-2607-406D-8CE4-3F72C4E2BA7C}" type="parTrans" cxnId="{A3639D38-BD0E-4E75-8C5A-FD32AEF97BB3}">
      <dgm:prSet/>
      <dgm:spPr/>
      <dgm:t>
        <a:bodyPr/>
        <a:lstStyle/>
        <a:p>
          <a:endParaRPr lang="zh-CN" altLang="en-US">
            <a:solidFill>
              <a:schemeClr val="tx1"/>
            </a:solidFill>
          </a:endParaRPr>
        </a:p>
      </dgm:t>
    </dgm:pt>
    <dgm:pt modelId="{4A652E1D-2EE7-4BC2-8CB9-E0474E09EDEF}" type="sibTrans" cxnId="{A3639D38-BD0E-4E75-8C5A-FD32AEF97BB3}">
      <dgm:prSet/>
      <dgm:spPr/>
      <dgm:t>
        <a:bodyPr/>
        <a:lstStyle/>
        <a:p>
          <a:endParaRPr lang="zh-CN" altLang="en-US">
            <a:solidFill>
              <a:schemeClr val="tx1"/>
            </a:solidFill>
          </a:endParaRPr>
        </a:p>
      </dgm:t>
    </dgm:pt>
    <dgm:pt modelId="{FD6B28E6-35E2-4CB6-ABBB-DBBECE808BAD}">
      <dgm:prSet phldrT="[文本]"/>
      <dgm:spPr/>
      <dgm:t>
        <a:bodyPr/>
        <a:lstStyle/>
        <a:p>
          <a:r>
            <a:rPr lang="zh-CN" altLang="en-US" dirty="0" smtClean="0">
              <a:solidFill>
                <a:schemeClr val="tx1"/>
              </a:solidFill>
            </a:rPr>
            <a:t>测试</a:t>
          </a:r>
          <a:endParaRPr lang="zh-CN" altLang="en-US" dirty="0">
            <a:solidFill>
              <a:schemeClr val="tx1"/>
            </a:solidFill>
          </a:endParaRPr>
        </a:p>
      </dgm:t>
    </dgm:pt>
    <dgm:pt modelId="{1ECC388B-8232-4256-BED3-C7F7CC058BC2}" type="parTrans" cxnId="{B508C67D-6604-4C8E-AE3D-0C24E02E2117}">
      <dgm:prSet/>
      <dgm:spPr/>
      <dgm:t>
        <a:bodyPr/>
        <a:lstStyle/>
        <a:p>
          <a:endParaRPr lang="zh-CN" altLang="en-US">
            <a:solidFill>
              <a:schemeClr val="tx1"/>
            </a:solidFill>
          </a:endParaRPr>
        </a:p>
      </dgm:t>
    </dgm:pt>
    <dgm:pt modelId="{661B617C-4515-4507-8984-0AE5D70709EF}" type="sibTrans" cxnId="{B508C67D-6604-4C8E-AE3D-0C24E02E2117}">
      <dgm:prSet/>
      <dgm:spPr/>
      <dgm:t>
        <a:bodyPr/>
        <a:lstStyle/>
        <a:p>
          <a:endParaRPr lang="zh-CN" altLang="en-US">
            <a:solidFill>
              <a:schemeClr val="tx1"/>
            </a:solidFill>
          </a:endParaRPr>
        </a:p>
      </dgm:t>
    </dgm:pt>
    <dgm:pt modelId="{515E8D39-EE43-4CF9-AE44-EB5AD2DEDA4C}">
      <dgm:prSet phldrT="[文本]"/>
      <dgm:spPr/>
      <dgm:t>
        <a:bodyPr/>
        <a:lstStyle/>
        <a:p>
          <a:r>
            <a:rPr lang="zh-CN" altLang="en-US" dirty="0" smtClean="0">
              <a:solidFill>
                <a:schemeClr val="tx1"/>
              </a:solidFill>
            </a:rPr>
            <a:t>探路</a:t>
          </a:r>
          <a:endParaRPr lang="en-US" altLang="zh-CN" dirty="0" smtClean="0">
            <a:solidFill>
              <a:schemeClr val="tx1"/>
            </a:solidFill>
          </a:endParaRPr>
        </a:p>
        <a:p>
          <a:r>
            <a:rPr lang="zh-CN" altLang="en-US" dirty="0" smtClean="0">
              <a:solidFill>
                <a:schemeClr val="tx1"/>
              </a:solidFill>
            </a:rPr>
            <a:t>演练</a:t>
          </a:r>
          <a:endParaRPr lang="zh-CN" altLang="en-US" dirty="0">
            <a:solidFill>
              <a:schemeClr val="tx1"/>
            </a:solidFill>
          </a:endParaRPr>
        </a:p>
      </dgm:t>
    </dgm:pt>
    <dgm:pt modelId="{B2560591-043A-4862-B1B2-0DA05D591A3D}" type="parTrans" cxnId="{322BF860-B2C1-4A76-A0F2-7BBCF8CB6CE3}">
      <dgm:prSet/>
      <dgm:spPr/>
      <dgm:t>
        <a:bodyPr/>
        <a:lstStyle/>
        <a:p>
          <a:endParaRPr lang="zh-CN" altLang="en-US">
            <a:solidFill>
              <a:schemeClr val="tx1"/>
            </a:solidFill>
          </a:endParaRPr>
        </a:p>
      </dgm:t>
    </dgm:pt>
    <dgm:pt modelId="{EB64C95B-1BEB-4C23-B9D6-E4B6F9AC0739}" type="sibTrans" cxnId="{322BF860-B2C1-4A76-A0F2-7BBCF8CB6CE3}">
      <dgm:prSet/>
      <dgm:spPr/>
      <dgm:t>
        <a:bodyPr/>
        <a:lstStyle/>
        <a:p>
          <a:endParaRPr lang="zh-CN" altLang="en-US">
            <a:solidFill>
              <a:schemeClr val="tx1"/>
            </a:solidFill>
          </a:endParaRPr>
        </a:p>
      </dgm:t>
    </dgm:pt>
    <dgm:pt modelId="{C220622D-148A-4FFC-BFF3-0F25A6FFB3BD}">
      <dgm:prSet phldrT="[文本]"/>
      <dgm:spPr/>
      <dgm:t>
        <a:bodyPr/>
        <a:lstStyle/>
        <a:p>
          <a:r>
            <a:rPr lang="zh-CN" altLang="en-US" dirty="0" smtClean="0">
              <a:solidFill>
                <a:schemeClr val="tx1"/>
              </a:solidFill>
            </a:rPr>
            <a:t>验证</a:t>
          </a:r>
          <a:endParaRPr lang="zh-CN" altLang="en-US" dirty="0">
            <a:solidFill>
              <a:schemeClr val="tx1"/>
            </a:solidFill>
          </a:endParaRPr>
        </a:p>
      </dgm:t>
    </dgm:pt>
    <dgm:pt modelId="{FF3478A6-543B-4DFE-9859-1798D1B7C880}" type="parTrans" cxnId="{AB191C35-24A1-4BE2-8BE7-A8185B36338E}">
      <dgm:prSet/>
      <dgm:spPr/>
      <dgm:t>
        <a:bodyPr/>
        <a:lstStyle/>
        <a:p>
          <a:endParaRPr lang="zh-CN" altLang="en-US">
            <a:solidFill>
              <a:schemeClr val="tx1"/>
            </a:solidFill>
          </a:endParaRPr>
        </a:p>
      </dgm:t>
    </dgm:pt>
    <dgm:pt modelId="{7E103D4F-EF03-4517-9A66-0F2F64164E86}" type="sibTrans" cxnId="{AB191C35-24A1-4BE2-8BE7-A8185B36338E}">
      <dgm:prSet/>
      <dgm:spPr/>
      <dgm:t>
        <a:bodyPr/>
        <a:lstStyle/>
        <a:p>
          <a:endParaRPr lang="zh-CN" altLang="en-US">
            <a:solidFill>
              <a:schemeClr val="tx1"/>
            </a:solidFill>
          </a:endParaRPr>
        </a:p>
      </dgm:t>
    </dgm:pt>
    <dgm:pt modelId="{F2032542-E56A-4B2B-B05D-FFB04B373E2E}">
      <dgm:prSet phldrT="[文本]"/>
      <dgm:spPr/>
      <dgm:t>
        <a:bodyPr/>
        <a:lstStyle/>
        <a:p>
          <a:r>
            <a:rPr lang="zh-CN" altLang="en-US" smtClean="0">
              <a:solidFill>
                <a:schemeClr val="tx1"/>
              </a:solidFill>
            </a:rPr>
            <a:t>研究</a:t>
          </a:r>
          <a:endParaRPr lang="zh-CN" altLang="en-US" dirty="0">
            <a:solidFill>
              <a:schemeClr val="tx1"/>
            </a:solidFill>
          </a:endParaRPr>
        </a:p>
      </dgm:t>
    </dgm:pt>
    <dgm:pt modelId="{596110D1-CCCF-4A80-94DA-087317BFC87F}" type="parTrans" cxnId="{56C8AF58-A336-45A4-AA01-B44BE9C0271B}">
      <dgm:prSet/>
      <dgm:spPr/>
      <dgm:t>
        <a:bodyPr/>
        <a:lstStyle/>
        <a:p>
          <a:endParaRPr lang="zh-CN" altLang="en-US">
            <a:solidFill>
              <a:schemeClr val="tx1"/>
            </a:solidFill>
          </a:endParaRPr>
        </a:p>
      </dgm:t>
    </dgm:pt>
    <dgm:pt modelId="{8AD91694-DB64-4745-BFB3-27AE07BD4D20}" type="sibTrans" cxnId="{56C8AF58-A336-45A4-AA01-B44BE9C0271B}">
      <dgm:prSet/>
      <dgm:spPr/>
      <dgm:t>
        <a:bodyPr/>
        <a:lstStyle/>
        <a:p>
          <a:endParaRPr lang="zh-CN" altLang="en-US">
            <a:solidFill>
              <a:schemeClr val="tx1"/>
            </a:solidFill>
          </a:endParaRPr>
        </a:p>
      </dgm:t>
    </dgm:pt>
    <dgm:pt modelId="{3FB1F3A2-F8CB-45D9-8C6A-5623EB0B666F}">
      <dgm:prSet phldrT="[文本]"/>
      <dgm:spPr/>
      <dgm:t>
        <a:bodyPr/>
        <a:lstStyle/>
        <a:p>
          <a:r>
            <a:rPr lang="zh-CN" altLang="en-US" dirty="0" smtClean="0">
              <a:solidFill>
                <a:schemeClr val="tx1"/>
              </a:solidFill>
            </a:rPr>
            <a:t>漏洞扫描</a:t>
          </a:r>
          <a:endParaRPr lang="zh-CN" altLang="en-US" dirty="0">
            <a:solidFill>
              <a:schemeClr val="tx1"/>
            </a:solidFill>
          </a:endParaRPr>
        </a:p>
      </dgm:t>
    </dgm:pt>
    <dgm:pt modelId="{17E9A369-95E5-4FF3-8727-71F52E977F85}" type="parTrans" cxnId="{6E752A59-A07E-44F8-A51A-DEB7FF026629}">
      <dgm:prSet/>
      <dgm:spPr/>
      <dgm:t>
        <a:bodyPr/>
        <a:lstStyle/>
        <a:p>
          <a:endParaRPr lang="zh-CN" altLang="en-US">
            <a:solidFill>
              <a:schemeClr val="tx1"/>
            </a:solidFill>
          </a:endParaRPr>
        </a:p>
      </dgm:t>
    </dgm:pt>
    <dgm:pt modelId="{9C25D741-DE1B-4467-9D45-448FB82EE65E}" type="sibTrans" cxnId="{6E752A59-A07E-44F8-A51A-DEB7FF026629}">
      <dgm:prSet/>
      <dgm:spPr/>
      <dgm:t>
        <a:bodyPr/>
        <a:lstStyle/>
        <a:p>
          <a:endParaRPr lang="zh-CN" altLang="en-US">
            <a:solidFill>
              <a:schemeClr val="tx1"/>
            </a:solidFill>
          </a:endParaRPr>
        </a:p>
      </dgm:t>
    </dgm:pt>
    <dgm:pt modelId="{208037A5-595A-40F4-B6BB-E874B0A4E5C3}">
      <dgm:prSet phldrT="[文本]"/>
      <dgm:spPr/>
      <dgm:t>
        <a:bodyPr/>
        <a:lstStyle/>
        <a:p>
          <a:r>
            <a:rPr lang="zh-CN" altLang="en-US" dirty="0" smtClean="0">
              <a:solidFill>
                <a:schemeClr val="tx1"/>
              </a:solidFill>
            </a:rPr>
            <a:t>攻击试验</a:t>
          </a:r>
          <a:endParaRPr lang="en-US" altLang="zh-CN" dirty="0" smtClean="0">
            <a:solidFill>
              <a:schemeClr val="tx1"/>
            </a:solidFill>
          </a:endParaRPr>
        </a:p>
      </dgm:t>
    </dgm:pt>
    <dgm:pt modelId="{F21730D5-C03D-4746-B8F2-B0690B2C5B25}" type="parTrans" cxnId="{09C89076-2A24-4916-9647-DAC63AD87198}">
      <dgm:prSet/>
      <dgm:spPr/>
      <dgm:t>
        <a:bodyPr/>
        <a:lstStyle/>
        <a:p>
          <a:endParaRPr lang="zh-CN" altLang="en-US">
            <a:solidFill>
              <a:schemeClr val="tx1"/>
            </a:solidFill>
          </a:endParaRPr>
        </a:p>
      </dgm:t>
    </dgm:pt>
    <dgm:pt modelId="{6596EE0C-15EB-460D-84ED-B5FEB5FC0A7C}" type="sibTrans" cxnId="{09C89076-2A24-4916-9647-DAC63AD87198}">
      <dgm:prSet/>
      <dgm:spPr/>
      <dgm:t>
        <a:bodyPr/>
        <a:lstStyle/>
        <a:p>
          <a:endParaRPr lang="zh-CN" altLang="en-US">
            <a:solidFill>
              <a:schemeClr val="tx1"/>
            </a:solidFill>
          </a:endParaRPr>
        </a:p>
      </dgm:t>
    </dgm:pt>
    <dgm:pt modelId="{921DB594-C4C7-43A9-AE6A-8BA7B4D582EE}">
      <dgm:prSet phldrT="[文本]"/>
      <dgm:spPr/>
      <dgm:t>
        <a:bodyPr/>
        <a:lstStyle/>
        <a:p>
          <a:r>
            <a:rPr lang="zh-CN" altLang="en-US" dirty="0" smtClean="0">
              <a:solidFill>
                <a:schemeClr val="tx1"/>
              </a:solidFill>
            </a:rPr>
            <a:t>漏洞试验</a:t>
          </a:r>
          <a:endParaRPr lang="en-US" altLang="zh-CN" dirty="0" smtClean="0">
            <a:solidFill>
              <a:schemeClr val="tx1"/>
            </a:solidFill>
          </a:endParaRPr>
        </a:p>
      </dgm:t>
    </dgm:pt>
    <dgm:pt modelId="{22FA217F-CDAC-4BC1-8943-DCF16BB8DC77}" type="parTrans" cxnId="{59B17591-436C-434E-8C3B-4DDF9FD6DD9A}">
      <dgm:prSet/>
      <dgm:spPr/>
      <dgm:t>
        <a:bodyPr/>
        <a:lstStyle/>
        <a:p>
          <a:endParaRPr lang="zh-CN" altLang="en-US">
            <a:solidFill>
              <a:schemeClr val="tx1"/>
            </a:solidFill>
          </a:endParaRPr>
        </a:p>
      </dgm:t>
    </dgm:pt>
    <dgm:pt modelId="{72265EB6-3FA0-4273-AF4C-5D3FBDF78A4F}" type="sibTrans" cxnId="{59B17591-436C-434E-8C3B-4DDF9FD6DD9A}">
      <dgm:prSet/>
      <dgm:spPr/>
      <dgm:t>
        <a:bodyPr/>
        <a:lstStyle/>
        <a:p>
          <a:endParaRPr lang="zh-CN" altLang="en-US">
            <a:solidFill>
              <a:schemeClr val="tx1"/>
            </a:solidFill>
          </a:endParaRPr>
        </a:p>
      </dgm:t>
    </dgm:pt>
    <dgm:pt modelId="{F3482301-C0B1-42C6-BA0F-4585DD753FD9}">
      <dgm:prSet phldrT="[文本]"/>
      <dgm:spPr/>
      <dgm:t>
        <a:bodyPr/>
        <a:lstStyle/>
        <a:p>
          <a:r>
            <a:rPr lang="zh-CN" altLang="en-US" dirty="0" smtClean="0">
              <a:solidFill>
                <a:schemeClr val="tx1"/>
              </a:solidFill>
            </a:rPr>
            <a:t>测试研究</a:t>
          </a:r>
          <a:endParaRPr lang="en-US" altLang="zh-CN" dirty="0" smtClean="0">
            <a:solidFill>
              <a:schemeClr val="tx1"/>
            </a:solidFill>
          </a:endParaRPr>
        </a:p>
      </dgm:t>
    </dgm:pt>
    <dgm:pt modelId="{C83A92E6-B687-49D7-A323-EA51360A9E8A}" type="parTrans" cxnId="{834888D4-4F6D-4595-A065-994A56C13883}">
      <dgm:prSet/>
      <dgm:spPr/>
      <dgm:t>
        <a:bodyPr/>
        <a:lstStyle/>
        <a:p>
          <a:endParaRPr lang="zh-CN" altLang="en-US">
            <a:solidFill>
              <a:schemeClr val="tx1"/>
            </a:solidFill>
          </a:endParaRPr>
        </a:p>
      </dgm:t>
    </dgm:pt>
    <dgm:pt modelId="{A36E7ADB-22A9-40B0-B031-BEC71E1DBDBD}" type="sibTrans" cxnId="{834888D4-4F6D-4595-A065-994A56C13883}">
      <dgm:prSet/>
      <dgm:spPr/>
      <dgm:t>
        <a:bodyPr/>
        <a:lstStyle/>
        <a:p>
          <a:endParaRPr lang="zh-CN" altLang="en-US">
            <a:solidFill>
              <a:schemeClr val="tx1"/>
            </a:solidFill>
          </a:endParaRPr>
        </a:p>
      </dgm:t>
    </dgm:pt>
    <dgm:pt modelId="{1E183DDC-5916-4348-A430-430B9E9427AB}">
      <dgm:prSet phldrT="[文本]"/>
      <dgm:spPr/>
      <dgm:t>
        <a:bodyPr/>
        <a:lstStyle/>
        <a:p>
          <a:r>
            <a:rPr lang="zh-CN" altLang="en-US" dirty="0" smtClean="0">
              <a:solidFill>
                <a:schemeClr val="tx1"/>
              </a:solidFill>
            </a:rPr>
            <a:t>攻击模拟</a:t>
          </a:r>
          <a:endParaRPr lang="en-US" altLang="zh-CN" dirty="0" smtClean="0">
            <a:solidFill>
              <a:schemeClr val="tx1"/>
            </a:solidFill>
          </a:endParaRPr>
        </a:p>
      </dgm:t>
    </dgm:pt>
    <dgm:pt modelId="{7F25710F-2169-47D7-B275-1C200C2C860A}" type="parTrans" cxnId="{BB3C51E5-1BBB-47EE-808B-83D27B97BC01}">
      <dgm:prSet/>
      <dgm:spPr/>
      <dgm:t>
        <a:bodyPr/>
        <a:lstStyle/>
        <a:p>
          <a:endParaRPr lang="zh-CN" altLang="en-US">
            <a:solidFill>
              <a:schemeClr val="tx1"/>
            </a:solidFill>
          </a:endParaRPr>
        </a:p>
      </dgm:t>
    </dgm:pt>
    <dgm:pt modelId="{D7A1B787-83FF-402C-AD06-46337FAEA20B}" type="sibTrans" cxnId="{BB3C51E5-1BBB-47EE-808B-83D27B97BC01}">
      <dgm:prSet/>
      <dgm:spPr/>
      <dgm:t>
        <a:bodyPr/>
        <a:lstStyle/>
        <a:p>
          <a:endParaRPr lang="zh-CN" altLang="en-US">
            <a:solidFill>
              <a:schemeClr val="tx1"/>
            </a:solidFill>
          </a:endParaRPr>
        </a:p>
      </dgm:t>
    </dgm:pt>
    <dgm:pt modelId="{FF78E1E6-4688-4713-A6DB-53AE4038E3E3}">
      <dgm:prSet phldrT="[文本]"/>
      <dgm:spPr/>
      <dgm:t>
        <a:bodyPr/>
        <a:lstStyle/>
        <a:p>
          <a:r>
            <a:rPr lang="en-US" altLang="zh-CN" smtClean="0">
              <a:solidFill>
                <a:schemeClr val="tx1"/>
              </a:solidFill>
            </a:rPr>
            <a:t>……</a:t>
          </a:r>
          <a:endParaRPr lang="en-US" altLang="zh-CN" dirty="0" smtClean="0">
            <a:solidFill>
              <a:schemeClr val="tx1"/>
            </a:solidFill>
          </a:endParaRPr>
        </a:p>
      </dgm:t>
    </dgm:pt>
    <dgm:pt modelId="{8924EC9C-EBB0-4415-81F9-E835178BDBFC}" type="parTrans" cxnId="{FE95C1A4-827D-4CDF-8A7C-5F588CF83B3E}">
      <dgm:prSet/>
      <dgm:spPr/>
      <dgm:t>
        <a:bodyPr/>
        <a:lstStyle/>
        <a:p>
          <a:endParaRPr lang="zh-CN" altLang="en-US">
            <a:solidFill>
              <a:schemeClr val="tx1"/>
            </a:solidFill>
          </a:endParaRPr>
        </a:p>
      </dgm:t>
    </dgm:pt>
    <dgm:pt modelId="{E4EE99F7-B590-4567-840F-EA712EEABD46}" type="sibTrans" cxnId="{FE95C1A4-827D-4CDF-8A7C-5F588CF83B3E}">
      <dgm:prSet/>
      <dgm:spPr/>
      <dgm:t>
        <a:bodyPr/>
        <a:lstStyle/>
        <a:p>
          <a:endParaRPr lang="zh-CN" altLang="en-US">
            <a:solidFill>
              <a:schemeClr val="tx1"/>
            </a:solidFill>
          </a:endParaRPr>
        </a:p>
      </dgm:t>
    </dgm:pt>
    <dgm:pt modelId="{8EBA1B9F-4BD7-4330-AC05-DE4AABF676BB}" type="pres">
      <dgm:prSet presAssocID="{48441239-A9AC-4A17-B1D9-D544A2DF50FA}" presName="Name0" presStyleCnt="0">
        <dgm:presLayoutVars>
          <dgm:chMax val="7"/>
          <dgm:dir/>
          <dgm:animOne val="branch"/>
        </dgm:presLayoutVars>
      </dgm:prSet>
      <dgm:spPr/>
    </dgm:pt>
    <dgm:pt modelId="{F2B8CC0C-4BAB-433E-9C0D-859B89A55943}" type="pres">
      <dgm:prSet presAssocID="{9AA574CB-8BD6-4B60-9457-7F32A38BC259}" presName="parTx1" presStyleLbl="node1" presStyleIdx="0" presStyleCnt="2"/>
      <dgm:spPr/>
      <dgm:t>
        <a:bodyPr/>
        <a:lstStyle/>
        <a:p>
          <a:endParaRPr lang="zh-CN" altLang="en-US"/>
        </a:p>
      </dgm:t>
    </dgm:pt>
    <dgm:pt modelId="{499F60E1-1548-4621-BDF2-D6765242C059}" type="pres">
      <dgm:prSet presAssocID="{9AA574CB-8BD6-4B60-9457-7F32A38BC259}" presName="spPre1" presStyleCnt="0"/>
      <dgm:spPr/>
    </dgm:pt>
    <dgm:pt modelId="{D5558784-69AE-47A6-8454-A7116A20F705}" type="pres">
      <dgm:prSet presAssocID="{9AA574CB-8BD6-4B60-9457-7F32A38BC259}" presName="chLin1" presStyleCnt="0"/>
      <dgm:spPr/>
    </dgm:pt>
    <dgm:pt modelId="{AFA45A0C-EA29-4ABB-BF49-5831EBCC5B7D}" type="pres">
      <dgm:prSet presAssocID="{1ECC388B-8232-4256-BED3-C7F7CC058BC2}" presName="Name11" presStyleLbl="parChTrans1D1" presStyleIdx="0" presStyleCnt="24"/>
      <dgm:spPr/>
    </dgm:pt>
    <dgm:pt modelId="{3912D361-63AB-4F26-982D-D3BDAB42F9E3}" type="pres">
      <dgm:prSet presAssocID="{1ECC388B-8232-4256-BED3-C7F7CC058BC2}" presName="Name31" presStyleLbl="parChTrans1D1" presStyleIdx="1" presStyleCnt="24"/>
      <dgm:spPr/>
    </dgm:pt>
    <dgm:pt modelId="{71A3EBD6-20E1-4760-81E7-C7E527A32D27}" type="pres">
      <dgm:prSet presAssocID="{FD6B28E6-35E2-4CB6-ABBB-DBBECE808BAD}" presName="txAndLines1" presStyleCnt="0"/>
      <dgm:spPr/>
    </dgm:pt>
    <dgm:pt modelId="{751F95A2-1B2F-454D-BE8B-8BCAB68FD45A}" type="pres">
      <dgm:prSet presAssocID="{FD6B28E6-35E2-4CB6-ABBB-DBBECE808BAD}" presName="anchor1" presStyleCnt="0"/>
      <dgm:spPr/>
    </dgm:pt>
    <dgm:pt modelId="{C395C025-1394-4C29-A781-B48F429667FF}" type="pres">
      <dgm:prSet presAssocID="{FD6B28E6-35E2-4CB6-ABBB-DBBECE808BAD}" presName="backup1" presStyleCnt="0"/>
      <dgm:spPr/>
    </dgm:pt>
    <dgm:pt modelId="{8D25E663-CB94-4B4E-B93E-8698F1D93126}" type="pres">
      <dgm:prSet presAssocID="{FD6B28E6-35E2-4CB6-ABBB-DBBECE808BAD}" presName="preLine1" presStyleLbl="parChTrans1D1" presStyleIdx="2" presStyleCnt="24"/>
      <dgm:spPr/>
    </dgm:pt>
    <dgm:pt modelId="{71B3F7F3-93C6-4167-A5BF-E9FB60AE8FD1}" type="pres">
      <dgm:prSet presAssocID="{FD6B28E6-35E2-4CB6-ABBB-DBBECE808BAD}" presName="desTx1" presStyleLbl="revTx" presStyleIdx="0" presStyleCnt="0">
        <dgm:presLayoutVars>
          <dgm:bulletEnabled val="1"/>
        </dgm:presLayoutVars>
      </dgm:prSet>
      <dgm:spPr/>
      <dgm:t>
        <a:bodyPr/>
        <a:lstStyle/>
        <a:p>
          <a:endParaRPr lang="zh-CN" altLang="en-US"/>
        </a:p>
      </dgm:t>
    </dgm:pt>
    <dgm:pt modelId="{32911B3C-36BB-4AC3-8A04-3AB024253A6F}" type="pres">
      <dgm:prSet presAssocID="{FD6B28E6-35E2-4CB6-ABBB-DBBECE808BAD}" presName="postLine1" presStyleLbl="parChTrans1D1" presStyleIdx="3" presStyleCnt="24"/>
      <dgm:spPr/>
    </dgm:pt>
    <dgm:pt modelId="{3A700611-9A09-4515-AD2A-9702722E01BB}" type="pres">
      <dgm:prSet presAssocID="{FF3478A6-543B-4DFE-9859-1798D1B7C880}" presName="Name11" presStyleLbl="parChTrans1D1" presStyleIdx="4" presStyleCnt="24"/>
      <dgm:spPr/>
    </dgm:pt>
    <dgm:pt modelId="{14972834-E2DA-4F96-B289-9B3CB4F3975E}" type="pres">
      <dgm:prSet presAssocID="{FF3478A6-543B-4DFE-9859-1798D1B7C880}" presName="Name31" presStyleLbl="parChTrans1D1" presStyleIdx="5" presStyleCnt="24"/>
      <dgm:spPr/>
    </dgm:pt>
    <dgm:pt modelId="{ABE70E04-0AAD-4BB6-9522-43233FFC7461}" type="pres">
      <dgm:prSet presAssocID="{C220622D-148A-4FFC-BFF3-0F25A6FFB3BD}" presName="txAndLines1" presStyleCnt="0"/>
      <dgm:spPr/>
    </dgm:pt>
    <dgm:pt modelId="{7070129B-C31A-4E82-8A58-77A3D837E163}" type="pres">
      <dgm:prSet presAssocID="{C220622D-148A-4FFC-BFF3-0F25A6FFB3BD}" presName="anchor1" presStyleCnt="0"/>
      <dgm:spPr/>
    </dgm:pt>
    <dgm:pt modelId="{4489C2E1-2D89-4BDD-9429-C9412071BD31}" type="pres">
      <dgm:prSet presAssocID="{C220622D-148A-4FFC-BFF3-0F25A6FFB3BD}" presName="backup1" presStyleCnt="0"/>
      <dgm:spPr/>
    </dgm:pt>
    <dgm:pt modelId="{2F7C5D0A-BFF6-471E-9C00-E2BFAB169575}" type="pres">
      <dgm:prSet presAssocID="{C220622D-148A-4FFC-BFF3-0F25A6FFB3BD}" presName="preLine1" presStyleLbl="parChTrans1D1" presStyleIdx="6" presStyleCnt="24"/>
      <dgm:spPr/>
    </dgm:pt>
    <dgm:pt modelId="{3645F6BC-B42C-4CF1-AAAF-FC619143A3C2}" type="pres">
      <dgm:prSet presAssocID="{C220622D-148A-4FFC-BFF3-0F25A6FFB3BD}" presName="desTx1" presStyleLbl="revTx" presStyleIdx="0" presStyleCnt="0">
        <dgm:presLayoutVars>
          <dgm:bulletEnabled val="1"/>
        </dgm:presLayoutVars>
      </dgm:prSet>
      <dgm:spPr/>
      <dgm:t>
        <a:bodyPr/>
        <a:lstStyle/>
        <a:p>
          <a:endParaRPr lang="zh-CN" altLang="en-US"/>
        </a:p>
      </dgm:t>
    </dgm:pt>
    <dgm:pt modelId="{055A104A-AB9B-4928-924D-386945DF9F84}" type="pres">
      <dgm:prSet presAssocID="{C220622D-148A-4FFC-BFF3-0F25A6FFB3BD}" presName="postLine1" presStyleLbl="parChTrans1D1" presStyleIdx="7" presStyleCnt="24"/>
      <dgm:spPr/>
    </dgm:pt>
    <dgm:pt modelId="{6DE120D5-D2C4-4C73-A31F-41E70C298DCB}" type="pres">
      <dgm:prSet presAssocID="{596110D1-CCCF-4A80-94DA-087317BFC87F}" presName="Name11" presStyleLbl="parChTrans1D1" presStyleIdx="8" presStyleCnt="24"/>
      <dgm:spPr/>
    </dgm:pt>
    <dgm:pt modelId="{6594258D-49DE-419C-A2DE-5EC612E8D1E5}" type="pres">
      <dgm:prSet presAssocID="{596110D1-CCCF-4A80-94DA-087317BFC87F}" presName="Name31" presStyleLbl="parChTrans1D1" presStyleIdx="9" presStyleCnt="24"/>
      <dgm:spPr/>
    </dgm:pt>
    <dgm:pt modelId="{F28E7A1C-21A2-4FC3-8CAF-8077B7A8A011}" type="pres">
      <dgm:prSet presAssocID="{F2032542-E56A-4B2B-B05D-FFB04B373E2E}" presName="txAndLines1" presStyleCnt="0"/>
      <dgm:spPr/>
    </dgm:pt>
    <dgm:pt modelId="{43F40EB2-8449-48CD-ABEC-A68F71D0FCCC}" type="pres">
      <dgm:prSet presAssocID="{F2032542-E56A-4B2B-B05D-FFB04B373E2E}" presName="anchor1" presStyleCnt="0"/>
      <dgm:spPr/>
    </dgm:pt>
    <dgm:pt modelId="{A2FDF65A-579E-4FE5-8DBA-D8330583493D}" type="pres">
      <dgm:prSet presAssocID="{F2032542-E56A-4B2B-B05D-FFB04B373E2E}" presName="backup1" presStyleCnt="0"/>
      <dgm:spPr/>
    </dgm:pt>
    <dgm:pt modelId="{2FA5EBCB-3C39-41CE-A067-D2E73E5F29A2}" type="pres">
      <dgm:prSet presAssocID="{F2032542-E56A-4B2B-B05D-FFB04B373E2E}" presName="preLine1" presStyleLbl="parChTrans1D1" presStyleIdx="10" presStyleCnt="24"/>
      <dgm:spPr/>
    </dgm:pt>
    <dgm:pt modelId="{1112D931-F496-4494-954A-88D18646B77E}" type="pres">
      <dgm:prSet presAssocID="{F2032542-E56A-4B2B-B05D-FFB04B373E2E}" presName="desTx1" presStyleLbl="revTx" presStyleIdx="0" presStyleCnt="0">
        <dgm:presLayoutVars>
          <dgm:bulletEnabled val="1"/>
        </dgm:presLayoutVars>
      </dgm:prSet>
      <dgm:spPr/>
      <dgm:t>
        <a:bodyPr/>
        <a:lstStyle/>
        <a:p>
          <a:endParaRPr lang="zh-CN" altLang="en-US"/>
        </a:p>
      </dgm:t>
    </dgm:pt>
    <dgm:pt modelId="{EAD75B27-83EC-4857-B3AD-74353CD20743}" type="pres">
      <dgm:prSet presAssocID="{F2032542-E56A-4B2B-B05D-FFB04B373E2E}" presName="postLine1" presStyleLbl="parChTrans1D1" presStyleIdx="11" presStyleCnt="24"/>
      <dgm:spPr/>
    </dgm:pt>
    <dgm:pt modelId="{54DB97C3-91B1-4D1A-89C6-19FF6E874AA5}" type="pres">
      <dgm:prSet presAssocID="{9AA574CB-8BD6-4B60-9457-7F32A38BC259}" presName="spPost1" presStyleCnt="0"/>
      <dgm:spPr/>
    </dgm:pt>
    <dgm:pt modelId="{C068A876-EA0B-411A-A280-B7C0AE720FF8}" type="pres">
      <dgm:prSet presAssocID="{515E8D39-EE43-4CF9-AE44-EB5AD2DEDA4C}" presName="parTx2" presStyleLbl="node1" presStyleIdx="1" presStyleCnt="2"/>
      <dgm:spPr/>
      <dgm:t>
        <a:bodyPr/>
        <a:lstStyle/>
        <a:p>
          <a:endParaRPr lang="zh-CN" altLang="en-US"/>
        </a:p>
      </dgm:t>
    </dgm:pt>
    <dgm:pt modelId="{6E128835-AAF8-4CE9-8AB8-ACCB9608DFBF}" type="pres">
      <dgm:prSet presAssocID="{515E8D39-EE43-4CF9-AE44-EB5AD2DEDA4C}" presName="spPre2" presStyleCnt="0"/>
      <dgm:spPr/>
    </dgm:pt>
    <dgm:pt modelId="{5F56DFE9-2706-479E-ACE3-ABAB663EB839}" type="pres">
      <dgm:prSet presAssocID="{515E8D39-EE43-4CF9-AE44-EB5AD2DEDA4C}" presName="chLin2" presStyleCnt="0"/>
      <dgm:spPr/>
    </dgm:pt>
    <dgm:pt modelId="{24303BE4-76E9-42E5-9296-E970615FFF18}" type="pres">
      <dgm:prSet presAssocID="{17E9A369-95E5-4FF3-8727-71F52E977F85}" presName="Name45" presStyleLbl="parChTrans1D1" presStyleIdx="12" presStyleCnt="24"/>
      <dgm:spPr/>
    </dgm:pt>
    <dgm:pt modelId="{EB6B8D59-C11A-42E7-87CA-83036BA696FA}" type="pres">
      <dgm:prSet presAssocID="{3FB1F3A2-F8CB-45D9-8C6A-5623EB0B666F}" presName="txAndLines2" presStyleCnt="0"/>
      <dgm:spPr/>
    </dgm:pt>
    <dgm:pt modelId="{11E19E80-664C-4FDF-9046-9D27161773B5}" type="pres">
      <dgm:prSet presAssocID="{3FB1F3A2-F8CB-45D9-8C6A-5623EB0B666F}" presName="anchor2" presStyleCnt="0"/>
      <dgm:spPr/>
    </dgm:pt>
    <dgm:pt modelId="{70B4931A-F586-4268-8FA2-0AA806128429}" type="pres">
      <dgm:prSet presAssocID="{3FB1F3A2-F8CB-45D9-8C6A-5623EB0B666F}" presName="backup2" presStyleCnt="0"/>
      <dgm:spPr/>
    </dgm:pt>
    <dgm:pt modelId="{E5B93EF1-E90D-4F9F-8208-86C569326C09}" type="pres">
      <dgm:prSet presAssocID="{3FB1F3A2-F8CB-45D9-8C6A-5623EB0B666F}" presName="preLine2" presStyleLbl="parChTrans1D1" presStyleIdx="13" presStyleCnt="24"/>
      <dgm:spPr/>
    </dgm:pt>
    <dgm:pt modelId="{74E5975E-6F53-4C14-BCF6-1272DD3B53BC}" type="pres">
      <dgm:prSet presAssocID="{3FB1F3A2-F8CB-45D9-8C6A-5623EB0B666F}" presName="desTx2" presStyleLbl="revTx" presStyleIdx="0" presStyleCnt="0">
        <dgm:presLayoutVars>
          <dgm:bulletEnabled val="1"/>
        </dgm:presLayoutVars>
      </dgm:prSet>
      <dgm:spPr/>
      <dgm:t>
        <a:bodyPr/>
        <a:lstStyle/>
        <a:p>
          <a:endParaRPr lang="zh-CN" altLang="en-US"/>
        </a:p>
      </dgm:t>
    </dgm:pt>
    <dgm:pt modelId="{F8FD05E1-E616-453D-B61A-CFD8EE09B55F}" type="pres">
      <dgm:prSet presAssocID="{F21730D5-C03D-4746-B8F2-B0690B2C5B25}" presName="Name45" presStyleLbl="parChTrans1D1" presStyleIdx="14" presStyleCnt="24"/>
      <dgm:spPr/>
    </dgm:pt>
    <dgm:pt modelId="{CC1DDC7C-E668-403B-ABAE-FB37A68263F1}" type="pres">
      <dgm:prSet presAssocID="{208037A5-595A-40F4-B6BB-E874B0A4E5C3}" presName="txAndLines2" presStyleCnt="0"/>
      <dgm:spPr/>
    </dgm:pt>
    <dgm:pt modelId="{C8611729-3CE3-487C-ACFC-DCCCD0416AC9}" type="pres">
      <dgm:prSet presAssocID="{208037A5-595A-40F4-B6BB-E874B0A4E5C3}" presName="anchor2" presStyleCnt="0"/>
      <dgm:spPr/>
    </dgm:pt>
    <dgm:pt modelId="{9979FAD1-45E5-4FD9-958A-D1E2E66D07D8}" type="pres">
      <dgm:prSet presAssocID="{208037A5-595A-40F4-B6BB-E874B0A4E5C3}" presName="backup2" presStyleCnt="0"/>
      <dgm:spPr/>
    </dgm:pt>
    <dgm:pt modelId="{B6300C25-9944-411A-9A53-62BC47A676E6}" type="pres">
      <dgm:prSet presAssocID="{208037A5-595A-40F4-B6BB-E874B0A4E5C3}" presName="preLine2" presStyleLbl="parChTrans1D1" presStyleIdx="15" presStyleCnt="24"/>
      <dgm:spPr/>
    </dgm:pt>
    <dgm:pt modelId="{93EBE7A0-A02C-429B-B0C4-A272C598C9AF}" type="pres">
      <dgm:prSet presAssocID="{208037A5-595A-40F4-B6BB-E874B0A4E5C3}" presName="desTx2" presStyleLbl="revTx" presStyleIdx="0" presStyleCnt="0">
        <dgm:presLayoutVars>
          <dgm:bulletEnabled val="1"/>
        </dgm:presLayoutVars>
      </dgm:prSet>
      <dgm:spPr/>
      <dgm:t>
        <a:bodyPr/>
        <a:lstStyle/>
        <a:p>
          <a:endParaRPr lang="zh-CN" altLang="en-US"/>
        </a:p>
      </dgm:t>
    </dgm:pt>
    <dgm:pt modelId="{1C4DAAF0-C023-4B8D-9EA2-0F0BD5C4307A}" type="pres">
      <dgm:prSet presAssocID="{22FA217F-CDAC-4BC1-8943-DCF16BB8DC77}" presName="Name45" presStyleLbl="parChTrans1D1" presStyleIdx="16" presStyleCnt="24"/>
      <dgm:spPr/>
    </dgm:pt>
    <dgm:pt modelId="{2D0C0829-BF07-48DC-94E3-870E3CA723B9}" type="pres">
      <dgm:prSet presAssocID="{921DB594-C4C7-43A9-AE6A-8BA7B4D582EE}" presName="txAndLines2" presStyleCnt="0"/>
      <dgm:spPr/>
    </dgm:pt>
    <dgm:pt modelId="{17AEF567-FC55-4CAC-94AB-2E728E0369ED}" type="pres">
      <dgm:prSet presAssocID="{921DB594-C4C7-43A9-AE6A-8BA7B4D582EE}" presName="anchor2" presStyleCnt="0"/>
      <dgm:spPr/>
    </dgm:pt>
    <dgm:pt modelId="{2E674199-2919-458A-964B-C6CCDAFAA423}" type="pres">
      <dgm:prSet presAssocID="{921DB594-C4C7-43A9-AE6A-8BA7B4D582EE}" presName="backup2" presStyleCnt="0"/>
      <dgm:spPr/>
    </dgm:pt>
    <dgm:pt modelId="{A2603451-DF1B-4511-940D-D0CF8C68F5A1}" type="pres">
      <dgm:prSet presAssocID="{921DB594-C4C7-43A9-AE6A-8BA7B4D582EE}" presName="preLine2" presStyleLbl="parChTrans1D1" presStyleIdx="17" presStyleCnt="24"/>
      <dgm:spPr/>
    </dgm:pt>
    <dgm:pt modelId="{680ADB65-3A1A-4089-8548-DEC763B12FE0}" type="pres">
      <dgm:prSet presAssocID="{921DB594-C4C7-43A9-AE6A-8BA7B4D582EE}" presName="desTx2" presStyleLbl="revTx" presStyleIdx="0" presStyleCnt="0">
        <dgm:presLayoutVars>
          <dgm:bulletEnabled val="1"/>
        </dgm:presLayoutVars>
      </dgm:prSet>
      <dgm:spPr/>
      <dgm:t>
        <a:bodyPr/>
        <a:lstStyle/>
        <a:p>
          <a:endParaRPr lang="zh-CN" altLang="en-US"/>
        </a:p>
      </dgm:t>
    </dgm:pt>
    <dgm:pt modelId="{405D00F5-4239-41EF-919E-9DCBAB075C8C}" type="pres">
      <dgm:prSet presAssocID="{C83A92E6-B687-49D7-A323-EA51360A9E8A}" presName="Name45" presStyleLbl="parChTrans1D1" presStyleIdx="18" presStyleCnt="24"/>
      <dgm:spPr/>
    </dgm:pt>
    <dgm:pt modelId="{CD2A1153-8466-4C27-BDF5-068664551CF3}" type="pres">
      <dgm:prSet presAssocID="{F3482301-C0B1-42C6-BA0F-4585DD753FD9}" presName="txAndLines2" presStyleCnt="0"/>
      <dgm:spPr/>
    </dgm:pt>
    <dgm:pt modelId="{9A19B111-65A9-4F79-9BF9-BF7AB94AA102}" type="pres">
      <dgm:prSet presAssocID="{F3482301-C0B1-42C6-BA0F-4585DD753FD9}" presName="anchor2" presStyleCnt="0"/>
      <dgm:spPr/>
    </dgm:pt>
    <dgm:pt modelId="{51400CC1-2818-4B15-A925-15140010E228}" type="pres">
      <dgm:prSet presAssocID="{F3482301-C0B1-42C6-BA0F-4585DD753FD9}" presName="backup2" presStyleCnt="0"/>
      <dgm:spPr/>
    </dgm:pt>
    <dgm:pt modelId="{7EAA0D5D-F07A-45F3-92F9-71FEAD5C863A}" type="pres">
      <dgm:prSet presAssocID="{F3482301-C0B1-42C6-BA0F-4585DD753FD9}" presName="preLine2" presStyleLbl="parChTrans1D1" presStyleIdx="19" presStyleCnt="24"/>
      <dgm:spPr/>
    </dgm:pt>
    <dgm:pt modelId="{A13A8834-8CCB-40B2-A69F-321451D14632}" type="pres">
      <dgm:prSet presAssocID="{F3482301-C0B1-42C6-BA0F-4585DD753FD9}" presName="desTx2" presStyleLbl="revTx" presStyleIdx="0" presStyleCnt="0">
        <dgm:presLayoutVars>
          <dgm:bulletEnabled val="1"/>
        </dgm:presLayoutVars>
      </dgm:prSet>
      <dgm:spPr/>
      <dgm:t>
        <a:bodyPr/>
        <a:lstStyle/>
        <a:p>
          <a:endParaRPr lang="zh-CN" altLang="en-US"/>
        </a:p>
      </dgm:t>
    </dgm:pt>
    <dgm:pt modelId="{8B71F40D-D752-4531-A069-89A423F1A146}" type="pres">
      <dgm:prSet presAssocID="{7F25710F-2169-47D7-B275-1C200C2C860A}" presName="Name45" presStyleLbl="parChTrans1D1" presStyleIdx="20" presStyleCnt="24"/>
      <dgm:spPr/>
    </dgm:pt>
    <dgm:pt modelId="{68887667-6600-431C-8995-3DB9D54CF34C}" type="pres">
      <dgm:prSet presAssocID="{1E183DDC-5916-4348-A430-430B9E9427AB}" presName="txAndLines2" presStyleCnt="0"/>
      <dgm:spPr/>
    </dgm:pt>
    <dgm:pt modelId="{0CAEBC4F-7E42-45EC-8C9D-0FBDB2034B40}" type="pres">
      <dgm:prSet presAssocID="{1E183DDC-5916-4348-A430-430B9E9427AB}" presName="anchor2" presStyleCnt="0"/>
      <dgm:spPr/>
    </dgm:pt>
    <dgm:pt modelId="{992ED432-B78A-46F7-ADD7-AFA6C27DECD3}" type="pres">
      <dgm:prSet presAssocID="{1E183DDC-5916-4348-A430-430B9E9427AB}" presName="backup2" presStyleCnt="0"/>
      <dgm:spPr/>
    </dgm:pt>
    <dgm:pt modelId="{24612E40-5ABA-4910-9B81-4A38C42D2F93}" type="pres">
      <dgm:prSet presAssocID="{1E183DDC-5916-4348-A430-430B9E9427AB}" presName="preLine2" presStyleLbl="parChTrans1D1" presStyleIdx="21" presStyleCnt="24"/>
      <dgm:spPr/>
    </dgm:pt>
    <dgm:pt modelId="{CC2CCF14-C7C1-46CC-8067-2BC1F7AF988C}" type="pres">
      <dgm:prSet presAssocID="{1E183DDC-5916-4348-A430-430B9E9427AB}" presName="desTx2" presStyleLbl="revTx" presStyleIdx="0" presStyleCnt="0">
        <dgm:presLayoutVars>
          <dgm:bulletEnabled val="1"/>
        </dgm:presLayoutVars>
      </dgm:prSet>
      <dgm:spPr/>
      <dgm:t>
        <a:bodyPr/>
        <a:lstStyle/>
        <a:p>
          <a:endParaRPr lang="zh-CN" altLang="en-US"/>
        </a:p>
      </dgm:t>
    </dgm:pt>
    <dgm:pt modelId="{6F8E6C94-8331-4D8A-989A-6184A2DBFA28}" type="pres">
      <dgm:prSet presAssocID="{8924EC9C-EBB0-4415-81F9-E835178BDBFC}" presName="Name45" presStyleLbl="parChTrans1D1" presStyleIdx="22" presStyleCnt="24"/>
      <dgm:spPr/>
    </dgm:pt>
    <dgm:pt modelId="{8842861B-6B5A-4F9B-A9E4-FB322AFF9D34}" type="pres">
      <dgm:prSet presAssocID="{FF78E1E6-4688-4713-A6DB-53AE4038E3E3}" presName="txAndLines2" presStyleCnt="0"/>
      <dgm:spPr/>
    </dgm:pt>
    <dgm:pt modelId="{E5DDAF8D-597E-4560-8462-091562202E0A}" type="pres">
      <dgm:prSet presAssocID="{FF78E1E6-4688-4713-A6DB-53AE4038E3E3}" presName="anchor2" presStyleCnt="0"/>
      <dgm:spPr/>
    </dgm:pt>
    <dgm:pt modelId="{E0608068-4222-4293-9A3A-E607B15ECC06}" type="pres">
      <dgm:prSet presAssocID="{FF78E1E6-4688-4713-A6DB-53AE4038E3E3}" presName="backup2" presStyleCnt="0"/>
      <dgm:spPr/>
    </dgm:pt>
    <dgm:pt modelId="{ED232DEF-E2CD-4055-AB92-3C4048142513}" type="pres">
      <dgm:prSet presAssocID="{FF78E1E6-4688-4713-A6DB-53AE4038E3E3}" presName="preLine2" presStyleLbl="parChTrans1D1" presStyleIdx="23" presStyleCnt="24"/>
      <dgm:spPr/>
    </dgm:pt>
    <dgm:pt modelId="{E4445DBD-0DD0-405E-AD28-A1F01211175B}" type="pres">
      <dgm:prSet presAssocID="{FF78E1E6-4688-4713-A6DB-53AE4038E3E3}" presName="desTx2" presStyleLbl="revTx" presStyleIdx="0" presStyleCnt="0">
        <dgm:presLayoutVars>
          <dgm:bulletEnabled val="1"/>
        </dgm:presLayoutVars>
      </dgm:prSet>
      <dgm:spPr/>
      <dgm:t>
        <a:bodyPr/>
        <a:lstStyle/>
        <a:p>
          <a:endParaRPr lang="zh-CN" altLang="en-US"/>
        </a:p>
      </dgm:t>
    </dgm:pt>
  </dgm:ptLst>
  <dgm:cxnLst>
    <dgm:cxn modelId="{9AC6325D-2E66-4C76-952B-455098399F86}" type="presOf" srcId="{3FB1F3A2-F8CB-45D9-8C6A-5623EB0B666F}" destId="{74E5975E-6F53-4C14-BCF6-1272DD3B53BC}" srcOrd="0" destOrd="0" presId="urn:microsoft.com/office/officeart/2009/3/layout/SubStepProcess"/>
    <dgm:cxn modelId="{56C8AF58-A336-45A4-AA01-B44BE9C0271B}" srcId="{9AA574CB-8BD6-4B60-9457-7F32A38BC259}" destId="{F2032542-E56A-4B2B-B05D-FFB04B373E2E}" srcOrd="2" destOrd="0" parTransId="{596110D1-CCCF-4A80-94DA-087317BFC87F}" sibTransId="{8AD91694-DB64-4745-BFB3-27AE07BD4D20}"/>
    <dgm:cxn modelId="{6AC3B83C-3098-47A8-AB93-24BC5EE6E474}" type="presOf" srcId="{9AA574CB-8BD6-4B60-9457-7F32A38BC259}" destId="{F2B8CC0C-4BAB-433E-9C0D-859B89A55943}" srcOrd="0" destOrd="0" presId="urn:microsoft.com/office/officeart/2009/3/layout/SubStepProcess"/>
    <dgm:cxn modelId="{FE95C1A4-827D-4CDF-8A7C-5F588CF83B3E}" srcId="{515E8D39-EE43-4CF9-AE44-EB5AD2DEDA4C}" destId="{FF78E1E6-4688-4713-A6DB-53AE4038E3E3}" srcOrd="5" destOrd="0" parTransId="{8924EC9C-EBB0-4415-81F9-E835178BDBFC}" sibTransId="{E4EE99F7-B590-4567-840F-EA712EEABD46}"/>
    <dgm:cxn modelId="{B508C67D-6604-4C8E-AE3D-0C24E02E2117}" srcId="{9AA574CB-8BD6-4B60-9457-7F32A38BC259}" destId="{FD6B28E6-35E2-4CB6-ABBB-DBBECE808BAD}" srcOrd="0" destOrd="0" parTransId="{1ECC388B-8232-4256-BED3-C7F7CC058BC2}" sibTransId="{661B617C-4515-4507-8984-0AE5D70709EF}"/>
    <dgm:cxn modelId="{834888D4-4F6D-4595-A065-994A56C13883}" srcId="{515E8D39-EE43-4CF9-AE44-EB5AD2DEDA4C}" destId="{F3482301-C0B1-42C6-BA0F-4585DD753FD9}" srcOrd="3" destOrd="0" parTransId="{C83A92E6-B687-49D7-A323-EA51360A9E8A}" sibTransId="{A36E7ADB-22A9-40B0-B031-BEC71E1DBDBD}"/>
    <dgm:cxn modelId="{973A8E81-8484-459A-A989-DF6F7C578BBE}" type="presOf" srcId="{921DB594-C4C7-43A9-AE6A-8BA7B4D582EE}" destId="{680ADB65-3A1A-4089-8548-DEC763B12FE0}" srcOrd="0" destOrd="0" presId="urn:microsoft.com/office/officeart/2009/3/layout/SubStepProcess"/>
    <dgm:cxn modelId="{A3639D38-BD0E-4E75-8C5A-FD32AEF97BB3}" srcId="{48441239-A9AC-4A17-B1D9-D544A2DF50FA}" destId="{9AA574CB-8BD6-4B60-9457-7F32A38BC259}" srcOrd="0" destOrd="0" parTransId="{3D6FB2E1-2607-406D-8CE4-3F72C4E2BA7C}" sibTransId="{4A652E1D-2EE7-4BC2-8CB9-E0474E09EDEF}"/>
    <dgm:cxn modelId="{9E91E99F-B721-4C60-94B0-11E181489257}" type="presOf" srcId="{48441239-A9AC-4A17-B1D9-D544A2DF50FA}" destId="{8EBA1B9F-4BD7-4330-AC05-DE4AABF676BB}" srcOrd="0" destOrd="0" presId="urn:microsoft.com/office/officeart/2009/3/layout/SubStepProcess"/>
    <dgm:cxn modelId="{978179E4-5EB8-4352-952B-EAB6F76F7917}" type="presOf" srcId="{F2032542-E56A-4B2B-B05D-FFB04B373E2E}" destId="{1112D931-F496-4494-954A-88D18646B77E}" srcOrd="0" destOrd="0" presId="urn:microsoft.com/office/officeart/2009/3/layout/SubStepProcess"/>
    <dgm:cxn modelId="{6E752A59-A07E-44F8-A51A-DEB7FF026629}" srcId="{515E8D39-EE43-4CF9-AE44-EB5AD2DEDA4C}" destId="{3FB1F3A2-F8CB-45D9-8C6A-5623EB0B666F}" srcOrd="0" destOrd="0" parTransId="{17E9A369-95E5-4FF3-8727-71F52E977F85}" sibTransId="{9C25D741-DE1B-4467-9D45-448FB82EE65E}"/>
    <dgm:cxn modelId="{FDDEF952-B629-418A-B79C-3C14836B4EA9}" type="presOf" srcId="{FD6B28E6-35E2-4CB6-ABBB-DBBECE808BAD}" destId="{71B3F7F3-93C6-4167-A5BF-E9FB60AE8FD1}" srcOrd="0" destOrd="0" presId="urn:microsoft.com/office/officeart/2009/3/layout/SubStepProcess"/>
    <dgm:cxn modelId="{A28EA35F-107D-4E73-AA53-23EBB8A7C6FA}" type="presOf" srcId="{F3482301-C0B1-42C6-BA0F-4585DD753FD9}" destId="{A13A8834-8CCB-40B2-A69F-321451D14632}" srcOrd="0" destOrd="0" presId="urn:microsoft.com/office/officeart/2009/3/layout/SubStepProcess"/>
    <dgm:cxn modelId="{09C89076-2A24-4916-9647-DAC63AD87198}" srcId="{515E8D39-EE43-4CF9-AE44-EB5AD2DEDA4C}" destId="{208037A5-595A-40F4-B6BB-E874B0A4E5C3}" srcOrd="1" destOrd="0" parTransId="{F21730D5-C03D-4746-B8F2-B0690B2C5B25}" sibTransId="{6596EE0C-15EB-460D-84ED-B5FEB5FC0A7C}"/>
    <dgm:cxn modelId="{0BF68B69-2E30-4AEA-96BD-9C22BF9D4E4A}" type="presOf" srcId="{208037A5-595A-40F4-B6BB-E874B0A4E5C3}" destId="{93EBE7A0-A02C-429B-B0C4-A272C598C9AF}" srcOrd="0" destOrd="0" presId="urn:microsoft.com/office/officeart/2009/3/layout/SubStepProcess"/>
    <dgm:cxn modelId="{01FF8865-708E-44D9-A385-7169EFB85FF2}" type="presOf" srcId="{515E8D39-EE43-4CF9-AE44-EB5AD2DEDA4C}" destId="{C068A876-EA0B-411A-A280-B7C0AE720FF8}" srcOrd="0" destOrd="0" presId="urn:microsoft.com/office/officeart/2009/3/layout/SubStepProcess"/>
    <dgm:cxn modelId="{322BF860-B2C1-4A76-A0F2-7BBCF8CB6CE3}" srcId="{48441239-A9AC-4A17-B1D9-D544A2DF50FA}" destId="{515E8D39-EE43-4CF9-AE44-EB5AD2DEDA4C}" srcOrd="1" destOrd="0" parTransId="{B2560591-043A-4862-B1B2-0DA05D591A3D}" sibTransId="{EB64C95B-1BEB-4C23-B9D6-E4B6F9AC0739}"/>
    <dgm:cxn modelId="{C86BDA71-8386-4BB5-944A-995FFC1A0B6F}" type="presOf" srcId="{FF78E1E6-4688-4713-A6DB-53AE4038E3E3}" destId="{E4445DBD-0DD0-405E-AD28-A1F01211175B}" srcOrd="0" destOrd="0" presId="urn:microsoft.com/office/officeart/2009/3/layout/SubStepProcess"/>
    <dgm:cxn modelId="{59B17591-436C-434E-8C3B-4DDF9FD6DD9A}" srcId="{515E8D39-EE43-4CF9-AE44-EB5AD2DEDA4C}" destId="{921DB594-C4C7-43A9-AE6A-8BA7B4D582EE}" srcOrd="2" destOrd="0" parTransId="{22FA217F-CDAC-4BC1-8943-DCF16BB8DC77}" sibTransId="{72265EB6-3FA0-4273-AF4C-5D3FBDF78A4F}"/>
    <dgm:cxn modelId="{411DFFD4-423F-410A-AC30-1D7C679BD9E0}" type="presOf" srcId="{C220622D-148A-4FFC-BFF3-0F25A6FFB3BD}" destId="{3645F6BC-B42C-4CF1-AAAF-FC619143A3C2}" srcOrd="0" destOrd="0" presId="urn:microsoft.com/office/officeart/2009/3/layout/SubStepProcess"/>
    <dgm:cxn modelId="{AB191C35-24A1-4BE2-8BE7-A8185B36338E}" srcId="{9AA574CB-8BD6-4B60-9457-7F32A38BC259}" destId="{C220622D-148A-4FFC-BFF3-0F25A6FFB3BD}" srcOrd="1" destOrd="0" parTransId="{FF3478A6-543B-4DFE-9859-1798D1B7C880}" sibTransId="{7E103D4F-EF03-4517-9A66-0F2F64164E86}"/>
    <dgm:cxn modelId="{19EA98F8-932E-49B6-ADC7-1A45761C8E3B}" type="presOf" srcId="{1E183DDC-5916-4348-A430-430B9E9427AB}" destId="{CC2CCF14-C7C1-46CC-8067-2BC1F7AF988C}" srcOrd="0" destOrd="0" presId="urn:microsoft.com/office/officeart/2009/3/layout/SubStepProcess"/>
    <dgm:cxn modelId="{BB3C51E5-1BBB-47EE-808B-83D27B97BC01}" srcId="{515E8D39-EE43-4CF9-AE44-EB5AD2DEDA4C}" destId="{1E183DDC-5916-4348-A430-430B9E9427AB}" srcOrd="4" destOrd="0" parTransId="{7F25710F-2169-47D7-B275-1C200C2C860A}" sibTransId="{D7A1B787-83FF-402C-AD06-46337FAEA20B}"/>
    <dgm:cxn modelId="{E0EBB618-681A-4EAE-BE02-987F2F1A9A87}" type="presParOf" srcId="{8EBA1B9F-4BD7-4330-AC05-DE4AABF676BB}" destId="{F2B8CC0C-4BAB-433E-9C0D-859B89A55943}" srcOrd="0" destOrd="0" presId="urn:microsoft.com/office/officeart/2009/3/layout/SubStepProcess"/>
    <dgm:cxn modelId="{5506CC03-AEC4-477E-860A-EB68415C5F27}" type="presParOf" srcId="{8EBA1B9F-4BD7-4330-AC05-DE4AABF676BB}" destId="{499F60E1-1548-4621-BDF2-D6765242C059}" srcOrd="1" destOrd="0" presId="urn:microsoft.com/office/officeart/2009/3/layout/SubStepProcess"/>
    <dgm:cxn modelId="{CDC37F04-EB45-4B2F-91C8-55F8A21E9219}" type="presParOf" srcId="{8EBA1B9F-4BD7-4330-AC05-DE4AABF676BB}" destId="{D5558784-69AE-47A6-8454-A7116A20F705}" srcOrd="2" destOrd="0" presId="urn:microsoft.com/office/officeart/2009/3/layout/SubStepProcess"/>
    <dgm:cxn modelId="{C51C09C2-50B0-4E9B-A72D-DCA4097119AB}" type="presParOf" srcId="{D5558784-69AE-47A6-8454-A7116A20F705}" destId="{AFA45A0C-EA29-4ABB-BF49-5831EBCC5B7D}" srcOrd="0" destOrd="0" presId="urn:microsoft.com/office/officeart/2009/3/layout/SubStepProcess"/>
    <dgm:cxn modelId="{ADBD5A3A-247C-49EC-A0B9-0A8A7A3AF7A9}" type="presParOf" srcId="{D5558784-69AE-47A6-8454-A7116A20F705}" destId="{3912D361-63AB-4F26-982D-D3BDAB42F9E3}" srcOrd="1" destOrd="0" presId="urn:microsoft.com/office/officeart/2009/3/layout/SubStepProcess"/>
    <dgm:cxn modelId="{CE5CAC2D-9649-49F2-A187-800AF2F5F76C}" type="presParOf" srcId="{D5558784-69AE-47A6-8454-A7116A20F705}" destId="{71A3EBD6-20E1-4760-81E7-C7E527A32D27}" srcOrd="2" destOrd="0" presId="urn:microsoft.com/office/officeart/2009/3/layout/SubStepProcess"/>
    <dgm:cxn modelId="{44905FDA-B3E0-4E7E-A329-1B87EA040833}" type="presParOf" srcId="{71A3EBD6-20E1-4760-81E7-C7E527A32D27}" destId="{751F95A2-1B2F-454D-BE8B-8BCAB68FD45A}" srcOrd="0" destOrd="0" presId="urn:microsoft.com/office/officeart/2009/3/layout/SubStepProcess"/>
    <dgm:cxn modelId="{532F64D0-3C9E-4D8F-8CC4-BB1217888936}" type="presParOf" srcId="{71A3EBD6-20E1-4760-81E7-C7E527A32D27}" destId="{C395C025-1394-4C29-A781-B48F429667FF}" srcOrd="1" destOrd="0" presId="urn:microsoft.com/office/officeart/2009/3/layout/SubStepProcess"/>
    <dgm:cxn modelId="{AA652FC3-21F1-4B29-B223-891E4200EDB0}" type="presParOf" srcId="{71A3EBD6-20E1-4760-81E7-C7E527A32D27}" destId="{8D25E663-CB94-4B4E-B93E-8698F1D93126}" srcOrd="2" destOrd="0" presId="urn:microsoft.com/office/officeart/2009/3/layout/SubStepProcess"/>
    <dgm:cxn modelId="{4AACA47D-638D-4616-8C8E-79B650945E71}" type="presParOf" srcId="{71A3EBD6-20E1-4760-81E7-C7E527A32D27}" destId="{71B3F7F3-93C6-4167-A5BF-E9FB60AE8FD1}" srcOrd="3" destOrd="0" presId="urn:microsoft.com/office/officeart/2009/3/layout/SubStepProcess"/>
    <dgm:cxn modelId="{03DC122B-2932-4683-A504-5AC144B343AD}" type="presParOf" srcId="{71A3EBD6-20E1-4760-81E7-C7E527A32D27}" destId="{32911B3C-36BB-4AC3-8A04-3AB024253A6F}" srcOrd="4" destOrd="0" presId="urn:microsoft.com/office/officeart/2009/3/layout/SubStepProcess"/>
    <dgm:cxn modelId="{87E0FB27-9566-435A-920F-5AAA3C2C7C4A}" type="presParOf" srcId="{D5558784-69AE-47A6-8454-A7116A20F705}" destId="{3A700611-9A09-4515-AD2A-9702722E01BB}" srcOrd="3" destOrd="0" presId="urn:microsoft.com/office/officeart/2009/3/layout/SubStepProcess"/>
    <dgm:cxn modelId="{B23EBB06-ED05-4BEB-B7E4-14D71FA67027}" type="presParOf" srcId="{D5558784-69AE-47A6-8454-A7116A20F705}" destId="{14972834-E2DA-4F96-B289-9B3CB4F3975E}" srcOrd="4" destOrd="0" presId="urn:microsoft.com/office/officeart/2009/3/layout/SubStepProcess"/>
    <dgm:cxn modelId="{5C2F3BD3-5E6C-43D2-A31F-D3926F7AC5C6}" type="presParOf" srcId="{D5558784-69AE-47A6-8454-A7116A20F705}" destId="{ABE70E04-0AAD-4BB6-9522-43233FFC7461}" srcOrd="5" destOrd="0" presId="urn:microsoft.com/office/officeart/2009/3/layout/SubStepProcess"/>
    <dgm:cxn modelId="{74E79CD8-DB52-4654-9C48-C1D07630AE1F}" type="presParOf" srcId="{ABE70E04-0AAD-4BB6-9522-43233FFC7461}" destId="{7070129B-C31A-4E82-8A58-77A3D837E163}" srcOrd="0" destOrd="0" presId="urn:microsoft.com/office/officeart/2009/3/layout/SubStepProcess"/>
    <dgm:cxn modelId="{7BD5FC7F-BE8E-4B48-A76A-4A8AF6AAEAD4}" type="presParOf" srcId="{ABE70E04-0AAD-4BB6-9522-43233FFC7461}" destId="{4489C2E1-2D89-4BDD-9429-C9412071BD31}" srcOrd="1" destOrd="0" presId="urn:microsoft.com/office/officeart/2009/3/layout/SubStepProcess"/>
    <dgm:cxn modelId="{1D2D402F-C543-4FC5-8B06-C4B80F2181AD}" type="presParOf" srcId="{ABE70E04-0AAD-4BB6-9522-43233FFC7461}" destId="{2F7C5D0A-BFF6-471E-9C00-E2BFAB169575}" srcOrd="2" destOrd="0" presId="urn:microsoft.com/office/officeart/2009/3/layout/SubStepProcess"/>
    <dgm:cxn modelId="{D7F275EB-47CB-4DD8-A61A-1034A1FCD0CA}" type="presParOf" srcId="{ABE70E04-0AAD-4BB6-9522-43233FFC7461}" destId="{3645F6BC-B42C-4CF1-AAAF-FC619143A3C2}" srcOrd="3" destOrd="0" presId="urn:microsoft.com/office/officeart/2009/3/layout/SubStepProcess"/>
    <dgm:cxn modelId="{A6BB6D5D-9A2F-496F-A6F7-4C3C1E33F6AE}" type="presParOf" srcId="{ABE70E04-0AAD-4BB6-9522-43233FFC7461}" destId="{055A104A-AB9B-4928-924D-386945DF9F84}" srcOrd="4" destOrd="0" presId="urn:microsoft.com/office/officeart/2009/3/layout/SubStepProcess"/>
    <dgm:cxn modelId="{B698BC7D-9A89-468B-B441-C65E8142FB09}" type="presParOf" srcId="{D5558784-69AE-47A6-8454-A7116A20F705}" destId="{6DE120D5-D2C4-4C73-A31F-41E70C298DCB}" srcOrd="6" destOrd="0" presId="urn:microsoft.com/office/officeart/2009/3/layout/SubStepProcess"/>
    <dgm:cxn modelId="{CABFAEE3-010E-4449-817C-95B82EF57AC3}" type="presParOf" srcId="{D5558784-69AE-47A6-8454-A7116A20F705}" destId="{6594258D-49DE-419C-A2DE-5EC612E8D1E5}" srcOrd="7" destOrd="0" presId="urn:microsoft.com/office/officeart/2009/3/layout/SubStepProcess"/>
    <dgm:cxn modelId="{F487C462-0907-4747-A3B6-A82B37CC7788}" type="presParOf" srcId="{D5558784-69AE-47A6-8454-A7116A20F705}" destId="{F28E7A1C-21A2-4FC3-8CAF-8077B7A8A011}" srcOrd="8" destOrd="0" presId="urn:microsoft.com/office/officeart/2009/3/layout/SubStepProcess"/>
    <dgm:cxn modelId="{1A587EF8-9A31-4F3C-B1EE-209B6AEC086F}" type="presParOf" srcId="{F28E7A1C-21A2-4FC3-8CAF-8077B7A8A011}" destId="{43F40EB2-8449-48CD-ABEC-A68F71D0FCCC}" srcOrd="0" destOrd="0" presId="urn:microsoft.com/office/officeart/2009/3/layout/SubStepProcess"/>
    <dgm:cxn modelId="{D631C524-120B-4769-B4B2-9BCB3FC97599}" type="presParOf" srcId="{F28E7A1C-21A2-4FC3-8CAF-8077B7A8A011}" destId="{A2FDF65A-579E-4FE5-8DBA-D8330583493D}" srcOrd="1" destOrd="0" presId="urn:microsoft.com/office/officeart/2009/3/layout/SubStepProcess"/>
    <dgm:cxn modelId="{27309B1E-F6F1-4D3B-B802-F3F22A2505E5}" type="presParOf" srcId="{F28E7A1C-21A2-4FC3-8CAF-8077B7A8A011}" destId="{2FA5EBCB-3C39-41CE-A067-D2E73E5F29A2}" srcOrd="2" destOrd="0" presId="urn:microsoft.com/office/officeart/2009/3/layout/SubStepProcess"/>
    <dgm:cxn modelId="{6B362D93-0267-447B-8CDE-32373E28BBCC}" type="presParOf" srcId="{F28E7A1C-21A2-4FC3-8CAF-8077B7A8A011}" destId="{1112D931-F496-4494-954A-88D18646B77E}" srcOrd="3" destOrd="0" presId="urn:microsoft.com/office/officeart/2009/3/layout/SubStepProcess"/>
    <dgm:cxn modelId="{5CE8935F-7D36-4B59-98CB-CDDEE9226E74}" type="presParOf" srcId="{F28E7A1C-21A2-4FC3-8CAF-8077B7A8A011}" destId="{EAD75B27-83EC-4857-B3AD-74353CD20743}" srcOrd="4" destOrd="0" presId="urn:microsoft.com/office/officeart/2009/3/layout/SubStepProcess"/>
    <dgm:cxn modelId="{1C3A6A9A-ADFD-4756-BBA2-E6321487A58A}" type="presParOf" srcId="{8EBA1B9F-4BD7-4330-AC05-DE4AABF676BB}" destId="{54DB97C3-91B1-4D1A-89C6-19FF6E874AA5}" srcOrd="3" destOrd="0" presId="urn:microsoft.com/office/officeart/2009/3/layout/SubStepProcess"/>
    <dgm:cxn modelId="{5B96B34E-3A08-4207-BBDB-5C6C0346B555}" type="presParOf" srcId="{8EBA1B9F-4BD7-4330-AC05-DE4AABF676BB}" destId="{C068A876-EA0B-411A-A280-B7C0AE720FF8}" srcOrd="4" destOrd="0" presId="urn:microsoft.com/office/officeart/2009/3/layout/SubStepProcess"/>
    <dgm:cxn modelId="{4FFB592C-0DB1-4EEE-9F46-F0C70796F033}" type="presParOf" srcId="{8EBA1B9F-4BD7-4330-AC05-DE4AABF676BB}" destId="{6E128835-AAF8-4CE9-8AB8-ACCB9608DFBF}" srcOrd="5" destOrd="0" presId="urn:microsoft.com/office/officeart/2009/3/layout/SubStepProcess"/>
    <dgm:cxn modelId="{6A5FC833-ECBF-4326-854A-252127BE94DC}" type="presParOf" srcId="{8EBA1B9F-4BD7-4330-AC05-DE4AABF676BB}" destId="{5F56DFE9-2706-479E-ACE3-ABAB663EB839}" srcOrd="6" destOrd="0" presId="urn:microsoft.com/office/officeart/2009/3/layout/SubStepProcess"/>
    <dgm:cxn modelId="{D3C62EC8-3FB8-4531-AED0-FD53F535ACF3}" type="presParOf" srcId="{5F56DFE9-2706-479E-ACE3-ABAB663EB839}" destId="{24303BE4-76E9-42E5-9296-E970615FFF18}" srcOrd="0" destOrd="0" presId="urn:microsoft.com/office/officeart/2009/3/layout/SubStepProcess"/>
    <dgm:cxn modelId="{66E53AAF-A1DE-4393-92A6-BD3468BE8E7C}" type="presParOf" srcId="{5F56DFE9-2706-479E-ACE3-ABAB663EB839}" destId="{EB6B8D59-C11A-42E7-87CA-83036BA696FA}" srcOrd="1" destOrd="0" presId="urn:microsoft.com/office/officeart/2009/3/layout/SubStepProcess"/>
    <dgm:cxn modelId="{1FE4DC24-C10F-4E80-B468-572BC5F783D2}" type="presParOf" srcId="{EB6B8D59-C11A-42E7-87CA-83036BA696FA}" destId="{11E19E80-664C-4FDF-9046-9D27161773B5}" srcOrd="0" destOrd="0" presId="urn:microsoft.com/office/officeart/2009/3/layout/SubStepProcess"/>
    <dgm:cxn modelId="{17FB65BB-D989-403A-97F0-511719FFBC30}" type="presParOf" srcId="{EB6B8D59-C11A-42E7-87CA-83036BA696FA}" destId="{70B4931A-F586-4268-8FA2-0AA806128429}" srcOrd="1" destOrd="0" presId="urn:microsoft.com/office/officeart/2009/3/layout/SubStepProcess"/>
    <dgm:cxn modelId="{DDC97673-E490-4F39-9A4E-C25BE53BEC0E}" type="presParOf" srcId="{EB6B8D59-C11A-42E7-87CA-83036BA696FA}" destId="{E5B93EF1-E90D-4F9F-8208-86C569326C09}" srcOrd="2" destOrd="0" presId="urn:microsoft.com/office/officeart/2009/3/layout/SubStepProcess"/>
    <dgm:cxn modelId="{9AC765F1-3AAB-4797-B1FE-7D0DD905AABD}" type="presParOf" srcId="{EB6B8D59-C11A-42E7-87CA-83036BA696FA}" destId="{74E5975E-6F53-4C14-BCF6-1272DD3B53BC}" srcOrd="3" destOrd="0" presId="urn:microsoft.com/office/officeart/2009/3/layout/SubStepProcess"/>
    <dgm:cxn modelId="{266F0DD1-C08C-4640-BB42-7DCD32703F6D}" type="presParOf" srcId="{5F56DFE9-2706-479E-ACE3-ABAB663EB839}" destId="{F8FD05E1-E616-453D-B61A-CFD8EE09B55F}" srcOrd="2" destOrd="0" presId="urn:microsoft.com/office/officeart/2009/3/layout/SubStepProcess"/>
    <dgm:cxn modelId="{4F82BF02-49F2-4C8C-B010-5EDFFFEEE23F}" type="presParOf" srcId="{5F56DFE9-2706-479E-ACE3-ABAB663EB839}" destId="{CC1DDC7C-E668-403B-ABAE-FB37A68263F1}" srcOrd="3" destOrd="0" presId="urn:microsoft.com/office/officeart/2009/3/layout/SubStepProcess"/>
    <dgm:cxn modelId="{74D858DD-E4EF-4257-8675-4E6F0FB2E1ED}" type="presParOf" srcId="{CC1DDC7C-E668-403B-ABAE-FB37A68263F1}" destId="{C8611729-3CE3-487C-ACFC-DCCCD0416AC9}" srcOrd="0" destOrd="0" presId="urn:microsoft.com/office/officeart/2009/3/layout/SubStepProcess"/>
    <dgm:cxn modelId="{C227AA4F-0025-417D-BC69-9CB1A7DF4DF2}" type="presParOf" srcId="{CC1DDC7C-E668-403B-ABAE-FB37A68263F1}" destId="{9979FAD1-45E5-4FD9-958A-D1E2E66D07D8}" srcOrd="1" destOrd="0" presId="urn:microsoft.com/office/officeart/2009/3/layout/SubStepProcess"/>
    <dgm:cxn modelId="{7321CCCF-D8A7-45A9-ACB3-11E1FB2BD5C6}" type="presParOf" srcId="{CC1DDC7C-E668-403B-ABAE-FB37A68263F1}" destId="{B6300C25-9944-411A-9A53-62BC47A676E6}" srcOrd="2" destOrd="0" presId="urn:microsoft.com/office/officeart/2009/3/layout/SubStepProcess"/>
    <dgm:cxn modelId="{B6EC143D-3A83-4CB2-AD57-6FCA7681CE51}" type="presParOf" srcId="{CC1DDC7C-E668-403B-ABAE-FB37A68263F1}" destId="{93EBE7A0-A02C-429B-B0C4-A272C598C9AF}" srcOrd="3" destOrd="0" presId="urn:microsoft.com/office/officeart/2009/3/layout/SubStepProcess"/>
    <dgm:cxn modelId="{415D22DC-315D-45DA-8EA3-7A7CED0104EF}" type="presParOf" srcId="{5F56DFE9-2706-479E-ACE3-ABAB663EB839}" destId="{1C4DAAF0-C023-4B8D-9EA2-0F0BD5C4307A}" srcOrd="4" destOrd="0" presId="urn:microsoft.com/office/officeart/2009/3/layout/SubStepProcess"/>
    <dgm:cxn modelId="{C2EC0B88-6509-4DA6-8DE2-C2B3120CFA67}" type="presParOf" srcId="{5F56DFE9-2706-479E-ACE3-ABAB663EB839}" destId="{2D0C0829-BF07-48DC-94E3-870E3CA723B9}" srcOrd="5" destOrd="0" presId="urn:microsoft.com/office/officeart/2009/3/layout/SubStepProcess"/>
    <dgm:cxn modelId="{38DD5D1C-223D-4601-8D57-EA4AB10A5B07}" type="presParOf" srcId="{2D0C0829-BF07-48DC-94E3-870E3CA723B9}" destId="{17AEF567-FC55-4CAC-94AB-2E728E0369ED}" srcOrd="0" destOrd="0" presId="urn:microsoft.com/office/officeart/2009/3/layout/SubStepProcess"/>
    <dgm:cxn modelId="{73671728-77FB-4498-8B88-05B18DB5FDAA}" type="presParOf" srcId="{2D0C0829-BF07-48DC-94E3-870E3CA723B9}" destId="{2E674199-2919-458A-964B-C6CCDAFAA423}" srcOrd="1" destOrd="0" presId="urn:microsoft.com/office/officeart/2009/3/layout/SubStepProcess"/>
    <dgm:cxn modelId="{AE77D91C-3AB4-4806-A94F-EA2952AB450A}" type="presParOf" srcId="{2D0C0829-BF07-48DC-94E3-870E3CA723B9}" destId="{A2603451-DF1B-4511-940D-D0CF8C68F5A1}" srcOrd="2" destOrd="0" presId="urn:microsoft.com/office/officeart/2009/3/layout/SubStepProcess"/>
    <dgm:cxn modelId="{FF619A7D-65EA-40A9-BFE7-AEB984FA237B}" type="presParOf" srcId="{2D0C0829-BF07-48DC-94E3-870E3CA723B9}" destId="{680ADB65-3A1A-4089-8548-DEC763B12FE0}" srcOrd="3" destOrd="0" presId="urn:microsoft.com/office/officeart/2009/3/layout/SubStepProcess"/>
    <dgm:cxn modelId="{8949FB06-E104-4407-8748-950225D7397E}" type="presParOf" srcId="{5F56DFE9-2706-479E-ACE3-ABAB663EB839}" destId="{405D00F5-4239-41EF-919E-9DCBAB075C8C}" srcOrd="6" destOrd="0" presId="urn:microsoft.com/office/officeart/2009/3/layout/SubStepProcess"/>
    <dgm:cxn modelId="{B0C88D56-D55C-405F-8E90-CDFD96F35C8D}" type="presParOf" srcId="{5F56DFE9-2706-479E-ACE3-ABAB663EB839}" destId="{CD2A1153-8466-4C27-BDF5-068664551CF3}" srcOrd="7" destOrd="0" presId="urn:microsoft.com/office/officeart/2009/3/layout/SubStepProcess"/>
    <dgm:cxn modelId="{E54A0AC6-617D-40D6-8739-ACFF0B878DF0}" type="presParOf" srcId="{CD2A1153-8466-4C27-BDF5-068664551CF3}" destId="{9A19B111-65A9-4F79-9BF9-BF7AB94AA102}" srcOrd="0" destOrd="0" presId="urn:microsoft.com/office/officeart/2009/3/layout/SubStepProcess"/>
    <dgm:cxn modelId="{B6DEDAAD-03D4-4C34-AC4C-F5BF71D76502}" type="presParOf" srcId="{CD2A1153-8466-4C27-BDF5-068664551CF3}" destId="{51400CC1-2818-4B15-A925-15140010E228}" srcOrd="1" destOrd="0" presId="urn:microsoft.com/office/officeart/2009/3/layout/SubStepProcess"/>
    <dgm:cxn modelId="{840B415A-7E86-4FA1-9CAE-A6348A1DB65C}" type="presParOf" srcId="{CD2A1153-8466-4C27-BDF5-068664551CF3}" destId="{7EAA0D5D-F07A-45F3-92F9-71FEAD5C863A}" srcOrd="2" destOrd="0" presId="urn:microsoft.com/office/officeart/2009/3/layout/SubStepProcess"/>
    <dgm:cxn modelId="{6DE9436C-B1FC-47C7-B8D3-A4AF69F5F35B}" type="presParOf" srcId="{CD2A1153-8466-4C27-BDF5-068664551CF3}" destId="{A13A8834-8CCB-40B2-A69F-321451D14632}" srcOrd="3" destOrd="0" presId="urn:microsoft.com/office/officeart/2009/3/layout/SubStepProcess"/>
    <dgm:cxn modelId="{C6A05B72-2C6D-4C99-A2DA-97EC26D23D4E}" type="presParOf" srcId="{5F56DFE9-2706-479E-ACE3-ABAB663EB839}" destId="{8B71F40D-D752-4531-A069-89A423F1A146}" srcOrd="8" destOrd="0" presId="urn:microsoft.com/office/officeart/2009/3/layout/SubStepProcess"/>
    <dgm:cxn modelId="{38B1934A-822B-4383-9910-68DC4060493E}" type="presParOf" srcId="{5F56DFE9-2706-479E-ACE3-ABAB663EB839}" destId="{68887667-6600-431C-8995-3DB9D54CF34C}" srcOrd="9" destOrd="0" presId="urn:microsoft.com/office/officeart/2009/3/layout/SubStepProcess"/>
    <dgm:cxn modelId="{636FEA3C-5737-4F2A-9325-C041B0B07C31}" type="presParOf" srcId="{68887667-6600-431C-8995-3DB9D54CF34C}" destId="{0CAEBC4F-7E42-45EC-8C9D-0FBDB2034B40}" srcOrd="0" destOrd="0" presId="urn:microsoft.com/office/officeart/2009/3/layout/SubStepProcess"/>
    <dgm:cxn modelId="{7EC81808-BF11-48B0-B10E-8476AC434B09}" type="presParOf" srcId="{68887667-6600-431C-8995-3DB9D54CF34C}" destId="{992ED432-B78A-46F7-ADD7-AFA6C27DECD3}" srcOrd="1" destOrd="0" presId="urn:microsoft.com/office/officeart/2009/3/layout/SubStepProcess"/>
    <dgm:cxn modelId="{80FB7610-8F49-40C2-9419-AEFF85B28EEE}" type="presParOf" srcId="{68887667-6600-431C-8995-3DB9D54CF34C}" destId="{24612E40-5ABA-4910-9B81-4A38C42D2F93}" srcOrd="2" destOrd="0" presId="urn:microsoft.com/office/officeart/2009/3/layout/SubStepProcess"/>
    <dgm:cxn modelId="{0E171DE6-D188-4312-A386-67BB27CDEB2E}" type="presParOf" srcId="{68887667-6600-431C-8995-3DB9D54CF34C}" destId="{CC2CCF14-C7C1-46CC-8067-2BC1F7AF988C}" srcOrd="3" destOrd="0" presId="urn:microsoft.com/office/officeart/2009/3/layout/SubStepProcess"/>
    <dgm:cxn modelId="{02CE6AA4-1342-4554-9201-9F2B97020322}" type="presParOf" srcId="{5F56DFE9-2706-479E-ACE3-ABAB663EB839}" destId="{6F8E6C94-8331-4D8A-989A-6184A2DBFA28}" srcOrd="10" destOrd="0" presId="urn:microsoft.com/office/officeart/2009/3/layout/SubStepProcess"/>
    <dgm:cxn modelId="{FE808F31-2602-4ADC-8289-A5EED3F1295F}" type="presParOf" srcId="{5F56DFE9-2706-479E-ACE3-ABAB663EB839}" destId="{8842861B-6B5A-4F9B-A9E4-FB322AFF9D34}" srcOrd="11" destOrd="0" presId="urn:microsoft.com/office/officeart/2009/3/layout/SubStepProcess"/>
    <dgm:cxn modelId="{7CB2C040-7389-4898-A2E0-320356EC3B18}" type="presParOf" srcId="{8842861B-6B5A-4F9B-A9E4-FB322AFF9D34}" destId="{E5DDAF8D-597E-4560-8462-091562202E0A}" srcOrd="0" destOrd="0" presId="urn:microsoft.com/office/officeart/2009/3/layout/SubStepProcess"/>
    <dgm:cxn modelId="{ADCF50AA-A5A4-4180-A768-9B684BB222D7}" type="presParOf" srcId="{8842861B-6B5A-4F9B-A9E4-FB322AFF9D34}" destId="{E0608068-4222-4293-9A3A-E607B15ECC06}" srcOrd="1" destOrd="0" presId="urn:microsoft.com/office/officeart/2009/3/layout/SubStepProcess"/>
    <dgm:cxn modelId="{515EEFAA-C833-4B7C-A3F7-52B5940A07E3}" type="presParOf" srcId="{8842861B-6B5A-4F9B-A9E4-FB322AFF9D34}" destId="{ED232DEF-E2CD-4055-AB92-3C4048142513}" srcOrd="2" destOrd="0" presId="urn:microsoft.com/office/officeart/2009/3/layout/SubStepProcess"/>
    <dgm:cxn modelId="{4253FC0B-06A3-4139-B76E-49F43273FEAF}" type="presParOf" srcId="{8842861B-6B5A-4F9B-A9E4-FB322AFF9D34}" destId="{E4445DBD-0DD0-405E-AD28-A1F01211175B}" srcOrd="3"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8441239-A9AC-4A17-B1D9-D544A2DF50FA}" type="doc">
      <dgm:prSet loTypeId="urn:microsoft.com/office/officeart/2009/3/layout/SubStepProcess" loCatId="process" qsTypeId="urn:microsoft.com/office/officeart/2005/8/quickstyle/simple1" qsCatId="simple" csTypeId="urn:microsoft.com/office/officeart/2005/8/colors/accent1_2" csCatId="accent1" phldr="1"/>
      <dgm:spPr/>
    </dgm:pt>
    <dgm:pt modelId="{9AA574CB-8BD6-4B60-9457-7F32A38BC259}">
      <dgm:prSet phldrT="[文本]"/>
      <dgm:spPr/>
      <dgm:t>
        <a:bodyPr/>
        <a:lstStyle/>
        <a:p>
          <a:r>
            <a:rPr lang="zh-CN" altLang="en-US" dirty="0" smtClean="0">
              <a:solidFill>
                <a:schemeClr val="tx1"/>
              </a:solidFill>
            </a:rPr>
            <a:t>渗透攻击阶段</a:t>
          </a:r>
          <a:endParaRPr lang="zh-CN" altLang="en-US" dirty="0">
            <a:solidFill>
              <a:schemeClr val="tx1"/>
            </a:solidFill>
          </a:endParaRPr>
        </a:p>
      </dgm:t>
    </dgm:pt>
    <dgm:pt modelId="{3D6FB2E1-2607-406D-8CE4-3F72C4E2BA7C}" type="parTrans" cxnId="{A3639D38-BD0E-4E75-8C5A-FD32AEF97BB3}">
      <dgm:prSet/>
      <dgm:spPr/>
      <dgm:t>
        <a:bodyPr/>
        <a:lstStyle/>
        <a:p>
          <a:endParaRPr lang="zh-CN" altLang="en-US">
            <a:solidFill>
              <a:schemeClr val="tx1"/>
            </a:solidFill>
          </a:endParaRPr>
        </a:p>
      </dgm:t>
    </dgm:pt>
    <dgm:pt modelId="{4A652E1D-2EE7-4BC2-8CB9-E0474E09EDEF}" type="sibTrans" cxnId="{A3639D38-BD0E-4E75-8C5A-FD32AEF97BB3}">
      <dgm:prSet/>
      <dgm:spPr/>
      <dgm:t>
        <a:bodyPr/>
        <a:lstStyle/>
        <a:p>
          <a:endParaRPr lang="zh-CN" altLang="en-US">
            <a:solidFill>
              <a:schemeClr val="tx1"/>
            </a:solidFill>
          </a:endParaRPr>
        </a:p>
      </dgm:t>
    </dgm:pt>
    <dgm:pt modelId="{FD6B28E6-35E2-4CB6-ABBB-DBBECE808BAD}">
      <dgm:prSet phldrT="[文本]"/>
      <dgm:spPr/>
      <dgm:t>
        <a:bodyPr/>
        <a:lstStyle/>
        <a:p>
          <a:r>
            <a:rPr lang="zh-CN" altLang="en-US" dirty="0" smtClean="0">
              <a:solidFill>
                <a:schemeClr val="tx1"/>
              </a:solidFill>
            </a:rPr>
            <a:t>精准打击</a:t>
          </a:r>
          <a:endParaRPr lang="zh-CN" altLang="en-US" dirty="0">
            <a:solidFill>
              <a:schemeClr val="tx1"/>
            </a:solidFill>
          </a:endParaRPr>
        </a:p>
      </dgm:t>
    </dgm:pt>
    <dgm:pt modelId="{1ECC388B-8232-4256-BED3-C7F7CC058BC2}" type="parTrans" cxnId="{B508C67D-6604-4C8E-AE3D-0C24E02E2117}">
      <dgm:prSet/>
      <dgm:spPr/>
      <dgm:t>
        <a:bodyPr/>
        <a:lstStyle/>
        <a:p>
          <a:endParaRPr lang="zh-CN" altLang="en-US">
            <a:solidFill>
              <a:schemeClr val="tx1"/>
            </a:solidFill>
          </a:endParaRPr>
        </a:p>
      </dgm:t>
    </dgm:pt>
    <dgm:pt modelId="{661B617C-4515-4507-8984-0AE5D70709EF}" type="sibTrans" cxnId="{B508C67D-6604-4C8E-AE3D-0C24E02E2117}">
      <dgm:prSet/>
      <dgm:spPr/>
      <dgm:t>
        <a:bodyPr/>
        <a:lstStyle/>
        <a:p>
          <a:endParaRPr lang="zh-CN" altLang="en-US">
            <a:solidFill>
              <a:schemeClr val="tx1"/>
            </a:solidFill>
          </a:endParaRPr>
        </a:p>
      </dgm:t>
    </dgm:pt>
    <dgm:pt modelId="{515E8D39-EE43-4CF9-AE44-EB5AD2DEDA4C}">
      <dgm:prSet phldrT="[文本]"/>
      <dgm:spPr/>
      <dgm:t>
        <a:bodyPr/>
        <a:lstStyle/>
        <a:p>
          <a:r>
            <a:rPr lang="zh-CN" altLang="en-US" dirty="0" smtClean="0">
              <a:solidFill>
                <a:schemeClr val="tx1"/>
              </a:solidFill>
            </a:rPr>
            <a:t>实施</a:t>
          </a:r>
          <a:endParaRPr lang="en-US" altLang="zh-CN" dirty="0" smtClean="0">
            <a:solidFill>
              <a:schemeClr val="tx1"/>
            </a:solidFill>
          </a:endParaRPr>
        </a:p>
        <a:p>
          <a:r>
            <a:rPr lang="zh-CN" altLang="en-US" dirty="0" smtClean="0">
              <a:solidFill>
                <a:schemeClr val="tx1"/>
              </a:solidFill>
            </a:rPr>
            <a:t>渗透</a:t>
          </a:r>
          <a:endParaRPr lang="zh-CN" altLang="en-US" dirty="0">
            <a:solidFill>
              <a:schemeClr val="tx1"/>
            </a:solidFill>
          </a:endParaRPr>
        </a:p>
      </dgm:t>
    </dgm:pt>
    <dgm:pt modelId="{B2560591-043A-4862-B1B2-0DA05D591A3D}" type="parTrans" cxnId="{322BF860-B2C1-4A76-A0F2-7BBCF8CB6CE3}">
      <dgm:prSet/>
      <dgm:spPr/>
      <dgm:t>
        <a:bodyPr/>
        <a:lstStyle/>
        <a:p>
          <a:endParaRPr lang="zh-CN" altLang="en-US">
            <a:solidFill>
              <a:schemeClr val="tx1"/>
            </a:solidFill>
          </a:endParaRPr>
        </a:p>
      </dgm:t>
    </dgm:pt>
    <dgm:pt modelId="{EB64C95B-1BEB-4C23-B9D6-E4B6F9AC0739}" type="sibTrans" cxnId="{322BF860-B2C1-4A76-A0F2-7BBCF8CB6CE3}">
      <dgm:prSet/>
      <dgm:spPr/>
      <dgm:t>
        <a:bodyPr/>
        <a:lstStyle/>
        <a:p>
          <a:endParaRPr lang="zh-CN" altLang="en-US">
            <a:solidFill>
              <a:schemeClr val="tx1"/>
            </a:solidFill>
          </a:endParaRPr>
        </a:p>
      </dgm:t>
    </dgm:pt>
    <dgm:pt modelId="{5D4B8E8E-88AF-47F2-9520-F069B741ADD5}">
      <dgm:prSet phldrT="[文本]"/>
      <dgm:spPr/>
      <dgm:t>
        <a:bodyPr/>
        <a:lstStyle/>
        <a:p>
          <a:r>
            <a:rPr lang="zh-CN" altLang="en-US" dirty="0" smtClean="0">
              <a:solidFill>
                <a:schemeClr val="tx1"/>
              </a:solidFill>
            </a:rPr>
            <a:t>绕过防御机制</a:t>
          </a:r>
          <a:endParaRPr lang="zh-CN" altLang="en-US" dirty="0">
            <a:solidFill>
              <a:schemeClr val="tx1"/>
            </a:solidFill>
          </a:endParaRPr>
        </a:p>
      </dgm:t>
    </dgm:pt>
    <dgm:pt modelId="{3D20152A-0A59-49EE-863F-CA0D3436C72C}" type="parTrans" cxnId="{443E03F3-CAA3-41D2-A296-0B36EF292472}">
      <dgm:prSet/>
      <dgm:spPr/>
      <dgm:t>
        <a:bodyPr/>
        <a:lstStyle/>
        <a:p>
          <a:endParaRPr lang="zh-CN" altLang="en-US">
            <a:solidFill>
              <a:schemeClr val="tx1"/>
            </a:solidFill>
          </a:endParaRPr>
        </a:p>
      </dgm:t>
    </dgm:pt>
    <dgm:pt modelId="{03405E28-6E9B-4875-9E71-397D27D398B7}" type="sibTrans" cxnId="{443E03F3-CAA3-41D2-A296-0B36EF292472}">
      <dgm:prSet/>
      <dgm:spPr/>
      <dgm:t>
        <a:bodyPr/>
        <a:lstStyle/>
        <a:p>
          <a:endParaRPr lang="zh-CN" altLang="en-US">
            <a:solidFill>
              <a:schemeClr val="tx1"/>
            </a:solidFill>
          </a:endParaRPr>
        </a:p>
      </dgm:t>
    </dgm:pt>
    <dgm:pt modelId="{81909832-0683-44EA-B592-C58881A4BE9A}">
      <dgm:prSet phldrT="[文本]"/>
      <dgm:spPr/>
      <dgm:t>
        <a:bodyPr/>
        <a:lstStyle/>
        <a:p>
          <a:r>
            <a:rPr lang="zh-CN" altLang="en-US" dirty="0" smtClean="0">
              <a:solidFill>
                <a:schemeClr val="tx1"/>
              </a:solidFill>
            </a:rPr>
            <a:t>定制渗透攻击路径</a:t>
          </a:r>
          <a:endParaRPr lang="zh-CN" altLang="en-US" dirty="0">
            <a:solidFill>
              <a:schemeClr val="tx1"/>
            </a:solidFill>
          </a:endParaRPr>
        </a:p>
      </dgm:t>
    </dgm:pt>
    <dgm:pt modelId="{E0AC68BC-C77D-447C-96EE-4054CD96C00F}" type="parTrans" cxnId="{9B26BCAF-E3F2-464F-BD18-E0C142A31CE5}">
      <dgm:prSet/>
      <dgm:spPr/>
      <dgm:t>
        <a:bodyPr/>
        <a:lstStyle/>
        <a:p>
          <a:endParaRPr lang="zh-CN" altLang="en-US">
            <a:solidFill>
              <a:schemeClr val="tx1"/>
            </a:solidFill>
          </a:endParaRPr>
        </a:p>
      </dgm:t>
    </dgm:pt>
    <dgm:pt modelId="{D086BEC8-A668-4A80-A179-C099C008F654}" type="sibTrans" cxnId="{9B26BCAF-E3F2-464F-BD18-E0C142A31CE5}">
      <dgm:prSet/>
      <dgm:spPr/>
      <dgm:t>
        <a:bodyPr/>
        <a:lstStyle/>
        <a:p>
          <a:endParaRPr lang="zh-CN" altLang="en-US">
            <a:solidFill>
              <a:schemeClr val="tx1"/>
            </a:solidFill>
          </a:endParaRPr>
        </a:p>
      </dgm:t>
    </dgm:pt>
    <dgm:pt modelId="{93717251-B41E-47E7-B955-308DACA8B2EB}">
      <dgm:prSet phldrT="[文本]"/>
      <dgm:spPr/>
      <dgm:t>
        <a:bodyPr/>
        <a:lstStyle/>
        <a:p>
          <a:r>
            <a:rPr lang="zh-CN" altLang="en-US" dirty="0" smtClean="0">
              <a:solidFill>
                <a:schemeClr val="tx1"/>
              </a:solidFill>
            </a:rPr>
            <a:t>触发攻击响应控制措施</a:t>
          </a:r>
          <a:endParaRPr lang="zh-CN" altLang="en-US" dirty="0">
            <a:solidFill>
              <a:schemeClr val="tx1"/>
            </a:solidFill>
          </a:endParaRPr>
        </a:p>
      </dgm:t>
    </dgm:pt>
    <dgm:pt modelId="{BE36B730-B87A-4393-AC44-9FA7A454274F}" type="parTrans" cxnId="{5A3D6A63-1F48-4222-A8B0-B7DBBE2268D5}">
      <dgm:prSet/>
      <dgm:spPr/>
      <dgm:t>
        <a:bodyPr/>
        <a:lstStyle/>
        <a:p>
          <a:endParaRPr lang="zh-CN" altLang="en-US">
            <a:solidFill>
              <a:schemeClr val="tx1"/>
            </a:solidFill>
          </a:endParaRPr>
        </a:p>
      </dgm:t>
    </dgm:pt>
    <dgm:pt modelId="{633499E8-CFAC-4758-B0E2-7E843FC301FA}" type="sibTrans" cxnId="{5A3D6A63-1F48-4222-A8B0-B7DBBE2268D5}">
      <dgm:prSet/>
      <dgm:spPr/>
      <dgm:t>
        <a:bodyPr/>
        <a:lstStyle/>
        <a:p>
          <a:endParaRPr lang="zh-CN" altLang="en-US">
            <a:solidFill>
              <a:schemeClr val="tx1"/>
            </a:solidFill>
          </a:endParaRPr>
        </a:p>
      </dgm:t>
    </dgm:pt>
    <dgm:pt modelId="{8F51CD62-F543-482A-A1AE-A058D7F230AF}">
      <dgm:prSet phldrT="[文本]"/>
      <dgm:spPr/>
      <dgm:t>
        <a:bodyPr/>
        <a:lstStyle/>
        <a:p>
          <a:r>
            <a:rPr lang="zh-CN" altLang="en-US" dirty="0" smtClean="0">
              <a:solidFill>
                <a:schemeClr val="tx1"/>
              </a:solidFill>
            </a:rPr>
            <a:t>渗透代码测试</a:t>
          </a:r>
          <a:endParaRPr lang="zh-CN" altLang="en-US" dirty="0">
            <a:solidFill>
              <a:schemeClr val="tx1"/>
            </a:solidFill>
          </a:endParaRPr>
        </a:p>
      </dgm:t>
    </dgm:pt>
    <dgm:pt modelId="{2CDF1D76-A118-4279-88AB-7A91ACB257AE}" type="parTrans" cxnId="{334C89D5-BEDD-46D3-B4AC-31E78E5BE5F9}">
      <dgm:prSet/>
      <dgm:spPr/>
      <dgm:t>
        <a:bodyPr/>
        <a:lstStyle/>
        <a:p>
          <a:endParaRPr lang="zh-CN" altLang="en-US">
            <a:solidFill>
              <a:schemeClr val="tx1"/>
            </a:solidFill>
          </a:endParaRPr>
        </a:p>
      </dgm:t>
    </dgm:pt>
    <dgm:pt modelId="{1960E17E-4414-41E6-84DE-D575DEE01A9A}" type="sibTrans" cxnId="{334C89D5-BEDD-46D3-B4AC-31E78E5BE5F9}">
      <dgm:prSet/>
      <dgm:spPr/>
      <dgm:t>
        <a:bodyPr/>
        <a:lstStyle/>
        <a:p>
          <a:endParaRPr lang="zh-CN" altLang="en-US">
            <a:solidFill>
              <a:schemeClr val="tx1"/>
            </a:solidFill>
          </a:endParaRPr>
        </a:p>
      </dgm:t>
    </dgm:pt>
    <dgm:pt modelId="{AB495CDA-82D0-4689-A6CF-1BF4C1AC5D64}">
      <dgm:prSet phldrT="[文本]"/>
      <dgm:spPr/>
      <dgm:t>
        <a:bodyPr/>
        <a:lstStyle/>
        <a:p>
          <a:r>
            <a:rPr lang="zh-CN" altLang="en-US" dirty="0" smtClean="0">
              <a:solidFill>
                <a:schemeClr val="tx1"/>
              </a:solidFill>
            </a:rPr>
            <a:t>攻击类型</a:t>
          </a:r>
          <a:endParaRPr lang="zh-CN" altLang="en-US" dirty="0">
            <a:solidFill>
              <a:schemeClr val="tx1"/>
            </a:solidFill>
          </a:endParaRPr>
        </a:p>
      </dgm:t>
    </dgm:pt>
    <dgm:pt modelId="{A3381119-D824-431C-B4B3-CDBED352D67D}" type="parTrans" cxnId="{ACFA82D9-7713-45FE-B90D-DB6F055B714A}">
      <dgm:prSet/>
      <dgm:spPr/>
      <dgm:t>
        <a:bodyPr/>
        <a:lstStyle/>
        <a:p>
          <a:endParaRPr lang="zh-CN" altLang="en-US">
            <a:solidFill>
              <a:schemeClr val="tx1"/>
            </a:solidFill>
          </a:endParaRPr>
        </a:p>
      </dgm:t>
    </dgm:pt>
    <dgm:pt modelId="{A27A5A73-2421-45C0-9943-372988BC3C33}" type="sibTrans" cxnId="{ACFA82D9-7713-45FE-B90D-DB6F055B714A}">
      <dgm:prSet/>
      <dgm:spPr/>
      <dgm:t>
        <a:bodyPr/>
        <a:lstStyle/>
        <a:p>
          <a:endParaRPr lang="zh-CN" altLang="en-US">
            <a:solidFill>
              <a:schemeClr val="tx1"/>
            </a:solidFill>
          </a:endParaRPr>
        </a:p>
      </dgm:t>
    </dgm:pt>
    <dgm:pt modelId="{1A62635A-6BCE-410B-B817-BC479392B671}">
      <dgm:prSet phldrT="[文本]"/>
      <dgm:spPr/>
      <dgm:t>
        <a:bodyPr/>
        <a:lstStyle/>
        <a:p>
          <a:r>
            <a:rPr lang="zh-CN" altLang="en-US" dirty="0" smtClean="0">
              <a:solidFill>
                <a:schemeClr val="tx1"/>
              </a:solidFill>
            </a:rPr>
            <a:t>绕过检测机制</a:t>
          </a:r>
          <a:endParaRPr lang="zh-CN" altLang="en-US" dirty="0">
            <a:solidFill>
              <a:schemeClr val="tx1"/>
            </a:solidFill>
          </a:endParaRPr>
        </a:p>
      </dgm:t>
    </dgm:pt>
    <dgm:pt modelId="{248C983E-55C6-4B9A-984E-50708E46A813}" type="parTrans" cxnId="{67E007CD-DCC6-4EF5-8D39-BCF767FC41AB}">
      <dgm:prSet/>
      <dgm:spPr/>
      <dgm:t>
        <a:bodyPr/>
        <a:lstStyle/>
        <a:p>
          <a:endParaRPr lang="zh-CN" altLang="en-US">
            <a:solidFill>
              <a:schemeClr val="tx1"/>
            </a:solidFill>
          </a:endParaRPr>
        </a:p>
      </dgm:t>
    </dgm:pt>
    <dgm:pt modelId="{D2AC0556-99DD-45FC-AA8C-FC8C9511D41B}" type="sibTrans" cxnId="{67E007CD-DCC6-4EF5-8D39-BCF767FC41AB}">
      <dgm:prSet/>
      <dgm:spPr/>
      <dgm:t>
        <a:bodyPr/>
        <a:lstStyle/>
        <a:p>
          <a:endParaRPr lang="zh-CN" altLang="en-US">
            <a:solidFill>
              <a:schemeClr val="tx1"/>
            </a:solidFill>
          </a:endParaRPr>
        </a:p>
      </dgm:t>
    </dgm:pt>
    <dgm:pt modelId="{8EBA1B9F-4BD7-4330-AC05-DE4AABF676BB}" type="pres">
      <dgm:prSet presAssocID="{48441239-A9AC-4A17-B1D9-D544A2DF50FA}" presName="Name0" presStyleCnt="0">
        <dgm:presLayoutVars>
          <dgm:chMax val="7"/>
          <dgm:dir/>
          <dgm:animOne val="branch"/>
        </dgm:presLayoutVars>
      </dgm:prSet>
      <dgm:spPr/>
    </dgm:pt>
    <dgm:pt modelId="{F2B8CC0C-4BAB-433E-9C0D-859B89A55943}" type="pres">
      <dgm:prSet presAssocID="{9AA574CB-8BD6-4B60-9457-7F32A38BC259}" presName="parTx1" presStyleLbl="node1" presStyleIdx="0" presStyleCnt="2"/>
      <dgm:spPr/>
      <dgm:t>
        <a:bodyPr/>
        <a:lstStyle/>
        <a:p>
          <a:endParaRPr lang="zh-CN" altLang="en-US"/>
        </a:p>
      </dgm:t>
    </dgm:pt>
    <dgm:pt modelId="{499F60E1-1548-4621-BDF2-D6765242C059}" type="pres">
      <dgm:prSet presAssocID="{9AA574CB-8BD6-4B60-9457-7F32A38BC259}" presName="spPre1" presStyleCnt="0"/>
      <dgm:spPr/>
    </dgm:pt>
    <dgm:pt modelId="{D5558784-69AE-47A6-8454-A7116A20F705}" type="pres">
      <dgm:prSet presAssocID="{9AA574CB-8BD6-4B60-9457-7F32A38BC259}" presName="chLin1" presStyleCnt="0"/>
      <dgm:spPr/>
    </dgm:pt>
    <dgm:pt modelId="{AFA45A0C-EA29-4ABB-BF49-5831EBCC5B7D}" type="pres">
      <dgm:prSet presAssocID="{1ECC388B-8232-4256-BED3-C7F7CC058BC2}" presName="Name11" presStyleLbl="parChTrans1D1" presStyleIdx="0" presStyleCnt="28"/>
      <dgm:spPr/>
    </dgm:pt>
    <dgm:pt modelId="{3912D361-63AB-4F26-982D-D3BDAB42F9E3}" type="pres">
      <dgm:prSet presAssocID="{1ECC388B-8232-4256-BED3-C7F7CC058BC2}" presName="Name31" presStyleLbl="parChTrans1D1" presStyleIdx="1" presStyleCnt="28"/>
      <dgm:spPr/>
    </dgm:pt>
    <dgm:pt modelId="{71A3EBD6-20E1-4760-81E7-C7E527A32D27}" type="pres">
      <dgm:prSet presAssocID="{FD6B28E6-35E2-4CB6-ABBB-DBBECE808BAD}" presName="txAndLines1" presStyleCnt="0"/>
      <dgm:spPr/>
    </dgm:pt>
    <dgm:pt modelId="{751F95A2-1B2F-454D-BE8B-8BCAB68FD45A}" type="pres">
      <dgm:prSet presAssocID="{FD6B28E6-35E2-4CB6-ABBB-DBBECE808BAD}" presName="anchor1" presStyleCnt="0"/>
      <dgm:spPr/>
    </dgm:pt>
    <dgm:pt modelId="{C395C025-1394-4C29-A781-B48F429667FF}" type="pres">
      <dgm:prSet presAssocID="{FD6B28E6-35E2-4CB6-ABBB-DBBECE808BAD}" presName="backup1" presStyleCnt="0"/>
      <dgm:spPr/>
    </dgm:pt>
    <dgm:pt modelId="{8D25E663-CB94-4B4E-B93E-8698F1D93126}" type="pres">
      <dgm:prSet presAssocID="{FD6B28E6-35E2-4CB6-ABBB-DBBECE808BAD}" presName="preLine1" presStyleLbl="parChTrans1D1" presStyleIdx="2" presStyleCnt="28"/>
      <dgm:spPr/>
    </dgm:pt>
    <dgm:pt modelId="{71B3F7F3-93C6-4167-A5BF-E9FB60AE8FD1}" type="pres">
      <dgm:prSet presAssocID="{FD6B28E6-35E2-4CB6-ABBB-DBBECE808BAD}" presName="desTx1" presStyleLbl="revTx" presStyleIdx="0" presStyleCnt="0">
        <dgm:presLayoutVars>
          <dgm:bulletEnabled val="1"/>
        </dgm:presLayoutVars>
      </dgm:prSet>
      <dgm:spPr/>
      <dgm:t>
        <a:bodyPr/>
        <a:lstStyle/>
        <a:p>
          <a:endParaRPr lang="zh-CN" altLang="en-US"/>
        </a:p>
      </dgm:t>
    </dgm:pt>
    <dgm:pt modelId="{32911B3C-36BB-4AC3-8A04-3AB024253A6F}" type="pres">
      <dgm:prSet presAssocID="{FD6B28E6-35E2-4CB6-ABBB-DBBECE808BAD}" presName="postLine1" presStyleLbl="parChTrans1D1" presStyleIdx="3" presStyleCnt="28"/>
      <dgm:spPr/>
    </dgm:pt>
    <dgm:pt modelId="{52B745AF-7A9C-4ABF-B8E8-1CC595B27570}" type="pres">
      <dgm:prSet presAssocID="{3D20152A-0A59-49EE-863F-CA0D3436C72C}" presName="Name11" presStyleLbl="parChTrans1D1" presStyleIdx="4" presStyleCnt="28"/>
      <dgm:spPr/>
    </dgm:pt>
    <dgm:pt modelId="{11E225ED-27F8-4AFA-A737-330D01A00810}" type="pres">
      <dgm:prSet presAssocID="{3D20152A-0A59-49EE-863F-CA0D3436C72C}" presName="Name31" presStyleLbl="parChTrans1D1" presStyleIdx="5" presStyleCnt="28"/>
      <dgm:spPr/>
    </dgm:pt>
    <dgm:pt modelId="{A81E7CC7-F341-4CEE-BFDB-D65895C1351E}" type="pres">
      <dgm:prSet presAssocID="{5D4B8E8E-88AF-47F2-9520-F069B741ADD5}" presName="txAndLines1" presStyleCnt="0"/>
      <dgm:spPr/>
    </dgm:pt>
    <dgm:pt modelId="{584FEF05-261E-42D7-8667-37BD796ECB9B}" type="pres">
      <dgm:prSet presAssocID="{5D4B8E8E-88AF-47F2-9520-F069B741ADD5}" presName="anchor1" presStyleCnt="0"/>
      <dgm:spPr/>
    </dgm:pt>
    <dgm:pt modelId="{E8F53684-21E8-4C92-B5EA-173D3C44001E}" type="pres">
      <dgm:prSet presAssocID="{5D4B8E8E-88AF-47F2-9520-F069B741ADD5}" presName="backup1" presStyleCnt="0"/>
      <dgm:spPr/>
    </dgm:pt>
    <dgm:pt modelId="{1EC79358-103E-4B66-9DB3-8D9C18507ADA}" type="pres">
      <dgm:prSet presAssocID="{5D4B8E8E-88AF-47F2-9520-F069B741ADD5}" presName="preLine1" presStyleLbl="parChTrans1D1" presStyleIdx="6" presStyleCnt="28"/>
      <dgm:spPr/>
    </dgm:pt>
    <dgm:pt modelId="{C9CFA99A-703D-4D23-A406-6290E06B7A2D}" type="pres">
      <dgm:prSet presAssocID="{5D4B8E8E-88AF-47F2-9520-F069B741ADD5}" presName="desTx1" presStyleLbl="revTx" presStyleIdx="0" presStyleCnt="0">
        <dgm:presLayoutVars>
          <dgm:bulletEnabled val="1"/>
        </dgm:presLayoutVars>
      </dgm:prSet>
      <dgm:spPr/>
      <dgm:t>
        <a:bodyPr/>
        <a:lstStyle/>
        <a:p>
          <a:endParaRPr lang="zh-CN" altLang="en-US"/>
        </a:p>
      </dgm:t>
    </dgm:pt>
    <dgm:pt modelId="{22ECAAB1-D636-4343-8592-9E6343CC928E}" type="pres">
      <dgm:prSet presAssocID="{5D4B8E8E-88AF-47F2-9520-F069B741ADD5}" presName="postLine1" presStyleLbl="parChTrans1D1" presStyleIdx="7" presStyleCnt="28"/>
      <dgm:spPr/>
    </dgm:pt>
    <dgm:pt modelId="{9235F194-10E3-4EDD-A72F-22EDC6837FD2}" type="pres">
      <dgm:prSet presAssocID="{E0AC68BC-C77D-447C-96EE-4054CD96C00F}" presName="Name11" presStyleLbl="parChTrans1D1" presStyleIdx="8" presStyleCnt="28"/>
      <dgm:spPr/>
    </dgm:pt>
    <dgm:pt modelId="{7AF36B42-FBF5-4E5D-9087-4E9DF149BC50}" type="pres">
      <dgm:prSet presAssocID="{E0AC68BC-C77D-447C-96EE-4054CD96C00F}" presName="Name31" presStyleLbl="parChTrans1D1" presStyleIdx="9" presStyleCnt="28"/>
      <dgm:spPr/>
    </dgm:pt>
    <dgm:pt modelId="{F2AC98FB-6E5D-47C3-BB50-1E972814D45E}" type="pres">
      <dgm:prSet presAssocID="{81909832-0683-44EA-B592-C58881A4BE9A}" presName="txAndLines1" presStyleCnt="0"/>
      <dgm:spPr/>
    </dgm:pt>
    <dgm:pt modelId="{8CE943CB-A7AA-47EB-B60D-05F290622F48}" type="pres">
      <dgm:prSet presAssocID="{81909832-0683-44EA-B592-C58881A4BE9A}" presName="anchor1" presStyleCnt="0"/>
      <dgm:spPr/>
    </dgm:pt>
    <dgm:pt modelId="{ACF016B6-FF9C-41B4-86C3-5E4342BD7C77}" type="pres">
      <dgm:prSet presAssocID="{81909832-0683-44EA-B592-C58881A4BE9A}" presName="backup1" presStyleCnt="0"/>
      <dgm:spPr/>
    </dgm:pt>
    <dgm:pt modelId="{5959F4EF-7469-4CC7-9A0E-88D98DFA551F}" type="pres">
      <dgm:prSet presAssocID="{81909832-0683-44EA-B592-C58881A4BE9A}" presName="preLine1" presStyleLbl="parChTrans1D1" presStyleIdx="10" presStyleCnt="28"/>
      <dgm:spPr/>
    </dgm:pt>
    <dgm:pt modelId="{A37E5239-E055-470F-BC9D-E7603463D172}" type="pres">
      <dgm:prSet presAssocID="{81909832-0683-44EA-B592-C58881A4BE9A}" presName="desTx1" presStyleLbl="revTx" presStyleIdx="0" presStyleCnt="0">
        <dgm:presLayoutVars>
          <dgm:bulletEnabled val="1"/>
        </dgm:presLayoutVars>
      </dgm:prSet>
      <dgm:spPr/>
      <dgm:t>
        <a:bodyPr/>
        <a:lstStyle/>
        <a:p>
          <a:endParaRPr lang="zh-CN" altLang="en-US"/>
        </a:p>
      </dgm:t>
    </dgm:pt>
    <dgm:pt modelId="{7A034AF3-DCB3-4A05-92FB-DB4231EC7023}" type="pres">
      <dgm:prSet presAssocID="{81909832-0683-44EA-B592-C58881A4BE9A}" presName="postLine1" presStyleLbl="parChTrans1D1" presStyleIdx="11" presStyleCnt="28"/>
      <dgm:spPr/>
    </dgm:pt>
    <dgm:pt modelId="{E699DF8C-51D7-435D-9FFB-3790713CD74A}" type="pres">
      <dgm:prSet presAssocID="{248C983E-55C6-4B9A-984E-50708E46A813}" presName="Name11" presStyleLbl="parChTrans1D1" presStyleIdx="12" presStyleCnt="28"/>
      <dgm:spPr/>
    </dgm:pt>
    <dgm:pt modelId="{A95E4FBA-238D-40CB-86E2-4D066E716A2B}" type="pres">
      <dgm:prSet presAssocID="{248C983E-55C6-4B9A-984E-50708E46A813}" presName="Name31" presStyleLbl="parChTrans1D1" presStyleIdx="13" presStyleCnt="28"/>
      <dgm:spPr/>
    </dgm:pt>
    <dgm:pt modelId="{828CCE07-64CF-4E90-B0D9-F7AAF0132E71}" type="pres">
      <dgm:prSet presAssocID="{1A62635A-6BCE-410B-B817-BC479392B671}" presName="txAndLines1" presStyleCnt="0"/>
      <dgm:spPr/>
    </dgm:pt>
    <dgm:pt modelId="{BAF7C890-DA85-4F9E-AAC8-6ED320915535}" type="pres">
      <dgm:prSet presAssocID="{1A62635A-6BCE-410B-B817-BC479392B671}" presName="anchor1" presStyleCnt="0"/>
      <dgm:spPr/>
    </dgm:pt>
    <dgm:pt modelId="{A1698E10-E7D8-4678-9215-E6A2925C4169}" type="pres">
      <dgm:prSet presAssocID="{1A62635A-6BCE-410B-B817-BC479392B671}" presName="backup1" presStyleCnt="0"/>
      <dgm:spPr/>
    </dgm:pt>
    <dgm:pt modelId="{AEAB4016-FA73-4F44-998E-6269DE831E9A}" type="pres">
      <dgm:prSet presAssocID="{1A62635A-6BCE-410B-B817-BC479392B671}" presName="preLine1" presStyleLbl="parChTrans1D1" presStyleIdx="14" presStyleCnt="28"/>
      <dgm:spPr/>
    </dgm:pt>
    <dgm:pt modelId="{F72E2656-AAE4-4875-8063-2CD4C0486320}" type="pres">
      <dgm:prSet presAssocID="{1A62635A-6BCE-410B-B817-BC479392B671}" presName="desTx1" presStyleLbl="revTx" presStyleIdx="0" presStyleCnt="0">
        <dgm:presLayoutVars>
          <dgm:bulletEnabled val="1"/>
        </dgm:presLayoutVars>
      </dgm:prSet>
      <dgm:spPr/>
      <dgm:t>
        <a:bodyPr/>
        <a:lstStyle/>
        <a:p>
          <a:endParaRPr lang="zh-CN" altLang="en-US"/>
        </a:p>
      </dgm:t>
    </dgm:pt>
    <dgm:pt modelId="{251E4520-C58A-462A-A7E4-73E36C569ECB}" type="pres">
      <dgm:prSet presAssocID="{1A62635A-6BCE-410B-B817-BC479392B671}" presName="postLine1" presStyleLbl="parChTrans1D1" presStyleIdx="15" presStyleCnt="28"/>
      <dgm:spPr/>
    </dgm:pt>
    <dgm:pt modelId="{16462E2A-A1D5-48F7-9E05-385AC02D1239}" type="pres">
      <dgm:prSet presAssocID="{BE36B730-B87A-4393-AC44-9FA7A454274F}" presName="Name11" presStyleLbl="parChTrans1D1" presStyleIdx="16" presStyleCnt="28"/>
      <dgm:spPr/>
    </dgm:pt>
    <dgm:pt modelId="{9E12F30E-C277-4BD7-A7A6-81D304429F5E}" type="pres">
      <dgm:prSet presAssocID="{BE36B730-B87A-4393-AC44-9FA7A454274F}" presName="Name31" presStyleLbl="parChTrans1D1" presStyleIdx="17" presStyleCnt="28"/>
      <dgm:spPr/>
    </dgm:pt>
    <dgm:pt modelId="{4D0D0339-82AB-4CC5-ABE4-CBEB21B0101E}" type="pres">
      <dgm:prSet presAssocID="{93717251-B41E-47E7-B955-308DACA8B2EB}" presName="txAndLines1" presStyleCnt="0"/>
      <dgm:spPr/>
    </dgm:pt>
    <dgm:pt modelId="{E33123E7-4765-48DA-BF18-D4EA7FE05BC9}" type="pres">
      <dgm:prSet presAssocID="{93717251-B41E-47E7-B955-308DACA8B2EB}" presName="anchor1" presStyleCnt="0"/>
      <dgm:spPr/>
    </dgm:pt>
    <dgm:pt modelId="{EB1FA51B-A7BF-45A1-A074-85FD14D79F9C}" type="pres">
      <dgm:prSet presAssocID="{93717251-B41E-47E7-B955-308DACA8B2EB}" presName="backup1" presStyleCnt="0"/>
      <dgm:spPr/>
    </dgm:pt>
    <dgm:pt modelId="{F392F1C6-2042-4C4C-B212-878ED92A1733}" type="pres">
      <dgm:prSet presAssocID="{93717251-B41E-47E7-B955-308DACA8B2EB}" presName="preLine1" presStyleLbl="parChTrans1D1" presStyleIdx="18" presStyleCnt="28"/>
      <dgm:spPr/>
    </dgm:pt>
    <dgm:pt modelId="{C67FDC73-3A5C-48D5-9C59-284B885DC44E}" type="pres">
      <dgm:prSet presAssocID="{93717251-B41E-47E7-B955-308DACA8B2EB}" presName="desTx1" presStyleLbl="revTx" presStyleIdx="0" presStyleCnt="0">
        <dgm:presLayoutVars>
          <dgm:bulletEnabled val="1"/>
        </dgm:presLayoutVars>
      </dgm:prSet>
      <dgm:spPr/>
      <dgm:t>
        <a:bodyPr/>
        <a:lstStyle/>
        <a:p>
          <a:endParaRPr lang="zh-CN" altLang="en-US"/>
        </a:p>
      </dgm:t>
    </dgm:pt>
    <dgm:pt modelId="{75D5DF05-7BDF-4945-94FE-09C9A5844435}" type="pres">
      <dgm:prSet presAssocID="{93717251-B41E-47E7-B955-308DACA8B2EB}" presName="postLine1" presStyleLbl="parChTrans1D1" presStyleIdx="19" presStyleCnt="28"/>
      <dgm:spPr/>
    </dgm:pt>
    <dgm:pt modelId="{6B489CD5-2D3E-4885-A14B-CA3E1ACDC1CB}" type="pres">
      <dgm:prSet presAssocID="{2CDF1D76-A118-4279-88AB-7A91ACB257AE}" presName="Name11" presStyleLbl="parChTrans1D1" presStyleIdx="20" presStyleCnt="28"/>
      <dgm:spPr/>
    </dgm:pt>
    <dgm:pt modelId="{E7E4829A-5D5A-477F-AD4A-D7E729526B69}" type="pres">
      <dgm:prSet presAssocID="{2CDF1D76-A118-4279-88AB-7A91ACB257AE}" presName="Name31" presStyleLbl="parChTrans1D1" presStyleIdx="21" presStyleCnt="28"/>
      <dgm:spPr/>
    </dgm:pt>
    <dgm:pt modelId="{2AAC7E47-189E-4EB5-9351-0315437C53FD}" type="pres">
      <dgm:prSet presAssocID="{8F51CD62-F543-482A-A1AE-A058D7F230AF}" presName="txAndLines1" presStyleCnt="0"/>
      <dgm:spPr/>
    </dgm:pt>
    <dgm:pt modelId="{DC1BD5E0-5F30-4C6C-B246-2F71532D1F27}" type="pres">
      <dgm:prSet presAssocID="{8F51CD62-F543-482A-A1AE-A058D7F230AF}" presName="anchor1" presStyleCnt="0"/>
      <dgm:spPr/>
    </dgm:pt>
    <dgm:pt modelId="{1C396748-53F3-4C2F-9FEC-77247DDFC084}" type="pres">
      <dgm:prSet presAssocID="{8F51CD62-F543-482A-A1AE-A058D7F230AF}" presName="backup1" presStyleCnt="0"/>
      <dgm:spPr/>
    </dgm:pt>
    <dgm:pt modelId="{B77AB807-1936-4F22-ADAE-859A9EA27680}" type="pres">
      <dgm:prSet presAssocID="{8F51CD62-F543-482A-A1AE-A058D7F230AF}" presName="preLine1" presStyleLbl="parChTrans1D1" presStyleIdx="22" presStyleCnt="28"/>
      <dgm:spPr/>
    </dgm:pt>
    <dgm:pt modelId="{74084A8C-A997-4800-85A6-75EED2AE142D}" type="pres">
      <dgm:prSet presAssocID="{8F51CD62-F543-482A-A1AE-A058D7F230AF}" presName="desTx1" presStyleLbl="revTx" presStyleIdx="0" presStyleCnt="0">
        <dgm:presLayoutVars>
          <dgm:bulletEnabled val="1"/>
        </dgm:presLayoutVars>
      </dgm:prSet>
      <dgm:spPr/>
      <dgm:t>
        <a:bodyPr/>
        <a:lstStyle/>
        <a:p>
          <a:endParaRPr lang="zh-CN" altLang="en-US"/>
        </a:p>
      </dgm:t>
    </dgm:pt>
    <dgm:pt modelId="{D7C3C5A7-E629-4B3A-B066-71FB4EE563BC}" type="pres">
      <dgm:prSet presAssocID="{8F51CD62-F543-482A-A1AE-A058D7F230AF}" presName="postLine1" presStyleLbl="parChTrans1D1" presStyleIdx="23" presStyleCnt="28"/>
      <dgm:spPr/>
    </dgm:pt>
    <dgm:pt modelId="{08F30B01-406C-4B9B-AF54-A11695E956F8}" type="pres">
      <dgm:prSet presAssocID="{A3381119-D824-431C-B4B3-CDBED352D67D}" presName="Name11" presStyleLbl="parChTrans1D1" presStyleIdx="24" presStyleCnt="28"/>
      <dgm:spPr/>
    </dgm:pt>
    <dgm:pt modelId="{D0136F3E-42BD-4AEC-BCA9-49A894C5A67F}" type="pres">
      <dgm:prSet presAssocID="{A3381119-D824-431C-B4B3-CDBED352D67D}" presName="Name31" presStyleLbl="parChTrans1D1" presStyleIdx="25" presStyleCnt="28"/>
      <dgm:spPr/>
    </dgm:pt>
    <dgm:pt modelId="{EB917930-1375-4442-B838-592997FF2D8A}" type="pres">
      <dgm:prSet presAssocID="{AB495CDA-82D0-4689-A6CF-1BF4C1AC5D64}" presName="txAndLines1" presStyleCnt="0"/>
      <dgm:spPr/>
    </dgm:pt>
    <dgm:pt modelId="{20EB7EC3-9079-4ED4-94DE-91AE3AB7DF18}" type="pres">
      <dgm:prSet presAssocID="{AB495CDA-82D0-4689-A6CF-1BF4C1AC5D64}" presName="anchor1" presStyleCnt="0"/>
      <dgm:spPr/>
    </dgm:pt>
    <dgm:pt modelId="{E4396C4E-C5CE-4A8B-A85D-EAD614D2CD1C}" type="pres">
      <dgm:prSet presAssocID="{AB495CDA-82D0-4689-A6CF-1BF4C1AC5D64}" presName="backup1" presStyleCnt="0"/>
      <dgm:spPr/>
    </dgm:pt>
    <dgm:pt modelId="{EAAE8533-334D-4106-98A8-0B2A46ED0A7B}" type="pres">
      <dgm:prSet presAssocID="{AB495CDA-82D0-4689-A6CF-1BF4C1AC5D64}" presName="preLine1" presStyleLbl="parChTrans1D1" presStyleIdx="26" presStyleCnt="28"/>
      <dgm:spPr/>
    </dgm:pt>
    <dgm:pt modelId="{01664C7C-7D92-4638-BEB7-8E31F7B7B6EE}" type="pres">
      <dgm:prSet presAssocID="{AB495CDA-82D0-4689-A6CF-1BF4C1AC5D64}" presName="desTx1" presStyleLbl="revTx" presStyleIdx="0" presStyleCnt="0">
        <dgm:presLayoutVars>
          <dgm:bulletEnabled val="1"/>
        </dgm:presLayoutVars>
      </dgm:prSet>
      <dgm:spPr/>
      <dgm:t>
        <a:bodyPr/>
        <a:lstStyle/>
        <a:p>
          <a:endParaRPr lang="zh-CN" altLang="en-US"/>
        </a:p>
      </dgm:t>
    </dgm:pt>
    <dgm:pt modelId="{3878EE78-E2E3-48CF-89C1-178FA72219FE}" type="pres">
      <dgm:prSet presAssocID="{AB495CDA-82D0-4689-A6CF-1BF4C1AC5D64}" presName="postLine1" presStyleLbl="parChTrans1D1" presStyleIdx="27" presStyleCnt="28"/>
      <dgm:spPr/>
    </dgm:pt>
    <dgm:pt modelId="{54DB97C3-91B1-4D1A-89C6-19FF6E874AA5}" type="pres">
      <dgm:prSet presAssocID="{9AA574CB-8BD6-4B60-9457-7F32A38BC259}" presName="spPost1" presStyleCnt="0"/>
      <dgm:spPr/>
    </dgm:pt>
    <dgm:pt modelId="{C068A876-EA0B-411A-A280-B7C0AE720FF8}" type="pres">
      <dgm:prSet presAssocID="{515E8D39-EE43-4CF9-AE44-EB5AD2DEDA4C}" presName="parTx2" presStyleLbl="node1" presStyleIdx="1" presStyleCnt="2"/>
      <dgm:spPr/>
      <dgm:t>
        <a:bodyPr/>
        <a:lstStyle/>
        <a:p>
          <a:endParaRPr lang="zh-CN" altLang="en-US"/>
        </a:p>
      </dgm:t>
    </dgm:pt>
  </dgm:ptLst>
  <dgm:cxnLst>
    <dgm:cxn modelId="{E50986CC-97A3-4347-942C-7D1B064DDCBD}" type="presOf" srcId="{5D4B8E8E-88AF-47F2-9520-F069B741ADD5}" destId="{C9CFA99A-703D-4D23-A406-6290E06B7A2D}" srcOrd="0" destOrd="0" presId="urn:microsoft.com/office/officeart/2009/3/layout/SubStepProcess"/>
    <dgm:cxn modelId="{10E88F43-22DC-4692-B2CF-C450F040C0EF}" type="presOf" srcId="{515E8D39-EE43-4CF9-AE44-EB5AD2DEDA4C}" destId="{C068A876-EA0B-411A-A280-B7C0AE720FF8}" srcOrd="0" destOrd="0" presId="urn:microsoft.com/office/officeart/2009/3/layout/SubStepProcess"/>
    <dgm:cxn modelId="{5A3D6A63-1F48-4222-A8B0-B7DBBE2268D5}" srcId="{9AA574CB-8BD6-4B60-9457-7F32A38BC259}" destId="{93717251-B41E-47E7-B955-308DACA8B2EB}" srcOrd="4" destOrd="0" parTransId="{BE36B730-B87A-4393-AC44-9FA7A454274F}" sibTransId="{633499E8-CFAC-4758-B0E2-7E843FC301FA}"/>
    <dgm:cxn modelId="{B508C67D-6604-4C8E-AE3D-0C24E02E2117}" srcId="{9AA574CB-8BD6-4B60-9457-7F32A38BC259}" destId="{FD6B28E6-35E2-4CB6-ABBB-DBBECE808BAD}" srcOrd="0" destOrd="0" parTransId="{1ECC388B-8232-4256-BED3-C7F7CC058BC2}" sibTransId="{661B617C-4515-4507-8984-0AE5D70709EF}"/>
    <dgm:cxn modelId="{97A3E720-A1EE-4E2B-8801-C71E4CE72ADB}" type="presOf" srcId="{9AA574CB-8BD6-4B60-9457-7F32A38BC259}" destId="{F2B8CC0C-4BAB-433E-9C0D-859B89A55943}" srcOrd="0" destOrd="0" presId="urn:microsoft.com/office/officeart/2009/3/layout/SubStepProcess"/>
    <dgm:cxn modelId="{ACFA82D9-7713-45FE-B90D-DB6F055B714A}" srcId="{9AA574CB-8BD6-4B60-9457-7F32A38BC259}" destId="{AB495CDA-82D0-4689-A6CF-1BF4C1AC5D64}" srcOrd="6" destOrd="0" parTransId="{A3381119-D824-431C-B4B3-CDBED352D67D}" sibTransId="{A27A5A73-2421-45C0-9943-372988BC3C33}"/>
    <dgm:cxn modelId="{A3639D38-BD0E-4E75-8C5A-FD32AEF97BB3}" srcId="{48441239-A9AC-4A17-B1D9-D544A2DF50FA}" destId="{9AA574CB-8BD6-4B60-9457-7F32A38BC259}" srcOrd="0" destOrd="0" parTransId="{3D6FB2E1-2607-406D-8CE4-3F72C4E2BA7C}" sibTransId="{4A652E1D-2EE7-4BC2-8CB9-E0474E09EDEF}"/>
    <dgm:cxn modelId="{CFE5E939-6D67-4F8B-AB9D-5CF3416056E9}" type="presOf" srcId="{8F51CD62-F543-482A-A1AE-A058D7F230AF}" destId="{74084A8C-A997-4800-85A6-75EED2AE142D}" srcOrd="0" destOrd="0" presId="urn:microsoft.com/office/officeart/2009/3/layout/SubStepProcess"/>
    <dgm:cxn modelId="{E524E41F-B077-4592-A960-0903CD19C7D9}" type="presOf" srcId="{AB495CDA-82D0-4689-A6CF-1BF4C1AC5D64}" destId="{01664C7C-7D92-4638-BEB7-8E31F7B7B6EE}" srcOrd="0" destOrd="0" presId="urn:microsoft.com/office/officeart/2009/3/layout/SubStepProcess"/>
    <dgm:cxn modelId="{443E03F3-CAA3-41D2-A296-0B36EF292472}" srcId="{9AA574CB-8BD6-4B60-9457-7F32A38BC259}" destId="{5D4B8E8E-88AF-47F2-9520-F069B741ADD5}" srcOrd="1" destOrd="0" parTransId="{3D20152A-0A59-49EE-863F-CA0D3436C72C}" sibTransId="{03405E28-6E9B-4875-9E71-397D27D398B7}"/>
    <dgm:cxn modelId="{A997ABAB-0FFA-4427-BDCE-C795FF2A8A8B}" type="presOf" srcId="{81909832-0683-44EA-B592-C58881A4BE9A}" destId="{A37E5239-E055-470F-BC9D-E7603463D172}" srcOrd="0" destOrd="0" presId="urn:microsoft.com/office/officeart/2009/3/layout/SubStepProcess"/>
    <dgm:cxn modelId="{F33D434E-2656-4B03-82E5-2CD1ED37F2D0}" type="presOf" srcId="{93717251-B41E-47E7-B955-308DACA8B2EB}" destId="{C67FDC73-3A5C-48D5-9C59-284B885DC44E}" srcOrd="0" destOrd="0" presId="urn:microsoft.com/office/officeart/2009/3/layout/SubStepProcess"/>
    <dgm:cxn modelId="{9B26BCAF-E3F2-464F-BD18-E0C142A31CE5}" srcId="{9AA574CB-8BD6-4B60-9457-7F32A38BC259}" destId="{81909832-0683-44EA-B592-C58881A4BE9A}" srcOrd="2" destOrd="0" parTransId="{E0AC68BC-C77D-447C-96EE-4054CD96C00F}" sibTransId="{D086BEC8-A668-4A80-A179-C099C008F654}"/>
    <dgm:cxn modelId="{596CF091-23B1-4E3A-8092-09C9DFA0955A}" type="presOf" srcId="{FD6B28E6-35E2-4CB6-ABBB-DBBECE808BAD}" destId="{71B3F7F3-93C6-4167-A5BF-E9FB60AE8FD1}" srcOrd="0" destOrd="0" presId="urn:microsoft.com/office/officeart/2009/3/layout/SubStepProcess"/>
    <dgm:cxn modelId="{334C89D5-BEDD-46D3-B4AC-31E78E5BE5F9}" srcId="{9AA574CB-8BD6-4B60-9457-7F32A38BC259}" destId="{8F51CD62-F543-482A-A1AE-A058D7F230AF}" srcOrd="5" destOrd="0" parTransId="{2CDF1D76-A118-4279-88AB-7A91ACB257AE}" sibTransId="{1960E17E-4414-41E6-84DE-D575DEE01A9A}"/>
    <dgm:cxn modelId="{756F2073-1336-4C20-9AB5-CE79DD264825}" type="presOf" srcId="{1A62635A-6BCE-410B-B817-BC479392B671}" destId="{F72E2656-AAE4-4875-8063-2CD4C0486320}" srcOrd="0" destOrd="0" presId="urn:microsoft.com/office/officeart/2009/3/layout/SubStepProcess"/>
    <dgm:cxn modelId="{322BF860-B2C1-4A76-A0F2-7BBCF8CB6CE3}" srcId="{48441239-A9AC-4A17-B1D9-D544A2DF50FA}" destId="{515E8D39-EE43-4CF9-AE44-EB5AD2DEDA4C}" srcOrd="1" destOrd="0" parTransId="{B2560591-043A-4862-B1B2-0DA05D591A3D}" sibTransId="{EB64C95B-1BEB-4C23-B9D6-E4B6F9AC0739}"/>
    <dgm:cxn modelId="{A7AA0533-1595-4077-A362-695C5D7DC753}" type="presOf" srcId="{48441239-A9AC-4A17-B1D9-D544A2DF50FA}" destId="{8EBA1B9F-4BD7-4330-AC05-DE4AABF676BB}" srcOrd="0" destOrd="0" presId="urn:microsoft.com/office/officeart/2009/3/layout/SubStepProcess"/>
    <dgm:cxn modelId="{67E007CD-DCC6-4EF5-8D39-BCF767FC41AB}" srcId="{9AA574CB-8BD6-4B60-9457-7F32A38BC259}" destId="{1A62635A-6BCE-410B-B817-BC479392B671}" srcOrd="3" destOrd="0" parTransId="{248C983E-55C6-4B9A-984E-50708E46A813}" sibTransId="{D2AC0556-99DD-45FC-AA8C-FC8C9511D41B}"/>
    <dgm:cxn modelId="{4508F953-5DCE-4B9F-A58A-F45B30AE4E1C}" type="presParOf" srcId="{8EBA1B9F-4BD7-4330-AC05-DE4AABF676BB}" destId="{F2B8CC0C-4BAB-433E-9C0D-859B89A55943}" srcOrd="0" destOrd="0" presId="urn:microsoft.com/office/officeart/2009/3/layout/SubStepProcess"/>
    <dgm:cxn modelId="{107B2C00-5EB2-42D7-A6FC-9A95C8D6C53E}" type="presParOf" srcId="{8EBA1B9F-4BD7-4330-AC05-DE4AABF676BB}" destId="{499F60E1-1548-4621-BDF2-D6765242C059}" srcOrd="1" destOrd="0" presId="urn:microsoft.com/office/officeart/2009/3/layout/SubStepProcess"/>
    <dgm:cxn modelId="{95EBC18A-3930-4B7A-89ED-D32FD1572AAB}" type="presParOf" srcId="{8EBA1B9F-4BD7-4330-AC05-DE4AABF676BB}" destId="{D5558784-69AE-47A6-8454-A7116A20F705}" srcOrd="2" destOrd="0" presId="urn:microsoft.com/office/officeart/2009/3/layout/SubStepProcess"/>
    <dgm:cxn modelId="{ED83D62C-F60F-43BC-BEE0-C0BAA9277DCA}" type="presParOf" srcId="{D5558784-69AE-47A6-8454-A7116A20F705}" destId="{AFA45A0C-EA29-4ABB-BF49-5831EBCC5B7D}" srcOrd="0" destOrd="0" presId="urn:microsoft.com/office/officeart/2009/3/layout/SubStepProcess"/>
    <dgm:cxn modelId="{09E9A626-8767-4C89-BBEC-1199FFDC0F8E}" type="presParOf" srcId="{D5558784-69AE-47A6-8454-A7116A20F705}" destId="{3912D361-63AB-4F26-982D-D3BDAB42F9E3}" srcOrd="1" destOrd="0" presId="urn:microsoft.com/office/officeart/2009/3/layout/SubStepProcess"/>
    <dgm:cxn modelId="{B25F8AD4-8099-4F81-B362-91726380522B}" type="presParOf" srcId="{D5558784-69AE-47A6-8454-A7116A20F705}" destId="{71A3EBD6-20E1-4760-81E7-C7E527A32D27}" srcOrd="2" destOrd="0" presId="urn:microsoft.com/office/officeart/2009/3/layout/SubStepProcess"/>
    <dgm:cxn modelId="{DD0FF5DA-37EE-4A8C-A72E-3B811AF965FA}" type="presParOf" srcId="{71A3EBD6-20E1-4760-81E7-C7E527A32D27}" destId="{751F95A2-1B2F-454D-BE8B-8BCAB68FD45A}" srcOrd="0" destOrd="0" presId="urn:microsoft.com/office/officeart/2009/3/layout/SubStepProcess"/>
    <dgm:cxn modelId="{8795D9DC-880D-4624-A97A-BB574D1D6983}" type="presParOf" srcId="{71A3EBD6-20E1-4760-81E7-C7E527A32D27}" destId="{C395C025-1394-4C29-A781-B48F429667FF}" srcOrd="1" destOrd="0" presId="urn:microsoft.com/office/officeart/2009/3/layout/SubStepProcess"/>
    <dgm:cxn modelId="{29B575E2-BC84-45C8-B2AB-589E45BE434A}" type="presParOf" srcId="{71A3EBD6-20E1-4760-81E7-C7E527A32D27}" destId="{8D25E663-CB94-4B4E-B93E-8698F1D93126}" srcOrd="2" destOrd="0" presId="urn:microsoft.com/office/officeart/2009/3/layout/SubStepProcess"/>
    <dgm:cxn modelId="{748CEEBF-4951-4432-8841-CF42B10550D2}" type="presParOf" srcId="{71A3EBD6-20E1-4760-81E7-C7E527A32D27}" destId="{71B3F7F3-93C6-4167-A5BF-E9FB60AE8FD1}" srcOrd="3" destOrd="0" presId="urn:microsoft.com/office/officeart/2009/3/layout/SubStepProcess"/>
    <dgm:cxn modelId="{7BECFE92-3C2D-4265-856E-C27D58326156}" type="presParOf" srcId="{71A3EBD6-20E1-4760-81E7-C7E527A32D27}" destId="{32911B3C-36BB-4AC3-8A04-3AB024253A6F}" srcOrd="4" destOrd="0" presId="urn:microsoft.com/office/officeart/2009/3/layout/SubStepProcess"/>
    <dgm:cxn modelId="{F20FE9BF-6AE9-4DB1-B68D-1AC691600467}" type="presParOf" srcId="{D5558784-69AE-47A6-8454-A7116A20F705}" destId="{52B745AF-7A9C-4ABF-B8E8-1CC595B27570}" srcOrd="3" destOrd="0" presId="urn:microsoft.com/office/officeart/2009/3/layout/SubStepProcess"/>
    <dgm:cxn modelId="{3712F7F9-0EE3-4D37-BD50-55C34B559C19}" type="presParOf" srcId="{D5558784-69AE-47A6-8454-A7116A20F705}" destId="{11E225ED-27F8-4AFA-A737-330D01A00810}" srcOrd="4" destOrd="0" presId="urn:microsoft.com/office/officeart/2009/3/layout/SubStepProcess"/>
    <dgm:cxn modelId="{22BCC472-A63B-49D5-AFD3-D0E58C7723DB}" type="presParOf" srcId="{D5558784-69AE-47A6-8454-A7116A20F705}" destId="{A81E7CC7-F341-4CEE-BFDB-D65895C1351E}" srcOrd="5" destOrd="0" presId="urn:microsoft.com/office/officeart/2009/3/layout/SubStepProcess"/>
    <dgm:cxn modelId="{97E99558-4AF6-457E-90F5-CB9B2C025548}" type="presParOf" srcId="{A81E7CC7-F341-4CEE-BFDB-D65895C1351E}" destId="{584FEF05-261E-42D7-8667-37BD796ECB9B}" srcOrd="0" destOrd="0" presId="urn:microsoft.com/office/officeart/2009/3/layout/SubStepProcess"/>
    <dgm:cxn modelId="{5D79A7F3-484A-46EC-B76C-F55E587ACCFF}" type="presParOf" srcId="{A81E7CC7-F341-4CEE-BFDB-D65895C1351E}" destId="{E8F53684-21E8-4C92-B5EA-173D3C44001E}" srcOrd="1" destOrd="0" presId="urn:microsoft.com/office/officeart/2009/3/layout/SubStepProcess"/>
    <dgm:cxn modelId="{10D40EDF-8F6D-40CC-AF07-7AE0D0D6DA67}" type="presParOf" srcId="{A81E7CC7-F341-4CEE-BFDB-D65895C1351E}" destId="{1EC79358-103E-4B66-9DB3-8D9C18507ADA}" srcOrd="2" destOrd="0" presId="urn:microsoft.com/office/officeart/2009/3/layout/SubStepProcess"/>
    <dgm:cxn modelId="{8A4D8DE6-528E-4E11-B3BB-9D26F3E129E6}" type="presParOf" srcId="{A81E7CC7-F341-4CEE-BFDB-D65895C1351E}" destId="{C9CFA99A-703D-4D23-A406-6290E06B7A2D}" srcOrd="3" destOrd="0" presId="urn:microsoft.com/office/officeart/2009/3/layout/SubStepProcess"/>
    <dgm:cxn modelId="{0E5EA6D0-C754-4DA7-929F-6ED9BBD97CB1}" type="presParOf" srcId="{A81E7CC7-F341-4CEE-BFDB-D65895C1351E}" destId="{22ECAAB1-D636-4343-8592-9E6343CC928E}" srcOrd="4" destOrd="0" presId="urn:microsoft.com/office/officeart/2009/3/layout/SubStepProcess"/>
    <dgm:cxn modelId="{0B4077BF-9B71-4FA4-A976-081F86275F86}" type="presParOf" srcId="{D5558784-69AE-47A6-8454-A7116A20F705}" destId="{9235F194-10E3-4EDD-A72F-22EDC6837FD2}" srcOrd="6" destOrd="0" presId="urn:microsoft.com/office/officeart/2009/3/layout/SubStepProcess"/>
    <dgm:cxn modelId="{5C997F55-9F2A-43F6-9D32-06839FC11208}" type="presParOf" srcId="{D5558784-69AE-47A6-8454-A7116A20F705}" destId="{7AF36B42-FBF5-4E5D-9087-4E9DF149BC50}" srcOrd="7" destOrd="0" presId="urn:microsoft.com/office/officeart/2009/3/layout/SubStepProcess"/>
    <dgm:cxn modelId="{2D400A64-063C-4149-8C56-B852C52D6DBE}" type="presParOf" srcId="{D5558784-69AE-47A6-8454-A7116A20F705}" destId="{F2AC98FB-6E5D-47C3-BB50-1E972814D45E}" srcOrd="8" destOrd="0" presId="urn:microsoft.com/office/officeart/2009/3/layout/SubStepProcess"/>
    <dgm:cxn modelId="{6FA74FA9-0476-4E85-8601-F244B7B5F7A2}" type="presParOf" srcId="{F2AC98FB-6E5D-47C3-BB50-1E972814D45E}" destId="{8CE943CB-A7AA-47EB-B60D-05F290622F48}" srcOrd="0" destOrd="0" presId="urn:microsoft.com/office/officeart/2009/3/layout/SubStepProcess"/>
    <dgm:cxn modelId="{43CFFC14-CCFB-4B9E-838B-A56F36E107C7}" type="presParOf" srcId="{F2AC98FB-6E5D-47C3-BB50-1E972814D45E}" destId="{ACF016B6-FF9C-41B4-86C3-5E4342BD7C77}" srcOrd="1" destOrd="0" presId="urn:microsoft.com/office/officeart/2009/3/layout/SubStepProcess"/>
    <dgm:cxn modelId="{BFDAC9F1-3747-4571-87D5-7166BD010F62}" type="presParOf" srcId="{F2AC98FB-6E5D-47C3-BB50-1E972814D45E}" destId="{5959F4EF-7469-4CC7-9A0E-88D98DFA551F}" srcOrd="2" destOrd="0" presId="urn:microsoft.com/office/officeart/2009/3/layout/SubStepProcess"/>
    <dgm:cxn modelId="{B61CD418-9F4C-40DD-97EF-CAFAECEB666B}" type="presParOf" srcId="{F2AC98FB-6E5D-47C3-BB50-1E972814D45E}" destId="{A37E5239-E055-470F-BC9D-E7603463D172}" srcOrd="3" destOrd="0" presId="urn:microsoft.com/office/officeart/2009/3/layout/SubStepProcess"/>
    <dgm:cxn modelId="{A7B6AFE8-EB8B-4CF7-B600-B48E9A90BD10}" type="presParOf" srcId="{F2AC98FB-6E5D-47C3-BB50-1E972814D45E}" destId="{7A034AF3-DCB3-4A05-92FB-DB4231EC7023}" srcOrd="4" destOrd="0" presId="urn:microsoft.com/office/officeart/2009/3/layout/SubStepProcess"/>
    <dgm:cxn modelId="{8E90647A-CC9B-4B78-B51F-BF2D02550BB2}" type="presParOf" srcId="{D5558784-69AE-47A6-8454-A7116A20F705}" destId="{E699DF8C-51D7-435D-9FFB-3790713CD74A}" srcOrd="9" destOrd="0" presId="urn:microsoft.com/office/officeart/2009/3/layout/SubStepProcess"/>
    <dgm:cxn modelId="{A0B1C105-901F-413C-ABB1-4B9F85D53CAC}" type="presParOf" srcId="{D5558784-69AE-47A6-8454-A7116A20F705}" destId="{A95E4FBA-238D-40CB-86E2-4D066E716A2B}" srcOrd="10" destOrd="0" presId="urn:microsoft.com/office/officeart/2009/3/layout/SubStepProcess"/>
    <dgm:cxn modelId="{63F024B4-DC1B-4A76-8B33-53EE92558E32}" type="presParOf" srcId="{D5558784-69AE-47A6-8454-A7116A20F705}" destId="{828CCE07-64CF-4E90-B0D9-F7AAF0132E71}" srcOrd="11" destOrd="0" presId="urn:microsoft.com/office/officeart/2009/3/layout/SubStepProcess"/>
    <dgm:cxn modelId="{40DAADF9-B9E1-4F73-A19B-168038B71A04}" type="presParOf" srcId="{828CCE07-64CF-4E90-B0D9-F7AAF0132E71}" destId="{BAF7C890-DA85-4F9E-AAC8-6ED320915535}" srcOrd="0" destOrd="0" presId="urn:microsoft.com/office/officeart/2009/3/layout/SubStepProcess"/>
    <dgm:cxn modelId="{4B448EAA-1BDF-48B3-8DAF-82D893E7DD54}" type="presParOf" srcId="{828CCE07-64CF-4E90-B0D9-F7AAF0132E71}" destId="{A1698E10-E7D8-4678-9215-E6A2925C4169}" srcOrd="1" destOrd="0" presId="urn:microsoft.com/office/officeart/2009/3/layout/SubStepProcess"/>
    <dgm:cxn modelId="{6B01348F-5680-43F9-A661-24251F7F8BCF}" type="presParOf" srcId="{828CCE07-64CF-4E90-B0D9-F7AAF0132E71}" destId="{AEAB4016-FA73-4F44-998E-6269DE831E9A}" srcOrd="2" destOrd="0" presId="urn:microsoft.com/office/officeart/2009/3/layout/SubStepProcess"/>
    <dgm:cxn modelId="{DFFC540C-C5CA-45B0-A132-EB54BDF66A8D}" type="presParOf" srcId="{828CCE07-64CF-4E90-B0D9-F7AAF0132E71}" destId="{F72E2656-AAE4-4875-8063-2CD4C0486320}" srcOrd="3" destOrd="0" presId="urn:microsoft.com/office/officeart/2009/3/layout/SubStepProcess"/>
    <dgm:cxn modelId="{FDD81DB7-8BFA-4CE3-8B6E-B77383BD9BBD}" type="presParOf" srcId="{828CCE07-64CF-4E90-B0D9-F7AAF0132E71}" destId="{251E4520-C58A-462A-A7E4-73E36C569ECB}" srcOrd="4" destOrd="0" presId="urn:microsoft.com/office/officeart/2009/3/layout/SubStepProcess"/>
    <dgm:cxn modelId="{68E5BDB0-05CF-436C-8D0C-69AFF2B9B6D5}" type="presParOf" srcId="{D5558784-69AE-47A6-8454-A7116A20F705}" destId="{16462E2A-A1D5-48F7-9E05-385AC02D1239}" srcOrd="12" destOrd="0" presId="urn:microsoft.com/office/officeart/2009/3/layout/SubStepProcess"/>
    <dgm:cxn modelId="{002D8B9E-3B8A-4984-B6BA-9BC14BADE7EB}" type="presParOf" srcId="{D5558784-69AE-47A6-8454-A7116A20F705}" destId="{9E12F30E-C277-4BD7-A7A6-81D304429F5E}" srcOrd="13" destOrd="0" presId="urn:microsoft.com/office/officeart/2009/3/layout/SubStepProcess"/>
    <dgm:cxn modelId="{7394A351-E371-44D6-AC25-6937BDC1AA6A}" type="presParOf" srcId="{D5558784-69AE-47A6-8454-A7116A20F705}" destId="{4D0D0339-82AB-4CC5-ABE4-CBEB21B0101E}" srcOrd="14" destOrd="0" presId="urn:microsoft.com/office/officeart/2009/3/layout/SubStepProcess"/>
    <dgm:cxn modelId="{689ACDE3-552E-49BE-80AA-7FD200421B80}" type="presParOf" srcId="{4D0D0339-82AB-4CC5-ABE4-CBEB21B0101E}" destId="{E33123E7-4765-48DA-BF18-D4EA7FE05BC9}" srcOrd="0" destOrd="0" presId="urn:microsoft.com/office/officeart/2009/3/layout/SubStepProcess"/>
    <dgm:cxn modelId="{F95103E8-9894-4258-8C11-BD2FFD1606CB}" type="presParOf" srcId="{4D0D0339-82AB-4CC5-ABE4-CBEB21B0101E}" destId="{EB1FA51B-A7BF-45A1-A074-85FD14D79F9C}" srcOrd="1" destOrd="0" presId="urn:microsoft.com/office/officeart/2009/3/layout/SubStepProcess"/>
    <dgm:cxn modelId="{7DD6414A-181F-4ACD-ADFF-B67F795F5A9E}" type="presParOf" srcId="{4D0D0339-82AB-4CC5-ABE4-CBEB21B0101E}" destId="{F392F1C6-2042-4C4C-B212-878ED92A1733}" srcOrd="2" destOrd="0" presId="urn:microsoft.com/office/officeart/2009/3/layout/SubStepProcess"/>
    <dgm:cxn modelId="{451B00D0-5FBB-47CD-BAC5-386DD9CBA97C}" type="presParOf" srcId="{4D0D0339-82AB-4CC5-ABE4-CBEB21B0101E}" destId="{C67FDC73-3A5C-48D5-9C59-284B885DC44E}" srcOrd="3" destOrd="0" presId="urn:microsoft.com/office/officeart/2009/3/layout/SubStepProcess"/>
    <dgm:cxn modelId="{9391E41E-1317-44CD-9D36-06C6E709B753}" type="presParOf" srcId="{4D0D0339-82AB-4CC5-ABE4-CBEB21B0101E}" destId="{75D5DF05-7BDF-4945-94FE-09C9A5844435}" srcOrd="4" destOrd="0" presId="urn:microsoft.com/office/officeart/2009/3/layout/SubStepProcess"/>
    <dgm:cxn modelId="{1DA9BDD7-8C40-478C-B493-C3A111E186BA}" type="presParOf" srcId="{D5558784-69AE-47A6-8454-A7116A20F705}" destId="{6B489CD5-2D3E-4885-A14B-CA3E1ACDC1CB}" srcOrd="15" destOrd="0" presId="urn:microsoft.com/office/officeart/2009/3/layout/SubStepProcess"/>
    <dgm:cxn modelId="{883072C2-AC27-4326-8317-25CD379630A7}" type="presParOf" srcId="{D5558784-69AE-47A6-8454-A7116A20F705}" destId="{E7E4829A-5D5A-477F-AD4A-D7E729526B69}" srcOrd="16" destOrd="0" presId="urn:microsoft.com/office/officeart/2009/3/layout/SubStepProcess"/>
    <dgm:cxn modelId="{C38C189E-FF6C-4998-A7F5-7E08FA426C49}" type="presParOf" srcId="{D5558784-69AE-47A6-8454-A7116A20F705}" destId="{2AAC7E47-189E-4EB5-9351-0315437C53FD}" srcOrd="17" destOrd="0" presId="urn:microsoft.com/office/officeart/2009/3/layout/SubStepProcess"/>
    <dgm:cxn modelId="{9094D6BE-E6B6-4F6F-B7EE-6C80DAD35E2B}" type="presParOf" srcId="{2AAC7E47-189E-4EB5-9351-0315437C53FD}" destId="{DC1BD5E0-5F30-4C6C-B246-2F71532D1F27}" srcOrd="0" destOrd="0" presId="urn:microsoft.com/office/officeart/2009/3/layout/SubStepProcess"/>
    <dgm:cxn modelId="{CA89B208-AD5B-4E2D-802A-D6010B34F3E5}" type="presParOf" srcId="{2AAC7E47-189E-4EB5-9351-0315437C53FD}" destId="{1C396748-53F3-4C2F-9FEC-77247DDFC084}" srcOrd="1" destOrd="0" presId="urn:microsoft.com/office/officeart/2009/3/layout/SubStepProcess"/>
    <dgm:cxn modelId="{90F0FB2F-CA22-4BC6-AEE1-20AF7EA1839F}" type="presParOf" srcId="{2AAC7E47-189E-4EB5-9351-0315437C53FD}" destId="{B77AB807-1936-4F22-ADAE-859A9EA27680}" srcOrd="2" destOrd="0" presId="urn:microsoft.com/office/officeart/2009/3/layout/SubStepProcess"/>
    <dgm:cxn modelId="{8FA71895-D3A3-413D-9BB9-B890DE5A8BF0}" type="presParOf" srcId="{2AAC7E47-189E-4EB5-9351-0315437C53FD}" destId="{74084A8C-A997-4800-85A6-75EED2AE142D}" srcOrd="3" destOrd="0" presId="urn:microsoft.com/office/officeart/2009/3/layout/SubStepProcess"/>
    <dgm:cxn modelId="{CF183AC2-3A69-4046-8482-DF852529A24B}" type="presParOf" srcId="{2AAC7E47-189E-4EB5-9351-0315437C53FD}" destId="{D7C3C5A7-E629-4B3A-B066-71FB4EE563BC}" srcOrd="4" destOrd="0" presId="urn:microsoft.com/office/officeart/2009/3/layout/SubStepProcess"/>
    <dgm:cxn modelId="{9B57661A-C55F-469B-A130-3CC37507F80C}" type="presParOf" srcId="{D5558784-69AE-47A6-8454-A7116A20F705}" destId="{08F30B01-406C-4B9B-AF54-A11695E956F8}" srcOrd="18" destOrd="0" presId="urn:microsoft.com/office/officeart/2009/3/layout/SubStepProcess"/>
    <dgm:cxn modelId="{2F7C4023-D15F-4544-B0BD-36A3899CE3F0}" type="presParOf" srcId="{D5558784-69AE-47A6-8454-A7116A20F705}" destId="{D0136F3E-42BD-4AEC-BCA9-49A894C5A67F}" srcOrd="19" destOrd="0" presId="urn:microsoft.com/office/officeart/2009/3/layout/SubStepProcess"/>
    <dgm:cxn modelId="{7C4DC9DA-E090-431B-82FF-F49AF827CD75}" type="presParOf" srcId="{D5558784-69AE-47A6-8454-A7116A20F705}" destId="{EB917930-1375-4442-B838-592997FF2D8A}" srcOrd="20" destOrd="0" presId="urn:microsoft.com/office/officeart/2009/3/layout/SubStepProcess"/>
    <dgm:cxn modelId="{50B233A2-57E3-4D7F-B7A0-2EA23540FBCC}" type="presParOf" srcId="{EB917930-1375-4442-B838-592997FF2D8A}" destId="{20EB7EC3-9079-4ED4-94DE-91AE3AB7DF18}" srcOrd="0" destOrd="0" presId="urn:microsoft.com/office/officeart/2009/3/layout/SubStepProcess"/>
    <dgm:cxn modelId="{53705AA2-4234-4A70-9EB6-5C6FCC8E1C1A}" type="presParOf" srcId="{EB917930-1375-4442-B838-592997FF2D8A}" destId="{E4396C4E-C5CE-4A8B-A85D-EAD614D2CD1C}" srcOrd="1" destOrd="0" presId="urn:microsoft.com/office/officeart/2009/3/layout/SubStepProcess"/>
    <dgm:cxn modelId="{2B6C97F7-EDB5-4405-99F9-8874A452B74A}" type="presParOf" srcId="{EB917930-1375-4442-B838-592997FF2D8A}" destId="{EAAE8533-334D-4106-98A8-0B2A46ED0A7B}" srcOrd="2" destOrd="0" presId="urn:microsoft.com/office/officeart/2009/3/layout/SubStepProcess"/>
    <dgm:cxn modelId="{FE85E896-29F5-4C8D-8636-E1B2DF6C9576}" type="presParOf" srcId="{EB917930-1375-4442-B838-592997FF2D8A}" destId="{01664C7C-7D92-4638-BEB7-8E31F7B7B6EE}" srcOrd="3" destOrd="0" presId="urn:microsoft.com/office/officeart/2009/3/layout/SubStepProcess"/>
    <dgm:cxn modelId="{F2518A79-F842-4490-8F33-FC7AEE72BC8C}" type="presParOf" srcId="{EB917930-1375-4442-B838-592997FF2D8A}" destId="{3878EE78-E2E3-48CF-89C1-178FA72219FE}" srcOrd="4" destOrd="0" presId="urn:microsoft.com/office/officeart/2009/3/layout/SubStepProcess"/>
    <dgm:cxn modelId="{7D50DF82-F206-493E-933D-6A84F076BEC6}" type="presParOf" srcId="{8EBA1B9F-4BD7-4330-AC05-DE4AABF676BB}" destId="{54DB97C3-91B1-4D1A-89C6-19FF6E874AA5}" srcOrd="3" destOrd="0" presId="urn:microsoft.com/office/officeart/2009/3/layout/SubStepProcess"/>
    <dgm:cxn modelId="{17A58C82-0251-423F-8BB4-A78707B7BE44}" type="presParOf" srcId="{8EBA1B9F-4BD7-4330-AC05-DE4AABF676BB}" destId="{C068A876-EA0B-411A-A280-B7C0AE720FF8}" srcOrd="4"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8441239-A9AC-4A17-B1D9-D544A2DF50FA}" type="doc">
      <dgm:prSet loTypeId="urn:microsoft.com/office/officeart/2009/3/layout/SubStepProcess" loCatId="process" qsTypeId="urn:microsoft.com/office/officeart/2005/8/quickstyle/simple1" qsCatId="simple" csTypeId="urn:microsoft.com/office/officeart/2005/8/colors/accent1_2" csCatId="accent1" phldr="1"/>
      <dgm:spPr/>
    </dgm:pt>
    <dgm:pt modelId="{9AA574CB-8BD6-4B60-9457-7F32A38BC259}">
      <dgm:prSet phldrT="[文本]" custT="1"/>
      <dgm:spPr/>
      <dgm:t>
        <a:bodyPr/>
        <a:lstStyle/>
        <a:p>
          <a:r>
            <a:rPr lang="zh-CN" altLang="en-US" sz="3000" dirty="0" smtClean="0">
              <a:solidFill>
                <a:schemeClr val="tx1"/>
              </a:solidFill>
            </a:rPr>
            <a:t>后渗透攻击阶段</a:t>
          </a:r>
          <a:endParaRPr lang="zh-CN" altLang="en-US" sz="3000" dirty="0">
            <a:solidFill>
              <a:schemeClr val="tx1"/>
            </a:solidFill>
          </a:endParaRPr>
        </a:p>
      </dgm:t>
    </dgm:pt>
    <dgm:pt modelId="{3D6FB2E1-2607-406D-8CE4-3F72C4E2BA7C}" type="parTrans" cxnId="{A3639D38-BD0E-4E75-8C5A-FD32AEF97BB3}">
      <dgm:prSet/>
      <dgm:spPr/>
      <dgm:t>
        <a:bodyPr/>
        <a:lstStyle/>
        <a:p>
          <a:endParaRPr lang="zh-CN" altLang="en-US">
            <a:solidFill>
              <a:schemeClr val="tx1"/>
            </a:solidFill>
          </a:endParaRPr>
        </a:p>
      </dgm:t>
    </dgm:pt>
    <dgm:pt modelId="{4A652E1D-2EE7-4BC2-8CB9-E0474E09EDEF}" type="sibTrans" cxnId="{A3639D38-BD0E-4E75-8C5A-FD32AEF97BB3}">
      <dgm:prSet/>
      <dgm:spPr/>
      <dgm:t>
        <a:bodyPr/>
        <a:lstStyle/>
        <a:p>
          <a:endParaRPr lang="zh-CN" altLang="en-US">
            <a:solidFill>
              <a:schemeClr val="tx1"/>
            </a:solidFill>
          </a:endParaRPr>
        </a:p>
      </dgm:t>
    </dgm:pt>
    <dgm:pt modelId="{515E8D39-EE43-4CF9-AE44-EB5AD2DEDA4C}">
      <dgm:prSet phldrT="[文本]" custT="1"/>
      <dgm:spPr/>
      <dgm:t>
        <a:bodyPr/>
        <a:lstStyle/>
        <a:p>
          <a:r>
            <a:rPr lang="zh-CN" altLang="en-US" sz="3000" dirty="0" smtClean="0">
              <a:solidFill>
                <a:schemeClr val="tx1"/>
              </a:solidFill>
            </a:rPr>
            <a:t>深入</a:t>
          </a:r>
          <a:endParaRPr lang="en-US" altLang="zh-CN" sz="3000" dirty="0" smtClean="0">
            <a:solidFill>
              <a:schemeClr val="tx1"/>
            </a:solidFill>
          </a:endParaRPr>
        </a:p>
        <a:p>
          <a:r>
            <a:rPr lang="zh-CN" altLang="en-US" sz="3000" dirty="0" smtClean="0">
              <a:solidFill>
                <a:schemeClr val="tx1"/>
              </a:solidFill>
            </a:rPr>
            <a:t>业务</a:t>
          </a:r>
          <a:endParaRPr lang="zh-CN" altLang="en-US" sz="3000" dirty="0">
            <a:solidFill>
              <a:schemeClr val="tx1"/>
            </a:solidFill>
          </a:endParaRPr>
        </a:p>
      </dgm:t>
    </dgm:pt>
    <dgm:pt modelId="{B2560591-043A-4862-B1B2-0DA05D591A3D}" type="parTrans" cxnId="{322BF860-B2C1-4A76-A0F2-7BBCF8CB6CE3}">
      <dgm:prSet/>
      <dgm:spPr/>
      <dgm:t>
        <a:bodyPr/>
        <a:lstStyle/>
        <a:p>
          <a:endParaRPr lang="zh-CN" altLang="en-US">
            <a:solidFill>
              <a:schemeClr val="tx1"/>
            </a:solidFill>
          </a:endParaRPr>
        </a:p>
      </dgm:t>
    </dgm:pt>
    <dgm:pt modelId="{EB64C95B-1BEB-4C23-B9D6-E4B6F9AC0739}" type="sibTrans" cxnId="{322BF860-B2C1-4A76-A0F2-7BBCF8CB6CE3}">
      <dgm:prSet/>
      <dgm:spPr/>
      <dgm:t>
        <a:bodyPr/>
        <a:lstStyle/>
        <a:p>
          <a:endParaRPr lang="zh-CN" altLang="en-US">
            <a:solidFill>
              <a:schemeClr val="tx1"/>
            </a:solidFill>
          </a:endParaRPr>
        </a:p>
      </dgm:t>
    </dgm:pt>
    <dgm:pt modelId="{AB495CDA-82D0-4689-A6CF-1BF4C1AC5D64}">
      <dgm:prSet phldrT="[文本]"/>
      <dgm:spPr/>
      <dgm:t>
        <a:bodyPr/>
        <a:lstStyle/>
        <a:p>
          <a:r>
            <a:rPr lang="zh-CN" altLang="en-US" dirty="0" smtClean="0">
              <a:solidFill>
                <a:schemeClr val="tx1"/>
              </a:solidFill>
            </a:rPr>
            <a:t>基础设施分析</a:t>
          </a:r>
          <a:endParaRPr lang="zh-CN" altLang="en-US" dirty="0">
            <a:solidFill>
              <a:schemeClr val="tx1"/>
            </a:solidFill>
          </a:endParaRPr>
        </a:p>
      </dgm:t>
    </dgm:pt>
    <dgm:pt modelId="{A3381119-D824-431C-B4B3-CDBED352D67D}" type="parTrans" cxnId="{ACFA82D9-7713-45FE-B90D-DB6F055B714A}">
      <dgm:prSet/>
      <dgm:spPr/>
      <dgm:t>
        <a:bodyPr/>
        <a:lstStyle/>
        <a:p>
          <a:endParaRPr lang="zh-CN" altLang="en-US">
            <a:solidFill>
              <a:schemeClr val="tx1"/>
            </a:solidFill>
          </a:endParaRPr>
        </a:p>
      </dgm:t>
    </dgm:pt>
    <dgm:pt modelId="{A27A5A73-2421-45C0-9943-372988BC3C33}" type="sibTrans" cxnId="{ACFA82D9-7713-45FE-B90D-DB6F055B714A}">
      <dgm:prSet/>
      <dgm:spPr/>
      <dgm:t>
        <a:bodyPr/>
        <a:lstStyle/>
        <a:p>
          <a:endParaRPr lang="zh-CN" altLang="en-US">
            <a:solidFill>
              <a:schemeClr val="tx1"/>
            </a:solidFill>
          </a:endParaRPr>
        </a:p>
      </dgm:t>
    </dgm:pt>
    <dgm:pt modelId="{64B6FB21-A0CA-4D96-920A-F01D37A75B95}">
      <dgm:prSet phldrT="[文本]"/>
      <dgm:spPr/>
      <dgm:t>
        <a:bodyPr/>
        <a:lstStyle/>
        <a:p>
          <a:r>
            <a:rPr lang="zh-CN" altLang="en-US" dirty="0" smtClean="0">
              <a:solidFill>
                <a:schemeClr val="tx1"/>
              </a:solidFill>
            </a:rPr>
            <a:t>高价值目标识别</a:t>
          </a:r>
          <a:endParaRPr lang="zh-CN" altLang="en-US" dirty="0">
            <a:solidFill>
              <a:schemeClr val="tx1"/>
            </a:solidFill>
          </a:endParaRPr>
        </a:p>
      </dgm:t>
    </dgm:pt>
    <dgm:pt modelId="{E51BD19D-26B4-4479-AAE7-4466DD7C9DB4}" type="parTrans" cxnId="{3E72938E-A582-4BBD-B1DD-75F30DE3EC83}">
      <dgm:prSet/>
      <dgm:spPr/>
      <dgm:t>
        <a:bodyPr/>
        <a:lstStyle/>
        <a:p>
          <a:endParaRPr lang="zh-CN" altLang="en-US">
            <a:solidFill>
              <a:schemeClr val="tx1"/>
            </a:solidFill>
          </a:endParaRPr>
        </a:p>
      </dgm:t>
    </dgm:pt>
    <dgm:pt modelId="{9EC28515-9192-4308-A463-C509C0566B8E}" type="sibTrans" cxnId="{3E72938E-A582-4BBD-B1DD-75F30DE3EC83}">
      <dgm:prSet/>
      <dgm:spPr/>
      <dgm:t>
        <a:bodyPr/>
        <a:lstStyle/>
        <a:p>
          <a:endParaRPr lang="zh-CN" altLang="en-US">
            <a:solidFill>
              <a:schemeClr val="tx1"/>
            </a:solidFill>
          </a:endParaRPr>
        </a:p>
      </dgm:t>
    </dgm:pt>
    <dgm:pt modelId="{E9825FC7-1142-4A03-944C-6E758E17A886}">
      <dgm:prSet phldrT="[文本]"/>
      <dgm:spPr/>
      <dgm:t>
        <a:bodyPr/>
        <a:lstStyle/>
        <a:p>
          <a:r>
            <a:rPr lang="zh-CN" altLang="en-US" dirty="0" smtClean="0">
              <a:solidFill>
                <a:schemeClr val="tx1"/>
              </a:solidFill>
            </a:rPr>
            <a:t>掠夺敏感信息</a:t>
          </a:r>
          <a:endParaRPr lang="zh-CN" altLang="en-US" dirty="0">
            <a:solidFill>
              <a:schemeClr val="tx1"/>
            </a:solidFill>
          </a:endParaRPr>
        </a:p>
      </dgm:t>
    </dgm:pt>
    <dgm:pt modelId="{B6BAD634-4B52-409B-ABE0-B5B2048A077C}" type="parTrans" cxnId="{592EDB5E-9857-4E53-B378-CE82D97BDAF7}">
      <dgm:prSet/>
      <dgm:spPr/>
      <dgm:t>
        <a:bodyPr/>
        <a:lstStyle/>
        <a:p>
          <a:endParaRPr lang="zh-CN" altLang="en-US">
            <a:solidFill>
              <a:schemeClr val="tx1"/>
            </a:solidFill>
          </a:endParaRPr>
        </a:p>
      </dgm:t>
    </dgm:pt>
    <dgm:pt modelId="{4615DD63-EDE6-41C8-9AB5-683C65F6561C}" type="sibTrans" cxnId="{592EDB5E-9857-4E53-B378-CE82D97BDAF7}">
      <dgm:prSet/>
      <dgm:spPr/>
      <dgm:t>
        <a:bodyPr/>
        <a:lstStyle/>
        <a:p>
          <a:endParaRPr lang="zh-CN" altLang="en-US">
            <a:solidFill>
              <a:schemeClr val="tx1"/>
            </a:solidFill>
          </a:endParaRPr>
        </a:p>
      </dgm:t>
    </dgm:pt>
    <dgm:pt modelId="{4422FF8C-12CF-4281-A858-B97D88C92CFA}">
      <dgm:prSet phldrT="[文本]"/>
      <dgm:spPr/>
      <dgm:t>
        <a:bodyPr/>
        <a:lstStyle/>
        <a:p>
          <a:r>
            <a:rPr lang="zh-CN" altLang="en-US" dirty="0" smtClean="0">
              <a:solidFill>
                <a:schemeClr val="tx1"/>
              </a:solidFill>
            </a:rPr>
            <a:t>业务影响攻击</a:t>
          </a:r>
          <a:endParaRPr lang="zh-CN" altLang="en-US" dirty="0">
            <a:solidFill>
              <a:schemeClr val="tx1"/>
            </a:solidFill>
          </a:endParaRPr>
        </a:p>
      </dgm:t>
    </dgm:pt>
    <dgm:pt modelId="{DEBC5B16-83E9-4246-B306-3DA0A6D3C93C}" type="parTrans" cxnId="{6FC37817-45EA-41E4-824A-C57AE1410E9C}">
      <dgm:prSet/>
      <dgm:spPr/>
      <dgm:t>
        <a:bodyPr/>
        <a:lstStyle/>
        <a:p>
          <a:endParaRPr lang="zh-CN" altLang="en-US">
            <a:solidFill>
              <a:schemeClr val="tx1"/>
            </a:solidFill>
          </a:endParaRPr>
        </a:p>
      </dgm:t>
    </dgm:pt>
    <dgm:pt modelId="{F5F857D0-5384-4394-8EBD-3325A4089D8E}" type="sibTrans" cxnId="{6FC37817-45EA-41E4-824A-C57AE1410E9C}">
      <dgm:prSet/>
      <dgm:spPr/>
      <dgm:t>
        <a:bodyPr/>
        <a:lstStyle/>
        <a:p>
          <a:endParaRPr lang="zh-CN" altLang="en-US">
            <a:solidFill>
              <a:schemeClr val="tx1"/>
            </a:solidFill>
          </a:endParaRPr>
        </a:p>
      </dgm:t>
    </dgm:pt>
    <dgm:pt modelId="{685A5894-E446-4453-9D48-4B8E51D5DA59}">
      <dgm:prSet phldrT="[文本]"/>
      <dgm:spPr/>
      <dgm:t>
        <a:bodyPr/>
        <a:lstStyle/>
        <a:p>
          <a:r>
            <a:rPr lang="zh-CN" altLang="en-US" dirty="0" smtClean="0">
              <a:solidFill>
                <a:schemeClr val="tx1"/>
              </a:solidFill>
            </a:rPr>
            <a:t>进一步对基础设施进行渗透</a:t>
          </a:r>
          <a:endParaRPr lang="zh-CN" altLang="en-US" dirty="0">
            <a:solidFill>
              <a:schemeClr val="tx1"/>
            </a:solidFill>
          </a:endParaRPr>
        </a:p>
      </dgm:t>
    </dgm:pt>
    <dgm:pt modelId="{374DED29-95BF-4A7D-8973-5A717EF14458}" type="parTrans" cxnId="{B2CFA767-A321-4D8F-B0B7-247C510CC57A}">
      <dgm:prSet/>
      <dgm:spPr/>
      <dgm:t>
        <a:bodyPr/>
        <a:lstStyle/>
        <a:p>
          <a:endParaRPr lang="zh-CN" altLang="en-US">
            <a:solidFill>
              <a:schemeClr val="tx1"/>
            </a:solidFill>
          </a:endParaRPr>
        </a:p>
      </dgm:t>
    </dgm:pt>
    <dgm:pt modelId="{97753CDC-9D6A-4795-8574-2089F5BF42FF}" type="sibTrans" cxnId="{B2CFA767-A321-4D8F-B0B7-247C510CC57A}">
      <dgm:prSet/>
      <dgm:spPr/>
      <dgm:t>
        <a:bodyPr/>
        <a:lstStyle/>
        <a:p>
          <a:endParaRPr lang="zh-CN" altLang="en-US">
            <a:solidFill>
              <a:schemeClr val="tx1"/>
            </a:solidFill>
          </a:endParaRPr>
        </a:p>
      </dgm:t>
    </dgm:pt>
    <dgm:pt modelId="{D13BE18B-0A5C-4E5C-9B75-793DC6167728}">
      <dgm:prSet phldrT="[文本]"/>
      <dgm:spPr/>
      <dgm:t>
        <a:bodyPr/>
        <a:lstStyle/>
        <a:p>
          <a:r>
            <a:rPr lang="zh-CN" altLang="en-US" dirty="0" smtClean="0">
              <a:solidFill>
                <a:schemeClr val="tx1"/>
              </a:solidFill>
            </a:rPr>
            <a:t>掩踪灭迹</a:t>
          </a:r>
          <a:endParaRPr lang="zh-CN" altLang="en-US" dirty="0">
            <a:solidFill>
              <a:schemeClr val="tx1"/>
            </a:solidFill>
          </a:endParaRPr>
        </a:p>
      </dgm:t>
    </dgm:pt>
    <dgm:pt modelId="{DD540A6F-330B-4A03-8E60-FB08ABE3FF9C}" type="parTrans" cxnId="{FDEA6461-6D61-4CB3-8E0B-E5C676E9E224}">
      <dgm:prSet/>
      <dgm:spPr/>
      <dgm:t>
        <a:bodyPr/>
        <a:lstStyle/>
        <a:p>
          <a:endParaRPr lang="zh-CN" altLang="en-US">
            <a:solidFill>
              <a:schemeClr val="tx1"/>
            </a:solidFill>
          </a:endParaRPr>
        </a:p>
      </dgm:t>
    </dgm:pt>
    <dgm:pt modelId="{CEA1AA37-E66B-4B24-BD22-8A436214330E}" type="sibTrans" cxnId="{FDEA6461-6D61-4CB3-8E0B-E5C676E9E224}">
      <dgm:prSet/>
      <dgm:spPr/>
      <dgm:t>
        <a:bodyPr/>
        <a:lstStyle/>
        <a:p>
          <a:endParaRPr lang="zh-CN" altLang="en-US">
            <a:solidFill>
              <a:schemeClr val="tx1"/>
            </a:solidFill>
          </a:endParaRPr>
        </a:p>
      </dgm:t>
    </dgm:pt>
    <dgm:pt modelId="{507A00EF-D161-42BB-81D5-14EBF46FE27C}">
      <dgm:prSet phldrT="[文本]"/>
      <dgm:spPr/>
      <dgm:t>
        <a:bodyPr/>
        <a:lstStyle/>
        <a:p>
          <a:r>
            <a:rPr lang="zh-CN" altLang="en-US" dirty="0" smtClean="0">
              <a:solidFill>
                <a:schemeClr val="tx1"/>
              </a:solidFill>
            </a:rPr>
            <a:t>持续性存在</a:t>
          </a:r>
          <a:endParaRPr lang="zh-CN" altLang="en-US" dirty="0">
            <a:solidFill>
              <a:schemeClr val="tx1"/>
            </a:solidFill>
          </a:endParaRPr>
        </a:p>
      </dgm:t>
    </dgm:pt>
    <dgm:pt modelId="{56216E89-3D74-4594-924D-B203A1971CE1}" type="parTrans" cxnId="{9AAC40C6-0694-42B9-A6FE-79FA65EFBD8B}">
      <dgm:prSet/>
      <dgm:spPr/>
      <dgm:t>
        <a:bodyPr/>
        <a:lstStyle/>
        <a:p>
          <a:endParaRPr lang="zh-CN" altLang="en-US">
            <a:solidFill>
              <a:schemeClr val="tx1"/>
            </a:solidFill>
          </a:endParaRPr>
        </a:p>
      </dgm:t>
    </dgm:pt>
    <dgm:pt modelId="{F3EA927D-AD84-4CC8-9169-D8032303D384}" type="sibTrans" cxnId="{9AAC40C6-0694-42B9-A6FE-79FA65EFBD8B}">
      <dgm:prSet/>
      <dgm:spPr/>
      <dgm:t>
        <a:bodyPr/>
        <a:lstStyle/>
        <a:p>
          <a:endParaRPr lang="zh-CN" altLang="en-US">
            <a:solidFill>
              <a:schemeClr val="tx1"/>
            </a:solidFill>
          </a:endParaRPr>
        </a:p>
      </dgm:t>
    </dgm:pt>
    <dgm:pt modelId="{8EBA1B9F-4BD7-4330-AC05-DE4AABF676BB}" type="pres">
      <dgm:prSet presAssocID="{48441239-A9AC-4A17-B1D9-D544A2DF50FA}" presName="Name0" presStyleCnt="0">
        <dgm:presLayoutVars>
          <dgm:chMax val="7"/>
          <dgm:dir/>
          <dgm:animOne val="branch"/>
        </dgm:presLayoutVars>
      </dgm:prSet>
      <dgm:spPr/>
    </dgm:pt>
    <dgm:pt modelId="{F2B8CC0C-4BAB-433E-9C0D-859B89A55943}" type="pres">
      <dgm:prSet presAssocID="{9AA574CB-8BD6-4B60-9457-7F32A38BC259}" presName="parTx1" presStyleLbl="node1" presStyleIdx="0" presStyleCnt="2"/>
      <dgm:spPr/>
      <dgm:t>
        <a:bodyPr/>
        <a:lstStyle/>
        <a:p>
          <a:endParaRPr lang="zh-CN" altLang="en-US"/>
        </a:p>
      </dgm:t>
    </dgm:pt>
    <dgm:pt modelId="{499F60E1-1548-4621-BDF2-D6765242C059}" type="pres">
      <dgm:prSet presAssocID="{9AA574CB-8BD6-4B60-9457-7F32A38BC259}" presName="spPre1" presStyleCnt="0"/>
      <dgm:spPr/>
    </dgm:pt>
    <dgm:pt modelId="{D5558784-69AE-47A6-8454-A7116A20F705}" type="pres">
      <dgm:prSet presAssocID="{9AA574CB-8BD6-4B60-9457-7F32A38BC259}" presName="chLin1" presStyleCnt="0"/>
      <dgm:spPr/>
    </dgm:pt>
    <dgm:pt modelId="{08F30B01-406C-4B9B-AF54-A11695E956F8}" type="pres">
      <dgm:prSet presAssocID="{A3381119-D824-431C-B4B3-CDBED352D67D}" presName="Name11" presStyleLbl="parChTrans1D1" presStyleIdx="0" presStyleCnt="28"/>
      <dgm:spPr/>
    </dgm:pt>
    <dgm:pt modelId="{D0136F3E-42BD-4AEC-BCA9-49A894C5A67F}" type="pres">
      <dgm:prSet presAssocID="{A3381119-D824-431C-B4B3-CDBED352D67D}" presName="Name31" presStyleLbl="parChTrans1D1" presStyleIdx="1" presStyleCnt="28"/>
      <dgm:spPr/>
    </dgm:pt>
    <dgm:pt modelId="{EB917930-1375-4442-B838-592997FF2D8A}" type="pres">
      <dgm:prSet presAssocID="{AB495CDA-82D0-4689-A6CF-1BF4C1AC5D64}" presName="txAndLines1" presStyleCnt="0"/>
      <dgm:spPr/>
    </dgm:pt>
    <dgm:pt modelId="{20EB7EC3-9079-4ED4-94DE-91AE3AB7DF18}" type="pres">
      <dgm:prSet presAssocID="{AB495CDA-82D0-4689-A6CF-1BF4C1AC5D64}" presName="anchor1" presStyleCnt="0"/>
      <dgm:spPr/>
    </dgm:pt>
    <dgm:pt modelId="{E4396C4E-C5CE-4A8B-A85D-EAD614D2CD1C}" type="pres">
      <dgm:prSet presAssocID="{AB495CDA-82D0-4689-A6CF-1BF4C1AC5D64}" presName="backup1" presStyleCnt="0"/>
      <dgm:spPr/>
    </dgm:pt>
    <dgm:pt modelId="{EAAE8533-334D-4106-98A8-0B2A46ED0A7B}" type="pres">
      <dgm:prSet presAssocID="{AB495CDA-82D0-4689-A6CF-1BF4C1AC5D64}" presName="preLine1" presStyleLbl="parChTrans1D1" presStyleIdx="2" presStyleCnt="28"/>
      <dgm:spPr/>
    </dgm:pt>
    <dgm:pt modelId="{01664C7C-7D92-4638-BEB7-8E31F7B7B6EE}" type="pres">
      <dgm:prSet presAssocID="{AB495CDA-82D0-4689-A6CF-1BF4C1AC5D64}" presName="desTx1" presStyleLbl="revTx" presStyleIdx="0" presStyleCnt="0">
        <dgm:presLayoutVars>
          <dgm:bulletEnabled val="1"/>
        </dgm:presLayoutVars>
      </dgm:prSet>
      <dgm:spPr/>
      <dgm:t>
        <a:bodyPr/>
        <a:lstStyle/>
        <a:p>
          <a:endParaRPr lang="zh-CN" altLang="en-US"/>
        </a:p>
      </dgm:t>
    </dgm:pt>
    <dgm:pt modelId="{3878EE78-E2E3-48CF-89C1-178FA72219FE}" type="pres">
      <dgm:prSet presAssocID="{AB495CDA-82D0-4689-A6CF-1BF4C1AC5D64}" presName="postLine1" presStyleLbl="parChTrans1D1" presStyleIdx="3" presStyleCnt="28"/>
      <dgm:spPr/>
    </dgm:pt>
    <dgm:pt modelId="{083A2FDE-77BC-4288-A302-0ED642C8AE4A}" type="pres">
      <dgm:prSet presAssocID="{E51BD19D-26B4-4479-AAE7-4466DD7C9DB4}" presName="Name11" presStyleLbl="parChTrans1D1" presStyleIdx="4" presStyleCnt="28"/>
      <dgm:spPr/>
    </dgm:pt>
    <dgm:pt modelId="{643B0CE6-D465-4902-BC3B-627512103300}" type="pres">
      <dgm:prSet presAssocID="{E51BD19D-26B4-4479-AAE7-4466DD7C9DB4}" presName="Name31" presStyleLbl="parChTrans1D1" presStyleIdx="5" presStyleCnt="28"/>
      <dgm:spPr/>
    </dgm:pt>
    <dgm:pt modelId="{4A1E14CB-5342-4076-993E-5A9403F274BB}" type="pres">
      <dgm:prSet presAssocID="{64B6FB21-A0CA-4D96-920A-F01D37A75B95}" presName="txAndLines1" presStyleCnt="0"/>
      <dgm:spPr/>
    </dgm:pt>
    <dgm:pt modelId="{00999343-DA74-4669-91D7-FFF279BDFDA2}" type="pres">
      <dgm:prSet presAssocID="{64B6FB21-A0CA-4D96-920A-F01D37A75B95}" presName="anchor1" presStyleCnt="0"/>
      <dgm:spPr/>
    </dgm:pt>
    <dgm:pt modelId="{9A84DF80-CB67-4A89-B15B-C243580B220F}" type="pres">
      <dgm:prSet presAssocID="{64B6FB21-A0CA-4D96-920A-F01D37A75B95}" presName="backup1" presStyleCnt="0"/>
      <dgm:spPr/>
    </dgm:pt>
    <dgm:pt modelId="{54CC4CA7-0F53-435D-89CA-278E45539ADB}" type="pres">
      <dgm:prSet presAssocID="{64B6FB21-A0CA-4D96-920A-F01D37A75B95}" presName="preLine1" presStyleLbl="parChTrans1D1" presStyleIdx="6" presStyleCnt="28"/>
      <dgm:spPr/>
    </dgm:pt>
    <dgm:pt modelId="{499D91A5-E447-46FF-801D-798D11874F08}" type="pres">
      <dgm:prSet presAssocID="{64B6FB21-A0CA-4D96-920A-F01D37A75B95}" presName="desTx1" presStyleLbl="revTx" presStyleIdx="0" presStyleCnt="0">
        <dgm:presLayoutVars>
          <dgm:bulletEnabled val="1"/>
        </dgm:presLayoutVars>
      </dgm:prSet>
      <dgm:spPr/>
      <dgm:t>
        <a:bodyPr/>
        <a:lstStyle/>
        <a:p>
          <a:endParaRPr lang="zh-CN" altLang="en-US"/>
        </a:p>
      </dgm:t>
    </dgm:pt>
    <dgm:pt modelId="{F4663516-4201-46C0-9DDC-CAD72C4090A7}" type="pres">
      <dgm:prSet presAssocID="{64B6FB21-A0CA-4D96-920A-F01D37A75B95}" presName="postLine1" presStyleLbl="parChTrans1D1" presStyleIdx="7" presStyleCnt="28"/>
      <dgm:spPr/>
    </dgm:pt>
    <dgm:pt modelId="{01B76EA5-FAE8-4C4E-A479-B50769782BB2}" type="pres">
      <dgm:prSet presAssocID="{B6BAD634-4B52-409B-ABE0-B5B2048A077C}" presName="Name11" presStyleLbl="parChTrans1D1" presStyleIdx="8" presStyleCnt="28"/>
      <dgm:spPr/>
    </dgm:pt>
    <dgm:pt modelId="{86259AFC-E1C1-4EA8-95E8-3C1CD800F11A}" type="pres">
      <dgm:prSet presAssocID="{B6BAD634-4B52-409B-ABE0-B5B2048A077C}" presName="Name31" presStyleLbl="parChTrans1D1" presStyleIdx="9" presStyleCnt="28"/>
      <dgm:spPr/>
    </dgm:pt>
    <dgm:pt modelId="{8819FF66-4F90-4545-BBE8-B9FFE10C47B7}" type="pres">
      <dgm:prSet presAssocID="{E9825FC7-1142-4A03-944C-6E758E17A886}" presName="txAndLines1" presStyleCnt="0"/>
      <dgm:spPr/>
    </dgm:pt>
    <dgm:pt modelId="{5133DC68-9CFF-4146-818E-F8D6ADEE437E}" type="pres">
      <dgm:prSet presAssocID="{E9825FC7-1142-4A03-944C-6E758E17A886}" presName="anchor1" presStyleCnt="0"/>
      <dgm:spPr/>
    </dgm:pt>
    <dgm:pt modelId="{87ECF979-80FB-465A-A3F6-92A9E049AC47}" type="pres">
      <dgm:prSet presAssocID="{E9825FC7-1142-4A03-944C-6E758E17A886}" presName="backup1" presStyleCnt="0"/>
      <dgm:spPr/>
    </dgm:pt>
    <dgm:pt modelId="{0A5FE634-E776-4BB0-965A-9D6D859CCA99}" type="pres">
      <dgm:prSet presAssocID="{E9825FC7-1142-4A03-944C-6E758E17A886}" presName="preLine1" presStyleLbl="parChTrans1D1" presStyleIdx="10" presStyleCnt="28"/>
      <dgm:spPr/>
    </dgm:pt>
    <dgm:pt modelId="{AEB1B5A5-B10F-4593-BAB6-04D2157BF4DA}" type="pres">
      <dgm:prSet presAssocID="{E9825FC7-1142-4A03-944C-6E758E17A886}" presName="desTx1" presStyleLbl="revTx" presStyleIdx="0" presStyleCnt="0">
        <dgm:presLayoutVars>
          <dgm:bulletEnabled val="1"/>
        </dgm:presLayoutVars>
      </dgm:prSet>
      <dgm:spPr/>
      <dgm:t>
        <a:bodyPr/>
        <a:lstStyle/>
        <a:p>
          <a:endParaRPr lang="zh-CN" altLang="en-US"/>
        </a:p>
      </dgm:t>
    </dgm:pt>
    <dgm:pt modelId="{29C02966-22FC-4541-A291-A0E4F80D4950}" type="pres">
      <dgm:prSet presAssocID="{E9825FC7-1142-4A03-944C-6E758E17A886}" presName="postLine1" presStyleLbl="parChTrans1D1" presStyleIdx="11" presStyleCnt="28"/>
      <dgm:spPr/>
    </dgm:pt>
    <dgm:pt modelId="{AFE69BB5-F7C5-422D-B09A-BF5B1C5763C0}" type="pres">
      <dgm:prSet presAssocID="{DEBC5B16-83E9-4246-B306-3DA0A6D3C93C}" presName="Name11" presStyleLbl="parChTrans1D1" presStyleIdx="12" presStyleCnt="28"/>
      <dgm:spPr/>
    </dgm:pt>
    <dgm:pt modelId="{B292BDF3-9657-493A-A692-2DE314AAAF33}" type="pres">
      <dgm:prSet presAssocID="{DEBC5B16-83E9-4246-B306-3DA0A6D3C93C}" presName="Name31" presStyleLbl="parChTrans1D1" presStyleIdx="13" presStyleCnt="28"/>
      <dgm:spPr/>
    </dgm:pt>
    <dgm:pt modelId="{FC020609-47E6-4479-9566-D2417EF2F68F}" type="pres">
      <dgm:prSet presAssocID="{4422FF8C-12CF-4281-A858-B97D88C92CFA}" presName="txAndLines1" presStyleCnt="0"/>
      <dgm:spPr/>
    </dgm:pt>
    <dgm:pt modelId="{A2E36643-F99A-4F28-A661-F64C2BC6A52C}" type="pres">
      <dgm:prSet presAssocID="{4422FF8C-12CF-4281-A858-B97D88C92CFA}" presName="anchor1" presStyleCnt="0"/>
      <dgm:spPr/>
    </dgm:pt>
    <dgm:pt modelId="{F3069923-5ED2-483C-89CB-BF39CEBC43CA}" type="pres">
      <dgm:prSet presAssocID="{4422FF8C-12CF-4281-A858-B97D88C92CFA}" presName="backup1" presStyleCnt="0"/>
      <dgm:spPr/>
    </dgm:pt>
    <dgm:pt modelId="{62036501-38FE-481F-8031-A3C734B514D4}" type="pres">
      <dgm:prSet presAssocID="{4422FF8C-12CF-4281-A858-B97D88C92CFA}" presName="preLine1" presStyleLbl="parChTrans1D1" presStyleIdx="14" presStyleCnt="28"/>
      <dgm:spPr/>
    </dgm:pt>
    <dgm:pt modelId="{85781CE5-6DD2-47CA-A390-22123AF06B0E}" type="pres">
      <dgm:prSet presAssocID="{4422FF8C-12CF-4281-A858-B97D88C92CFA}" presName="desTx1" presStyleLbl="revTx" presStyleIdx="0" presStyleCnt="0">
        <dgm:presLayoutVars>
          <dgm:bulletEnabled val="1"/>
        </dgm:presLayoutVars>
      </dgm:prSet>
      <dgm:spPr/>
      <dgm:t>
        <a:bodyPr/>
        <a:lstStyle/>
        <a:p>
          <a:endParaRPr lang="zh-CN" altLang="en-US"/>
        </a:p>
      </dgm:t>
    </dgm:pt>
    <dgm:pt modelId="{21A0BF33-F4F9-41C9-BA7A-DA4BB1EEE7BE}" type="pres">
      <dgm:prSet presAssocID="{4422FF8C-12CF-4281-A858-B97D88C92CFA}" presName="postLine1" presStyleLbl="parChTrans1D1" presStyleIdx="15" presStyleCnt="28"/>
      <dgm:spPr/>
    </dgm:pt>
    <dgm:pt modelId="{5D8C5B50-5DCB-4C38-A22C-52E9F39DAD55}" type="pres">
      <dgm:prSet presAssocID="{374DED29-95BF-4A7D-8973-5A717EF14458}" presName="Name11" presStyleLbl="parChTrans1D1" presStyleIdx="16" presStyleCnt="28"/>
      <dgm:spPr/>
    </dgm:pt>
    <dgm:pt modelId="{5347077C-BF4D-4A71-AB9E-4FC6804DDFBE}" type="pres">
      <dgm:prSet presAssocID="{374DED29-95BF-4A7D-8973-5A717EF14458}" presName="Name31" presStyleLbl="parChTrans1D1" presStyleIdx="17" presStyleCnt="28"/>
      <dgm:spPr/>
    </dgm:pt>
    <dgm:pt modelId="{DE4F8987-7717-4725-8100-BA0F9D085144}" type="pres">
      <dgm:prSet presAssocID="{685A5894-E446-4453-9D48-4B8E51D5DA59}" presName="txAndLines1" presStyleCnt="0"/>
      <dgm:spPr/>
    </dgm:pt>
    <dgm:pt modelId="{E61ADB21-75A0-46A1-BA6B-C14A5E2273FC}" type="pres">
      <dgm:prSet presAssocID="{685A5894-E446-4453-9D48-4B8E51D5DA59}" presName="anchor1" presStyleCnt="0"/>
      <dgm:spPr/>
    </dgm:pt>
    <dgm:pt modelId="{820558BE-A822-4626-8634-02759AD150FB}" type="pres">
      <dgm:prSet presAssocID="{685A5894-E446-4453-9D48-4B8E51D5DA59}" presName="backup1" presStyleCnt="0"/>
      <dgm:spPr/>
    </dgm:pt>
    <dgm:pt modelId="{A8869550-1D09-4D47-9411-919E445FEBA0}" type="pres">
      <dgm:prSet presAssocID="{685A5894-E446-4453-9D48-4B8E51D5DA59}" presName="preLine1" presStyleLbl="parChTrans1D1" presStyleIdx="18" presStyleCnt="28"/>
      <dgm:spPr/>
    </dgm:pt>
    <dgm:pt modelId="{C118794A-77CF-4AD5-8F43-8E6AD9331F92}" type="pres">
      <dgm:prSet presAssocID="{685A5894-E446-4453-9D48-4B8E51D5DA59}" presName="desTx1" presStyleLbl="revTx" presStyleIdx="0" presStyleCnt="0">
        <dgm:presLayoutVars>
          <dgm:bulletEnabled val="1"/>
        </dgm:presLayoutVars>
      </dgm:prSet>
      <dgm:spPr/>
      <dgm:t>
        <a:bodyPr/>
        <a:lstStyle/>
        <a:p>
          <a:endParaRPr lang="zh-CN" altLang="en-US"/>
        </a:p>
      </dgm:t>
    </dgm:pt>
    <dgm:pt modelId="{6C90CFB8-C0A7-47E9-8352-E6644D409F84}" type="pres">
      <dgm:prSet presAssocID="{685A5894-E446-4453-9D48-4B8E51D5DA59}" presName="postLine1" presStyleLbl="parChTrans1D1" presStyleIdx="19" presStyleCnt="28"/>
      <dgm:spPr/>
    </dgm:pt>
    <dgm:pt modelId="{2F966FAB-FB13-469D-BCC2-19714199998C}" type="pres">
      <dgm:prSet presAssocID="{DD540A6F-330B-4A03-8E60-FB08ABE3FF9C}" presName="Name11" presStyleLbl="parChTrans1D1" presStyleIdx="20" presStyleCnt="28"/>
      <dgm:spPr/>
    </dgm:pt>
    <dgm:pt modelId="{4394B175-921C-4B88-8EB7-FB778E4F5FA4}" type="pres">
      <dgm:prSet presAssocID="{DD540A6F-330B-4A03-8E60-FB08ABE3FF9C}" presName="Name31" presStyleLbl="parChTrans1D1" presStyleIdx="21" presStyleCnt="28"/>
      <dgm:spPr/>
    </dgm:pt>
    <dgm:pt modelId="{211FDCDA-780E-44D3-8E6E-1548D519FBAF}" type="pres">
      <dgm:prSet presAssocID="{D13BE18B-0A5C-4E5C-9B75-793DC6167728}" presName="txAndLines1" presStyleCnt="0"/>
      <dgm:spPr/>
    </dgm:pt>
    <dgm:pt modelId="{74A0000C-3A23-4CE3-9C2A-B9C7675FCBB4}" type="pres">
      <dgm:prSet presAssocID="{D13BE18B-0A5C-4E5C-9B75-793DC6167728}" presName="anchor1" presStyleCnt="0"/>
      <dgm:spPr/>
    </dgm:pt>
    <dgm:pt modelId="{6455E6DC-EF8E-4B3F-B4D6-0583095630DA}" type="pres">
      <dgm:prSet presAssocID="{D13BE18B-0A5C-4E5C-9B75-793DC6167728}" presName="backup1" presStyleCnt="0"/>
      <dgm:spPr/>
    </dgm:pt>
    <dgm:pt modelId="{CDBB05AA-B0D3-4BB0-B330-ABE54D16E5E8}" type="pres">
      <dgm:prSet presAssocID="{D13BE18B-0A5C-4E5C-9B75-793DC6167728}" presName="preLine1" presStyleLbl="parChTrans1D1" presStyleIdx="22" presStyleCnt="28"/>
      <dgm:spPr/>
    </dgm:pt>
    <dgm:pt modelId="{310F2B49-B7C3-4C81-8C1E-89A11558D39A}" type="pres">
      <dgm:prSet presAssocID="{D13BE18B-0A5C-4E5C-9B75-793DC6167728}" presName="desTx1" presStyleLbl="revTx" presStyleIdx="0" presStyleCnt="0">
        <dgm:presLayoutVars>
          <dgm:bulletEnabled val="1"/>
        </dgm:presLayoutVars>
      </dgm:prSet>
      <dgm:spPr/>
      <dgm:t>
        <a:bodyPr/>
        <a:lstStyle/>
        <a:p>
          <a:endParaRPr lang="zh-CN" altLang="en-US"/>
        </a:p>
      </dgm:t>
    </dgm:pt>
    <dgm:pt modelId="{C1C30443-AF68-438C-8EC9-E64F7EBD7F28}" type="pres">
      <dgm:prSet presAssocID="{D13BE18B-0A5C-4E5C-9B75-793DC6167728}" presName="postLine1" presStyleLbl="parChTrans1D1" presStyleIdx="23" presStyleCnt="28"/>
      <dgm:spPr/>
    </dgm:pt>
    <dgm:pt modelId="{2B8D2BE8-9DEB-4BC9-9433-EBA38CC8340E}" type="pres">
      <dgm:prSet presAssocID="{56216E89-3D74-4594-924D-B203A1971CE1}" presName="Name11" presStyleLbl="parChTrans1D1" presStyleIdx="24" presStyleCnt="28"/>
      <dgm:spPr/>
    </dgm:pt>
    <dgm:pt modelId="{6CF1299B-7F81-4D80-90AD-F8460A10F041}" type="pres">
      <dgm:prSet presAssocID="{56216E89-3D74-4594-924D-B203A1971CE1}" presName="Name31" presStyleLbl="parChTrans1D1" presStyleIdx="25" presStyleCnt="28"/>
      <dgm:spPr/>
    </dgm:pt>
    <dgm:pt modelId="{DAEBC86C-491A-4A34-AEA0-74EC3AE819C5}" type="pres">
      <dgm:prSet presAssocID="{507A00EF-D161-42BB-81D5-14EBF46FE27C}" presName="txAndLines1" presStyleCnt="0"/>
      <dgm:spPr/>
    </dgm:pt>
    <dgm:pt modelId="{49C45056-5DA5-43DC-8A64-BB2458946515}" type="pres">
      <dgm:prSet presAssocID="{507A00EF-D161-42BB-81D5-14EBF46FE27C}" presName="anchor1" presStyleCnt="0"/>
      <dgm:spPr/>
    </dgm:pt>
    <dgm:pt modelId="{6D854A2D-2872-4EC9-81E8-B62B8F6F9096}" type="pres">
      <dgm:prSet presAssocID="{507A00EF-D161-42BB-81D5-14EBF46FE27C}" presName="backup1" presStyleCnt="0"/>
      <dgm:spPr/>
    </dgm:pt>
    <dgm:pt modelId="{5E52B768-2618-4AF7-AB2F-E7F023BA36D5}" type="pres">
      <dgm:prSet presAssocID="{507A00EF-D161-42BB-81D5-14EBF46FE27C}" presName="preLine1" presStyleLbl="parChTrans1D1" presStyleIdx="26" presStyleCnt="28"/>
      <dgm:spPr/>
    </dgm:pt>
    <dgm:pt modelId="{961724C0-4EB2-46A0-B4CB-9AD37B1EC235}" type="pres">
      <dgm:prSet presAssocID="{507A00EF-D161-42BB-81D5-14EBF46FE27C}" presName="desTx1" presStyleLbl="revTx" presStyleIdx="0" presStyleCnt="0">
        <dgm:presLayoutVars>
          <dgm:bulletEnabled val="1"/>
        </dgm:presLayoutVars>
      </dgm:prSet>
      <dgm:spPr/>
      <dgm:t>
        <a:bodyPr/>
        <a:lstStyle/>
        <a:p>
          <a:endParaRPr lang="zh-CN" altLang="en-US"/>
        </a:p>
      </dgm:t>
    </dgm:pt>
    <dgm:pt modelId="{C23A5254-4646-4603-B049-E106941834F2}" type="pres">
      <dgm:prSet presAssocID="{507A00EF-D161-42BB-81D5-14EBF46FE27C}" presName="postLine1" presStyleLbl="parChTrans1D1" presStyleIdx="27" presStyleCnt="28"/>
      <dgm:spPr/>
    </dgm:pt>
    <dgm:pt modelId="{54DB97C3-91B1-4D1A-89C6-19FF6E874AA5}" type="pres">
      <dgm:prSet presAssocID="{9AA574CB-8BD6-4B60-9457-7F32A38BC259}" presName="spPost1" presStyleCnt="0"/>
      <dgm:spPr/>
    </dgm:pt>
    <dgm:pt modelId="{C068A876-EA0B-411A-A280-B7C0AE720FF8}" type="pres">
      <dgm:prSet presAssocID="{515E8D39-EE43-4CF9-AE44-EB5AD2DEDA4C}" presName="parTx2" presStyleLbl="node1" presStyleIdx="1" presStyleCnt="2"/>
      <dgm:spPr/>
      <dgm:t>
        <a:bodyPr/>
        <a:lstStyle/>
        <a:p>
          <a:endParaRPr lang="zh-CN" altLang="en-US"/>
        </a:p>
      </dgm:t>
    </dgm:pt>
  </dgm:ptLst>
  <dgm:cxnLst>
    <dgm:cxn modelId="{39CE10EE-769F-4A94-897C-B8EA335F05C9}" type="presOf" srcId="{685A5894-E446-4453-9D48-4B8E51D5DA59}" destId="{C118794A-77CF-4AD5-8F43-8E6AD9331F92}" srcOrd="0" destOrd="0" presId="urn:microsoft.com/office/officeart/2009/3/layout/SubStepProcess"/>
    <dgm:cxn modelId="{ACFA82D9-7713-45FE-B90D-DB6F055B714A}" srcId="{9AA574CB-8BD6-4B60-9457-7F32A38BC259}" destId="{AB495CDA-82D0-4689-A6CF-1BF4C1AC5D64}" srcOrd="0" destOrd="0" parTransId="{A3381119-D824-431C-B4B3-CDBED352D67D}" sibTransId="{A27A5A73-2421-45C0-9943-372988BC3C33}"/>
    <dgm:cxn modelId="{A3639D38-BD0E-4E75-8C5A-FD32AEF97BB3}" srcId="{48441239-A9AC-4A17-B1D9-D544A2DF50FA}" destId="{9AA574CB-8BD6-4B60-9457-7F32A38BC259}" srcOrd="0" destOrd="0" parTransId="{3D6FB2E1-2607-406D-8CE4-3F72C4E2BA7C}" sibTransId="{4A652E1D-2EE7-4BC2-8CB9-E0474E09EDEF}"/>
    <dgm:cxn modelId="{B2CFA767-A321-4D8F-B0B7-247C510CC57A}" srcId="{9AA574CB-8BD6-4B60-9457-7F32A38BC259}" destId="{685A5894-E446-4453-9D48-4B8E51D5DA59}" srcOrd="4" destOrd="0" parTransId="{374DED29-95BF-4A7D-8973-5A717EF14458}" sibTransId="{97753CDC-9D6A-4795-8574-2089F5BF42FF}"/>
    <dgm:cxn modelId="{27971AB8-227F-4993-AC70-C2CE6105D2D8}" type="presOf" srcId="{515E8D39-EE43-4CF9-AE44-EB5AD2DEDA4C}" destId="{C068A876-EA0B-411A-A280-B7C0AE720FF8}" srcOrd="0" destOrd="0" presId="urn:microsoft.com/office/officeart/2009/3/layout/SubStepProcess"/>
    <dgm:cxn modelId="{2A033CE2-F125-4A1A-9F30-5E74087360DD}" type="presOf" srcId="{48441239-A9AC-4A17-B1D9-D544A2DF50FA}" destId="{8EBA1B9F-4BD7-4330-AC05-DE4AABF676BB}" srcOrd="0" destOrd="0" presId="urn:microsoft.com/office/officeart/2009/3/layout/SubStepProcess"/>
    <dgm:cxn modelId="{89DAC422-1A5A-4F26-ACBD-9A7788ECC629}" type="presOf" srcId="{9AA574CB-8BD6-4B60-9457-7F32A38BC259}" destId="{F2B8CC0C-4BAB-433E-9C0D-859B89A55943}" srcOrd="0" destOrd="0" presId="urn:microsoft.com/office/officeart/2009/3/layout/SubStepProcess"/>
    <dgm:cxn modelId="{903EFAE7-3D6B-4C74-A2A9-7A8B71D93754}" type="presOf" srcId="{507A00EF-D161-42BB-81D5-14EBF46FE27C}" destId="{961724C0-4EB2-46A0-B4CB-9AD37B1EC235}" srcOrd="0" destOrd="0" presId="urn:microsoft.com/office/officeart/2009/3/layout/SubStepProcess"/>
    <dgm:cxn modelId="{322BF860-B2C1-4A76-A0F2-7BBCF8CB6CE3}" srcId="{48441239-A9AC-4A17-B1D9-D544A2DF50FA}" destId="{515E8D39-EE43-4CF9-AE44-EB5AD2DEDA4C}" srcOrd="1" destOrd="0" parTransId="{B2560591-043A-4862-B1B2-0DA05D591A3D}" sibTransId="{EB64C95B-1BEB-4C23-B9D6-E4B6F9AC0739}"/>
    <dgm:cxn modelId="{6FC37817-45EA-41E4-824A-C57AE1410E9C}" srcId="{9AA574CB-8BD6-4B60-9457-7F32A38BC259}" destId="{4422FF8C-12CF-4281-A858-B97D88C92CFA}" srcOrd="3" destOrd="0" parTransId="{DEBC5B16-83E9-4246-B306-3DA0A6D3C93C}" sibTransId="{F5F857D0-5384-4394-8EBD-3325A4089D8E}"/>
    <dgm:cxn modelId="{1E160554-8740-46F7-8DA1-791A12C36A0F}" type="presOf" srcId="{AB495CDA-82D0-4689-A6CF-1BF4C1AC5D64}" destId="{01664C7C-7D92-4638-BEB7-8E31F7B7B6EE}" srcOrd="0" destOrd="0" presId="urn:microsoft.com/office/officeart/2009/3/layout/SubStepProcess"/>
    <dgm:cxn modelId="{592EDB5E-9857-4E53-B378-CE82D97BDAF7}" srcId="{9AA574CB-8BD6-4B60-9457-7F32A38BC259}" destId="{E9825FC7-1142-4A03-944C-6E758E17A886}" srcOrd="2" destOrd="0" parTransId="{B6BAD634-4B52-409B-ABE0-B5B2048A077C}" sibTransId="{4615DD63-EDE6-41C8-9AB5-683C65F6561C}"/>
    <dgm:cxn modelId="{28A63B3B-408A-4DF0-9ED6-E61B62766C39}" type="presOf" srcId="{E9825FC7-1142-4A03-944C-6E758E17A886}" destId="{AEB1B5A5-B10F-4593-BAB6-04D2157BF4DA}" srcOrd="0" destOrd="0" presId="urn:microsoft.com/office/officeart/2009/3/layout/SubStepProcess"/>
    <dgm:cxn modelId="{AD2937EA-22D6-4552-9584-051B6559440F}" type="presOf" srcId="{64B6FB21-A0CA-4D96-920A-F01D37A75B95}" destId="{499D91A5-E447-46FF-801D-798D11874F08}" srcOrd="0" destOrd="0" presId="urn:microsoft.com/office/officeart/2009/3/layout/SubStepProcess"/>
    <dgm:cxn modelId="{3CDF2CA4-725F-4A46-8B4B-850F5D9D7E8F}" type="presOf" srcId="{D13BE18B-0A5C-4E5C-9B75-793DC6167728}" destId="{310F2B49-B7C3-4C81-8C1E-89A11558D39A}" srcOrd="0" destOrd="0" presId="urn:microsoft.com/office/officeart/2009/3/layout/SubStepProcess"/>
    <dgm:cxn modelId="{9AAC40C6-0694-42B9-A6FE-79FA65EFBD8B}" srcId="{9AA574CB-8BD6-4B60-9457-7F32A38BC259}" destId="{507A00EF-D161-42BB-81D5-14EBF46FE27C}" srcOrd="6" destOrd="0" parTransId="{56216E89-3D74-4594-924D-B203A1971CE1}" sibTransId="{F3EA927D-AD84-4CC8-9169-D8032303D384}"/>
    <dgm:cxn modelId="{FDEA6461-6D61-4CB3-8E0B-E5C676E9E224}" srcId="{9AA574CB-8BD6-4B60-9457-7F32A38BC259}" destId="{D13BE18B-0A5C-4E5C-9B75-793DC6167728}" srcOrd="5" destOrd="0" parTransId="{DD540A6F-330B-4A03-8E60-FB08ABE3FF9C}" sibTransId="{CEA1AA37-E66B-4B24-BD22-8A436214330E}"/>
    <dgm:cxn modelId="{3E72938E-A582-4BBD-B1DD-75F30DE3EC83}" srcId="{9AA574CB-8BD6-4B60-9457-7F32A38BC259}" destId="{64B6FB21-A0CA-4D96-920A-F01D37A75B95}" srcOrd="1" destOrd="0" parTransId="{E51BD19D-26B4-4479-AAE7-4466DD7C9DB4}" sibTransId="{9EC28515-9192-4308-A463-C509C0566B8E}"/>
    <dgm:cxn modelId="{AD340D2F-9099-4CCE-9760-C4224115ABCB}" type="presOf" srcId="{4422FF8C-12CF-4281-A858-B97D88C92CFA}" destId="{85781CE5-6DD2-47CA-A390-22123AF06B0E}" srcOrd="0" destOrd="0" presId="urn:microsoft.com/office/officeart/2009/3/layout/SubStepProcess"/>
    <dgm:cxn modelId="{76316F3E-2196-4CEB-A3CC-EFD0231704F2}" type="presParOf" srcId="{8EBA1B9F-4BD7-4330-AC05-DE4AABF676BB}" destId="{F2B8CC0C-4BAB-433E-9C0D-859B89A55943}" srcOrd="0" destOrd="0" presId="urn:microsoft.com/office/officeart/2009/3/layout/SubStepProcess"/>
    <dgm:cxn modelId="{7FB35E98-AF58-42E2-A8E3-1DA9D8A04E32}" type="presParOf" srcId="{8EBA1B9F-4BD7-4330-AC05-DE4AABF676BB}" destId="{499F60E1-1548-4621-BDF2-D6765242C059}" srcOrd="1" destOrd="0" presId="urn:microsoft.com/office/officeart/2009/3/layout/SubStepProcess"/>
    <dgm:cxn modelId="{85097484-9120-4542-9835-15C73505DF3E}" type="presParOf" srcId="{8EBA1B9F-4BD7-4330-AC05-DE4AABF676BB}" destId="{D5558784-69AE-47A6-8454-A7116A20F705}" srcOrd="2" destOrd="0" presId="urn:microsoft.com/office/officeart/2009/3/layout/SubStepProcess"/>
    <dgm:cxn modelId="{FA11455D-5A9B-4E1E-A24D-B3D1787D5838}" type="presParOf" srcId="{D5558784-69AE-47A6-8454-A7116A20F705}" destId="{08F30B01-406C-4B9B-AF54-A11695E956F8}" srcOrd="0" destOrd="0" presId="urn:microsoft.com/office/officeart/2009/3/layout/SubStepProcess"/>
    <dgm:cxn modelId="{E885F702-5DBD-4ED7-BB30-7315DEAC41BF}" type="presParOf" srcId="{D5558784-69AE-47A6-8454-A7116A20F705}" destId="{D0136F3E-42BD-4AEC-BCA9-49A894C5A67F}" srcOrd="1" destOrd="0" presId="urn:microsoft.com/office/officeart/2009/3/layout/SubStepProcess"/>
    <dgm:cxn modelId="{90251213-06B3-44CC-9A8F-E50EEA2191F5}" type="presParOf" srcId="{D5558784-69AE-47A6-8454-A7116A20F705}" destId="{EB917930-1375-4442-B838-592997FF2D8A}" srcOrd="2" destOrd="0" presId="urn:microsoft.com/office/officeart/2009/3/layout/SubStepProcess"/>
    <dgm:cxn modelId="{04276584-1FD1-486A-9983-5FD3E1D29133}" type="presParOf" srcId="{EB917930-1375-4442-B838-592997FF2D8A}" destId="{20EB7EC3-9079-4ED4-94DE-91AE3AB7DF18}" srcOrd="0" destOrd="0" presId="urn:microsoft.com/office/officeart/2009/3/layout/SubStepProcess"/>
    <dgm:cxn modelId="{ED2F5AD1-20A1-45E3-B592-A20367F1AA83}" type="presParOf" srcId="{EB917930-1375-4442-B838-592997FF2D8A}" destId="{E4396C4E-C5CE-4A8B-A85D-EAD614D2CD1C}" srcOrd="1" destOrd="0" presId="urn:microsoft.com/office/officeart/2009/3/layout/SubStepProcess"/>
    <dgm:cxn modelId="{66DF1A61-F209-4478-A761-83C60C058178}" type="presParOf" srcId="{EB917930-1375-4442-B838-592997FF2D8A}" destId="{EAAE8533-334D-4106-98A8-0B2A46ED0A7B}" srcOrd="2" destOrd="0" presId="urn:microsoft.com/office/officeart/2009/3/layout/SubStepProcess"/>
    <dgm:cxn modelId="{D40FF22C-ACCD-4EA6-8605-FB7DB634FA5A}" type="presParOf" srcId="{EB917930-1375-4442-B838-592997FF2D8A}" destId="{01664C7C-7D92-4638-BEB7-8E31F7B7B6EE}" srcOrd="3" destOrd="0" presId="urn:microsoft.com/office/officeart/2009/3/layout/SubStepProcess"/>
    <dgm:cxn modelId="{7B0AC0A5-A494-4943-B599-845BF04E14B7}" type="presParOf" srcId="{EB917930-1375-4442-B838-592997FF2D8A}" destId="{3878EE78-E2E3-48CF-89C1-178FA72219FE}" srcOrd="4" destOrd="0" presId="urn:microsoft.com/office/officeart/2009/3/layout/SubStepProcess"/>
    <dgm:cxn modelId="{4F1489B5-A4B0-4FAB-B20B-235ABFE6FDCE}" type="presParOf" srcId="{D5558784-69AE-47A6-8454-A7116A20F705}" destId="{083A2FDE-77BC-4288-A302-0ED642C8AE4A}" srcOrd="3" destOrd="0" presId="urn:microsoft.com/office/officeart/2009/3/layout/SubStepProcess"/>
    <dgm:cxn modelId="{1F9D3A07-E9FE-48EB-94D0-217C2ED81F4D}" type="presParOf" srcId="{D5558784-69AE-47A6-8454-A7116A20F705}" destId="{643B0CE6-D465-4902-BC3B-627512103300}" srcOrd="4" destOrd="0" presId="urn:microsoft.com/office/officeart/2009/3/layout/SubStepProcess"/>
    <dgm:cxn modelId="{BCFBE78D-A52D-47C4-BD9F-E943E1383C55}" type="presParOf" srcId="{D5558784-69AE-47A6-8454-A7116A20F705}" destId="{4A1E14CB-5342-4076-993E-5A9403F274BB}" srcOrd="5" destOrd="0" presId="urn:microsoft.com/office/officeart/2009/3/layout/SubStepProcess"/>
    <dgm:cxn modelId="{8F168DA5-1CAF-4E95-B21C-9F63CE11D989}" type="presParOf" srcId="{4A1E14CB-5342-4076-993E-5A9403F274BB}" destId="{00999343-DA74-4669-91D7-FFF279BDFDA2}" srcOrd="0" destOrd="0" presId="urn:microsoft.com/office/officeart/2009/3/layout/SubStepProcess"/>
    <dgm:cxn modelId="{EC54F739-0CA9-4FC7-9A94-4F2EF0A819C6}" type="presParOf" srcId="{4A1E14CB-5342-4076-993E-5A9403F274BB}" destId="{9A84DF80-CB67-4A89-B15B-C243580B220F}" srcOrd="1" destOrd="0" presId="urn:microsoft.com/office/officeart/2009/3/layout/SubStepProcess"/>
    <dgm:cxn modelId="{FACA44A1-9D69-4E9A-9D8A-A0618CF61FCB}" type="presParOf" srcId="{4A1E14CB-5342-4076-993E-5A9403F274BB}" destId="{54CC4CA7-0F53-435D-89CA-278E45539ADB}" srcOrd="2" destOrd="0" presId="urn:microsoft.com/office/officeart/2009/3/layout/SubStepProcess"/>
    <dgm:cxn modelId="{0F9D8DCE-E1EE-46EC-A9CB-5FEA15233B13}" type="presParOf" srcId="{4A1E14CB-5342-4076-993E-5A9403F274BB}" destId="{499D91A5-E447-46FF-801D-798D11874F08}" srcOrd="3" destOrd="0" presId="urn:microsoft.com/office/officeart/2009/3/layout/SubStepProcess"/>
    <dgm:cxn modelId="{CDC9A1AA-B16C-4AA6-BF4C-BE1575E596A9}" type="presParOf" srcId="{4A1E14CB-5342-4076-993E-5A9403F274BB}" destId="{F4663516-4201-46C0-9DDC-CAD72C4090A7}" srcOrd="4" destOrd="0" presId="urn:microsoft.com/office/officeart/2009/3/layout/SubStepProcess"/>
    <dgm:cxn modelId="{A1FC8C9B-6850-4858-9DD3-E569FEB58476}" type="presParOf" srcId="{D5558784-69AE-47A6-8454-A7116A20F705}" destId="{01B76EA5-FAE8-4C4E-A479-B50769782BB2}" srcOrd="6" destOrd="0" presId="urn:microsoft.com/office/officeart/2009/3/layout/SubStepProcess"/>
    <dgm:cxn modelId="{38D813EF-3C40-49E3-B663-C94AC43E5175}" type="presParOf" srcId="{D5558784-69AE-47A6-8454-A7116A20F705}" destId="{86259AFC-E1C1-4EA8-95E8-3C1CD800F11A}" srcOrd="7" destOrd="0" presId="urn:microsoft.com/office/officeart/2009/3/layout/SubStepProcess"/>
    <dgm:cxn modelId="{776AC176-400C-493D-9A9C-58CFABF29601}" type="presParOf" srcId="{D5558784-69AE-47A6-8454-A7116A20F705}" destId="{8819FF66-4F90-4545-BBE8-B9FFE10C47B7}" srcOrd="8" destOrd="0" presId="urn:microsoft.com/office/officeart/2009/3/layout/SubStepProcess"/>
    <dgm:cxn modelId="{9544574D-F4E7-47ED-BBBB-2C60986DA955}" type="presParOf" srcId="{8819FF66-4F90-4545-BBE8-B9FFE10C47B7}" destId="{5133DC68-9CFF-4146-818E-F8D6ADEE437E}" srcOrd="0" destOrd="0" presId="urn:microsoft.com/office/officeart/2009/3/layout/SubStepProcess"/>
    <dgm:cxn modelId="{20378F56-7BC0-499C-9759-BBE8C45D49A2}" type="presParOf" srcId="{8819FF66-4F90-4545-BBE8-B9FFE10C47B7}" destId="{87ECF979-80FB-465A-A3F6-92A9E049AC47}" srcOrd="1" destOrd="0" presId="urn:microsoft.com/office/officeart/2009/3/layout/SubStepProcess"/>
    <dgm:cxn modelId="{5B55565B-4364-43E0-AB7B-55B92908E002}" type="presParOf" srcId="{8819FF66-4F90-4545-BBE8-B9FFE10C47B7}" destId="{0A5FE634-E776-4BB0-965A-9D6D859CCA99}" srcOrd="2" destOrd="0" presId="urn:microsoft.com/office/officeart/2009/3/layout/SubStepProcess"/>
    <dgm:cxn modelId="{0247294D-9A51-474A-8617-0865548406AC}" type="presParOf" srcId="{8819FF66-4F90-4545-BBE8-B9FFE10C47B7}" destId="{AEB1B5A5-B10F-4593-BAB6-04D2157BF4DA}" srcOrd="3" destOrd="0" presId="urn:microsoft.com/office/officeart/2009/3/layout/SubStepProcess"/>
    <dgm:cxn modelId="{E7E77AD2-AB71-42D0-BA8A-926A18003FFF}" type="presParOf" srcId="{8819FF66-4F90-4545-BBE8-B9FFE10C47B7}" destId="{29C02966-22FC-4541-A291-A0E4F80D4950}" srcOrd="4" destOrd="0" presId="urn:microsoft.com/office/officeart/2009/3/layout/SubStepProcess"/>
    <dgm:cxn modelId="{B303D29B-0291-4029-B3F6-84FCA3D9C3E8}" type="presParOf" srcId="{D5558784-69AE-47A6-8454-A7116A20F705}" destId="{AFE69BB5-F7C5-422D-B09A-BF5B1C5763C0}" srcOrd="9" destOrd="0" presId="urn:microsoft.com/office/officeart/2009/3/layout/SubStepProcess"/>
    <dgm:cxn modelId="{DAC4E8DF-6CBF-42F4-98C5-5522F3167C54}" type="presParOf" srcId="{D5558784-69AE-47A6-8454-A7116A20F705}" destId="{B292BDF3-9657-493A-A692-2DE314AAAF33}" srcOrd="10" destOrd="0" presId="urn:microsoft.com/office/officeart/2009/3/layout/SubStepProcess"/>
    <dgm:cxn modelId="{87A1CE65-6777-4935-86A4-0792296809E9}" type="presParOf" srcId="{D5558784-69AE-47A6-8454-A7116A20F705}" destId="{FC020609-47E6-4479-9566-D2417EF2F68F}" srcOrd="11" destOrd="0" presId="urn:microsoft.com/office/officeart/2009/3/layout/SubStepProcess"/>
    <dgm:cxn modelId="{499F344A-6272-448E-90EF-65B221F7296C}" type="presParOf" srcId="{FC020609-47E6-4479-9566-D2417EF2F68F}" destId="{A2E36643-F99A-4F28-A661-F64C2BC6A52C}" srcOrd="0" destOrd="0" presId="urn:microsoft.com/office/officeart/2009/3/layout/SubStepProcess"/>
    <dgm:cxn modelId="{58122393-EFF5-4696-BDD9-F500C16AEA30}" type="presParOf" srcId="{FC020609-47E6-4479-9566-D2417EF2F68F}" destId="{F3069923-5ED2-483C-89CB-BF39CEBC43CA}" srcOrd="1" destOrd="0" presId="urn:microsoft.com/office/officeart/2009/3/layout/SubStepProcess"/>
    <dgm:cxn modelId="{F440B4FF-00E4-489F-B180-2156E9927891}" type="presParOf" srcId="{FC020609-47E6-4479-9566-D2417EF2F68F}" destId="{62036501-38FE-481F-8031-A3C734B514D4}" srcOrd="2" destOrd="0" presId="urn:microsoft.com/office/officeart/2009/3/layout/SubStepProcess"/>
    <dgm:cxn modelId="{488462C3-52E8-46AD-A0CB-312137DEEDA4}" type="presParOf" srcId="{FC020609-47E6-4479-9566-D2417EF2F68F}" destId="{85781CE5-6DD2-47CA-A390-22123AF06B0E}" srcOrd="3" destOrd="0" presId="urn:microsoft.com/office/officeart/2009/3/layout/SubStepProcess"/>
    <dgm:cxn modelId="{09962C12-1775-43C5-9560-13EF675A8F9E}" type="presParOf" srcId="{FC020609-47E6-4479-9566-D2417EF2F68F}" destId="{21A0BF33-F4F9-41C9-BA7A-DA4BB1EEE7BE}" srcOrd="4" destOrd="0" presId="urn:microsoft.com/office/officeart/2009/3/layout/SubStepProcess"/>
    <dgm:cxn modelId="{B46FF120-2B39-4B09-9732-F263FE7FE0E2}" type="presParOf" srcId="{D5558784-69AE-47A6-8454-A7116A20F705}" destId="{5D8C5B50-5DCB-4C38-A22C-52E9F39DAD55}" srcOrd="12" destOrd="0" presId="urn:microsoft.com/office/officeart/2009/3/layout/SubStepProcess"/>
    <dgm:cxn modelId="{82CE66D3-B6E7-4F35-9257-EDD37F26CAA8}" type="presParOf" srcId="{D5558784-69AE-47A6-8454-A7116A20F705}" destId="{5347077C-BF4D-4A71-AB9E-4FC6804DDFBE}" srcOrd="13" destOrd="0" presId="urn:microsoft.com/office/officeart/2009/3/layout/SubStepProcess"/>
    <dgm:cxn modelId="{34F336F3-B263-4EB9-8D02-D8F47D372424}" type="presParOf" srcId="{D5558784-69AE-47A6-8454-A7116A20F705}" destId="{DE4F8987-7717-4725-8100-BA0F9D085144}" srcOrd="14" destOrd="0" presId="urn:microsoft.com/office/officeart/2009/3/layout/SubStepProcess"/>
    <dgm:cxn modelId="{A74C0C71-8189-480E-9470-DE19ABF02721}" type="presParOf" srcId="{DE4F8987-7717-4725-8100-BA0F9D085144}" destId="{E61ADB21-75A0-46A1-BA6B-C14A5E2273FC}" srcOrd="0" destOrd="0" presId="urn:microsoft.com/office/officeart/2009/3/layout/SubStepProcess"/>
    <dgm:cxn modelId="{A94EF362-469E-4D5F-A185-55FFF9CB90D9}" type="presParOf" srcId="{DE4F8987-7717-4725-8100-BA0F9D085144}" destId="{820558BE-A822-4626-8634-02759AD150FB}" srcOrd="1" destOrd="0" presId="urn:microsoft.com/office/officeart/2009/3/layout/SubStepProcess"/>
    <dgm:cxn modelId="{54E284B8-05B8-480D-9DB5-037EAA8CAE7A}" type="presParOf" srcId="{DE4F8987-7717-4725-8100-BA0F9D085144}" destId="{A8869550-1D09-4D47-9411-919E445FEBA0}" srcOrd="2" destOrd="0" presId="urn:microsoft.com/office/officeart/2009/3/layout/SubStepProcess"/>
    <dgm:cxn modelId="{27203B44-AD6C-44A6-A3C4-C631D298384F}" type="presParOf" srcId="{DE4F8987-7717-4725-8100-BA0F9D085144}" destId="{C118794A-77CF-4AD5-8F43-8E6AD9331F92}" srcOrd="3" destOrd="0" presId="urn:microsoft.com/office/officeart/2009/3/layout/SubStepProcess"/>
    <dgm:cxn modelId="{24F3CDFE-2ABA-40D8-B93B-DB24B06700D0}" type="presParOf" srcId="{DE4F8987-7717-4725-8100-BA0F9D085144}" destId="{6C90CFB8-C0A7-47E9-8352-E6644D409F84}" srcOrd="4" destOrd="0" presId="urn:microsoft.com/office/officeart/2009/3/layout/SubStepProcess"/>
    <dgm:cxn modelId="{7BCE7C00-963A-4CA5-8B29-6D1B02BF768F}" type="presParOf" srcId="{D5558784-69AE-47A6-8454-A7116A20F705}" destId="{2F966FAB-FB13-469D-BCC2-19714199998C}" srcOrd="15" destOrd="0" presId="urn:microsoft.com/office/officeart/2009/3/layout/SubStepProcess"/>
    <dgm:cxn modelId="{5A59A5BC-E4B6-445E-90FD-021AB9F93822}" type="presParOf" srcId="{D5558784-69AE-47A6-8454-A7116A20F705}" destId="{4394B175-921C-4B88-8EB7-FB778E4F5FA4}" srcOrd="16" destOrd="0" presId="urn:microsoft.com/office/officeart/2009/3/layout/SubStepProcess"/>
    <dgm:cxn modelId="{0639432A-CD2D-4AF0-AA6D-ACB441D66ECC}" type="presParOf" srcId="{D5558784-69AE-47A6-8454-A7116A20F705}" destId="{211FDCDA-780E-44D3-8E6E-1548D519FBAF}" srcOrd="17" destOrd="0" presId="urn:microsoft.com/office/officeart/2009/3/layout/SubStepProcess"/>
    <dgm:cxn modelId="{D2313978-AED0-4F14-92DB-E2B05DDE863E}" type="presParOf" srcId="{211FDCDA-780E-44D3-8E6E-1548D519FBAF}" destId="{74A0000C-3A23-4CE3-9C2A-B9C7675FCBB4}" srcOrd="0" destOrd="0" presId="urn:microsoft.com/office/officeart/2009/3/layout/SubStepProcess"/>
    <dgm:cxn modelId="{E24AEC05-25CF-4970-9BF2-1585A2502F23}" type="presParOf" srcId="{211FDCDA-780E-44D3-8E6E-1548D519FBAF}" destId="{6455E6DC-EF8E-4B3F-B4D6-0583095630DA}" srcOrd="1" destOrd="0" presId="urn:microsoft.com/office/officeart/2009/3/layout/SubStepProcess"/>
    <dgm:cxn modelId="{2EDB63D6-ECF2-48BC-AFA2-4BEBE1958F82}" type="presParOf" srcId="{211FDCDA-780E-44D3-8E6E-1548D519FBAF}" destId="{CDBB05AA-B0D3-4BB0-B330-ABE54D16E5E8}" srcOrd="2" destOrd="0" presId="urn:microsoft.com/office/officeart/2009/3/layout/SubStepProcess"/>
    <dgm:cxn modelId="{0385C487-5926-4FEE-9ABA-3E5AB9E343C7}" type="presParOf" srcId="{211FDCDA-780E-44D3-8E6E-1548D519FBAF}" destId="{310F2B49-B7C3-4C81-8C1E-89A11558D39A}" srcOrd="3" destOrd="0" presId="urn:microsoft.com/office/officeart/2009/3/layout/SubStepProcess"/>
    <dgm:cxn modelId="{087DB937-6379-49C3-84AB-690E292F6E7A}" type="presParOf" srcId="{211FDCDA-780E-44D3-8E6E-1548D519FBAF}" destId="{C1C30443-AF68-438C-8EC9-E64F7EBD7F28}" srcOrd="4" destOrd="0" presId="urn:microsoft.com/office/officeart/2009/3/layout/SubStepProcess"/>
    <dgm:cxn modelId="{B3B3A302-E753-429C-B454-80BF9699BDC0}" type="presParOf" srcId="{D5558784-69AE-47A6-8454-A7116A20F705}" destId="{2B8D2BE8-9DEB-4BC9-9433-EBA38CC8340E}" srcOrd="18" destOrd="0" presId="urn:microsoft.com/office/officeart/2009/3/layout/SubStepProcess"/>
    <dgm:cxn modelId="{334E0C63-B868-4542-9F64-6A3F766BC0CE}" type="presParOf" srcId="{D5558784-69AE-47A6-8454-A7116A20F705}" destId="{6CF1299B-7F81-4D80-90AD-F8460A10F041}" srcOrd="19" destOrd="0" presId="urn:microsoft.com/office/officeart/2009/3/layout/SubStepProcess"/>
    <dgm:cxn modelId="{8AD02F58-D2D9-4295-88DD-2E5B30B72789}" type="presParOf" srcId="{D5558784-69AE-47A6-8454-A7116A20F705}" destId="{DAEBC86C-491A-4A34-AEA0-74EC3AE819C5}" srcOrd="20" destOrd="0" presId="urn:microsoft.com/office/officeart/2009/3/layout/SubStepProcess"/>
    <dgm:cxn modelId="{A6BBEFCE-EEC9-454A-8B35-C9FC3A12F8B2}" type="presParOf" srcId="{DAEBC86C-491A-4A34-AEA0-74EC3AE819C5}" destId="{49C45056-5DA5-43DC-8A64-BB2458946515}" srcOrd="0" destOrd="0" presId="urn:microsoft.com/office/officeart/2009/3/layout/SubStepProcess"/>
    <dgm:cxn modelId="{43A651DF-EB39-4C20-A061-A8A86B315297}" type="presParOf" srcId="{DAEBC86C-491A-4A34-AEA0-74EC3AE819C5}" destId="{6D854A2D-2872-4EC9-81E8-B62B8F6F9096}" srcOrd="1" destOrd="0" presId="urn:microsoft.com/office/officeart/2009/3/layout/SubStepProcess"/>
    <dgm:cxn modelId="{4962F463-345F-4C42-95AE-F329A98AB2C1}" type="presParOf" srcId="{DAEBC86C-491A-4A34-AEA0-74EC3AE819C5}" destId="{5E52B768-2618-4AF7-AB2F-E7F023BA36D5}" srcOrd="2" destOrd="0" presId="urn:microsoft.com/office/officeart/2009/3/layout/SubStepProcess"/>
    <dgm:cxn modelId="{23E5C0D2-3DA5-4179-A27D-062F9E60512A}" type="presParOf" srcId="{DAEBC86C-491A-4A34-AEA0-74EC3AE819C5}" destId="{961724C0-4EB2-46A0-B4CB-9AD37B1EC235}" srcOrd="3" destOrd="0" presId="urn:microsoft.com/office/officeart/2009/3/layout/SubStepProcess"/>
    <dgm:cxn modelId="{22A13671-AB71-4DD6-8E02-33730FE45771}" type="presParOf" srcId="{DAEBC86C-491A-4A34-AEA0-74EC3AE819C5}" destId="{C23A5254-4646-4603-B049-E106941834F2}" srcOrd="4" destOrd="0" presId="urn:microsoft.com/office/officeart/2009/3/layout/SubStepProcess"/>
    <dgm:cxn modelId="{72F246AD-B84B-43DE-990B-C330A476545E}" type="presParOf" srcId="{8EBA1B9F-4BD7-4330-AC05-DE4AABF676BB}" destId="{54DB97C3-91B1-4D1A-89C6-19FF6E874AA5}" srcOrd="3" destOrd="0" presId="urn:microsoft.com/office/officeart/2009/3/layout/SubStepProcess"/>
    <dgm:cxn modelId="{7E7B7A4A-909D-4BD7-99FF-CD9CD28ED11F}" type="presParOf" srcId="{8EBA1B9F-4BD7-4330-AC05-DE4AABF676BB}" destId="{C068A876-EA0B-411A-A280-B7C0AE720FF8}" srcOrd="4"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8441239-A9AC-4A17-B1D9-D544A2DF50FA}" type="doc">
      <dgm:prSet loTypeId="urn:microsoft.com/office/officeart/2009/3/layout/SubStepProcess" loCatId="process" qsTypeId="urn:microsoft.com/office/officeart/2005/8/quickstyle/simple1" qsCatId="simple" csTypeId="urn:microsoft.com/office/officeart/2005/8/colors/accent1_2" csCatId="accent1" phldr="1"/>
      <dgm:spPr/>
    </dgm:pt>
    <dgm:pt modelId="{9AA574CB-8BD6-4B60-9457-7F32A38BC259}">
      <dgm:prSet phldrT="[文本]"/>
      <dgm:spPr/>
      <dgm:t>
        <a:bodyPr/>
        <a:lstStyle/>
        <a:p>
          <a:r>
            <a:rPr lang="zh-CN" altLang="en-US" dirty="0" smtClean="0">
              <a:solidFill>
                <a:schemeClr val="tx1"/>
              </a:solidFill>
            </a:rPr>
            <a:t>报告阶段</a:t>
          </a:r>
          <a:endParaRPr lang="zh-CN" altLang="en-US" dirty="0">
            <a:solidFill>
              <a:schemeClr val="tx1"/>
            </a:solidFill>
          </a:endParaRPr>
        </a:p>
      </dgm:t>
    </dgm:pt>
    <dgm:pt modelId="{3D6FB2E1-2607-406D-8CE4-3F72C4E2BA7C}" type="parTrans" cxnId="{A3639D38-BD0E-4E75-8C5A-FD32AEF97BB3}">
      <dgm:prSet/>
      <dgm:spPr/>
      <dgm:t>
        <a:bodyPr/>
        <a:lstStyle/>
        <a:p>
          <a:endParaRPr lang="zh-CN" altLang="en-US">
            <a:solidFill>
              <a:schemeClr val="tx1"/>
            </a:solidFill>
          </a:endParaRPr>
        </a:p>
      </dgm:t>
    </dgm:pt>
    <dgm:pt modelId="{4A652E1D-2EE7-4BC2-8CB9-E0474E09EDEF}" type="sibTrans" cxnId="{A3639D38-BD0E-4E75-8C5A-FD32AEF97BB3}">
      <dgm:prSet/>
      <dgm:spPr/>
      <dgm:t>
        <a:bodyPr/>
        <a:lstStyle/>
        <a:p>
          <a:endParaRPr lang="zh-CN" altLang="en-US">
            <a:solidFill>
              <a:schemeClr val="tx1"/>
            </a:solidFill>
          </a:endParaRPr>
        </a:p>
      </dgm:t>
    </dgm:pt>
    <dgm:pt modelId="{515E8D39-EE43-4CF9-AE44-EB5AD2DEDA4C}">
      <dgm:prSet phldrT="[文本]"/>
      <dgm:spPr/>
      <dgm:t>
        <a:bodyPr/>
        <a:lstStyle/>
        <a:p>
          <a:r>
            <a:rPr lang="zh-CN" altLang="en-US" dirty="0" smtClean="0">
              <a:solidFill>
                <a:schemeClr val="tx1"/>
              </a:solidFill>
            </a:rPr>
            <a:t>收尾工作</a:t>
          </a:r>
          <a:endParaRPr lang="zh-CN" altLang="en-US" dirty="0">
            <a:solidFill>
              <a:schemeClr val="tx1"/>
            </a:solidFill>
          </a:endParaRPr>
        </a:p>
      </dgm:t>
    </dgm:pt>
    <dgm:pt modelId="{B2560591-043A-4862-B1B2-0DA05D591A3D}" type="parTrans" cxnId="{322BF860-B2C1-4A76-A0F2-7BBCF8CB6CE3}">
      <dgm:prSet/>
      <dgm:spPr/>
      <dgm:t>
        <a:bodyPr/>
        <a:lstStyle/>
        <a:p>
          <a:endParaRPr lang="zh-CN" altLang="en-US">
            <a:solidFill>
              <a:schemeClr val="tx1"/>
            </a:solidFill>
          </a:endParaRPr>
        </a:p>
      </dgm:t>
    </dgm:pt>
    <dgm:pt modelId="{EB64C95B-1BEB-4C23-B9D6-E4B6F9AC0739}" type="sibTrans" cxnId="{322BF860-B2C1-4A76-A0F2-7BBCF8CB6CE3}">
      <dgm:prSet/>
      <dgm:spPr/>
      <dgm:t>
        <a:bodyPr/>
        <a:lstStyle/>
        <a:p>
          <a:endParaRPr lang="zh-CN" altLang="en-US">
            <a:solidFill>
              <a:schemeClr val="tx1"/>
            </a:solidFill>
          </a:endParaRPr>
        </a:p>
      </dgm:t>
    </dgm:pt>
    <dgm:pt modelId="{507A00EF-D161-42BB-81D5-14EBF46FE27C}">
      <dgm:prSet phldrT="[文本]"/>
      <dgm:spPr/>
      <dgm:t>
        <a:bodyPr/>
        <a:lstStyle/>
        <a:p>
          <a:r>
            <a:rPr lang="zh-CN" altLang="en-US" dirty="0" smtClean="0">
              <a:solidFill>
                <a:schemeClr val="tx1"/>
              </a:solidFill>
            </a:rPr>
            <a:t>执行层面的报告</a:t>
          </a:r>
          <a:endParaRPr lang="zh-CN" altLang="en-US" dirty="0">
            <a:solidFill>
              <a:schemeClr val="tx1"/>
            </a:solidFill>
          </a:endParaRPr>
        </a:p>
      </dgm:t>
    </dgm:pt>
    <dgm:pt modelId="{56216E89-3D74-4594-924D-B203A1971CE1}" type="parTrans" cxnId="{9AAC40C6-0694-42B9-A6FE-79FA65EFBD8B}">
      <dgm:prSet/>
      <dgm:spPr/>
      <dgm:t>
        <a:bodyPr/>
        <a:lstStyle/>
        <a:p>
          <a:endParaRPr lang="zh-CN" altLang="en-US">
            <a:solidFill>
              <a:schemeClr val="tx1"/>
            </a:solidFill>
          </a:endParaRPr>
        </a:p>
      </dgm:t>
    </dgm:pt>
    <dgm:pt modelId="{F3EA927D-AD84-4CC8-9169-D8032303D384}" type="sibTrans" cxnId="{9AAC40C6-0694-42B9-A6FE-79FA65EFBD8B}">
      <dgm:prSet/>
      <dgm:spPr/>
      <dgm:t>
        <a:bodyPr/>
        <a:lstStyle/>
        <a:p>
          <a:endParaRPr lang="zh-CN" altLang="en-US">
            <a:solidFill>
              <a:schemeClr val="tx1"/>
            </a:solidFill>
          </a:endParaRPr>
        </a:p>
      </dgm:t>
    </dgm:pt>
    <dgm:pt modelId="{49A39D73-7757-4313-82B3-D26DE95A2B13}">
      <dgm:prSet phldrT="[文本]"/>
      <dgm:spPr/>
      <dgm:t>
        <a:bodyPr/>
        <a:lstStyle/>
        <a:p>
          <a:r>
            <a:rPr lang="zh-CN" altLang="en-US" dirty="0" smtClean="0">
              <a:solidFill>
                <a:schemeClr val="tx1"/>
              </a:solidFill>
            </a:rPr>
            <a:t>技术报告</a:t>
          </a:r>
          <a:endParaRPr lang="zh-CN" altLang="en-US" dirty="0">
            <a:solidFill>
              <a:schemeClr val="tx1"/>
            </a:solidFill>
          </a:endParaRPr>
        </a:p>
      </dgm:t>
    </dgm:pt>
    <dgm:pt modelId="{91FB39B1-2AAA-4AA9-A45A-F7F123C3970E}" type="parTrans" cxnId="{E7B47DC7-A4DB-4522-9066-816C03F1B281}">
      <dgm:prSet/>
      <dgm:spPr/>
      <dgm:t>
        <a:bodyPr/>
        <a:lstStyle/>
        <a:p>
          <a:endParaRPr lang="zh-CN" altLang="en-US">
            <a:solidFill>
              <a:schemeClr val="tx1"/>
            </a:solidFill>
          </a:endParaRPr>
        </a:p>
      </dgm:t>
    </dgm:pt>
    <dgm:pt modelId="{6D964C4E-332F-4A90-BE62-9217A27720AF}" type="sibTrans" cxnId="{E7B47DC7-A4DB-4522-9066-816C03F1B281}">
      <dgm:prSet/>
      <dgm:spPr/>
      <dgm:t>
        <a:bodyPr/>
        <a:lstStyle/>
        <a:p>
          <a:endParaRPr lang="zh-CN" altLang="en-US">
            <a:solidFill>
              <a:schemeClr val="tx1"/>
            </a:solidFill>
          </a:endParaRPr>
        </a:p>
      </dgm:t>
    </dgm:pt>
    <dgm:pt modelId="{A40D2ED4-5089-4756-B3D3-D9ACDEE2F35E}">
      <dgm:prSet phldrT="[文本]"/>
      <dgm:spPr/>
      <dgm:t>
        <a:bodyPr/>
        <a:lstStyle/>
        <a:p>
          <a:r>
            <a:rPr lang="zh-CN" altLang="en-US" dirty="0" smtClean="0">
              <a:solidFill>
                <a:schemeClr val="tx1"/>
              </a:solidFill>
            </a:rPr>
            <a:t>提交报告</a:t>
          </a:r>
          <a:endParaRPr lang="zh-CN" altLang="en-US" dirty="0">
            <a:solidFill>
              <a:schemeClr val="tx1"/>
            </a:solidFill>
          </a:endParaRPr>
        </a:p>
      </dgm:t>
    </dgm:pt>
    <dgm:pt modelId="{6F1F9B75-A2AB-4EA7-9AAA-2DC4EC92FB59}" type="parTrans" cxnId="{19AC5AA0-F60B-4596-A4EE-74C56FDB9BBD}">
      <dgm:prSet/>
      <dgm:spPr/>
      <dgm:t>
        <a:bodyPr/>
        <a:lstStyle/>
        <a:p>
          <a:endParaRPr lang="zh-CN" altLang="en-US">
            <a:solidFill>
              <a:schemeClr val="tx1"/>
            </a:solidFill>
          </a:endParaRPr>
        </a:p>
      </dgm:t>
    </dgm:pt>
    <dgm:pt modelId="{8958B464-EA6F-43C8-A51F-5B7B18B3D9DE}" type="sibTrans" cxnId="{19AC5AA0-F60B-4596-A4EE-74C56FDB9BBD}">
      <dgm:prSet/>
      <dgm:spPr/>
      <dgm:t>
        <a:bodyPr/>
        <a:lstStyle/>
        <a:p>
          <a:endParaRPr lang="zh-CN" altLang="en-US">
            <a:solidFill>
              <a:schemeClr val="tx1"/>
            </a:solidFill>
          </a:endParaRPr>
        </a:p>
      </dgm:t>
    </dgm:pt>
    <dgm:pt modelId="{676FB991-AF70-433B-B6EC-D1AA7F535006}">
      <dgm:prSet phldrT="[文本]"/>
      <dgm:spPr/>
      <dgm:t>
        <a:bodyPr/>
        <a:lstStyle/>
        <a:p>
          <a:r>
            <a:rPr lang="zh-CN" altLang="en-US" dirty="0" smtClean="0">
              <a:solidFill>
                <a:schemeClr val="tx1"/>
              </a:solidFill>
            </a:rPr>
            <a:t>结果沟通与交接</a:t>
          </a:r>
          <a:endParaRPr lang="en-US" altLang="zh-CN" dirty="0" smtClean="0">
            <a:solidFill>
              <a:schemeClr val="tx1"/>
            </a:solidFill>
          </a:endParaRPr>
        </a:p>
      </dgm:t>
    </dgm:pt>
    <dgm:pt modelId="{BE98D2B3-C124-4A5C-8837-93C2728078FA}" type="parTrans" cxnId="{2930830F-3E30-4378-9980-07F7C0F38C5D}">
      <dgm:prSet/>
      <dgm:spPr/>
      <dgm:t>
        <a:bodyPr/>
        <a:lstStyle/>
        <a:p>
          <a:endParaRPr lang="zh-CN" altLang="en-US">
            <a:solidFill>
              <a:schemeClr val="tx1"/>
            </a:solidFill>
          </a:endParaRPr>
        </a:p>
      </dgm:t>
    </dgm:pt>
    <dgm:pt modelId="{EFD78A4E-B1A7-4717-9605-F326ED6641FF}" type="sibTrans" cxnId="{2930830F-3E30-4378-9980-07F7C0F38C5D}">
      <dgm:prSet/>
      <dgm:spPr/>
      <dgm:t>
        <a:bodyPr/>
        <a:lstStyle/>
        <a:p>
          <a:endParaRPr lang="zh-CN" altLang="en-US">
            <a:solidFill>
              <a:schemeClr val="tx1"/>
            </a:solidFill>
          </a:endParaRPr>
        </a:p>
      </dgm:t>
    </dgm:pt>
    <dgm:pt modelId="{938FC23B-34E6-4F1E-B439-6E88C67D2663}">
      <dgm:prSet phldrT="[文本]"/>
      <dgm:spPr/>
      <dgm:t>
        <a:bodyPr/>
        <a:lstStyle/>
        <a:p>
          <a:r>
            <a:rPr lang="zh-CN" altLang="en-US" dirty="0" smtClean="0">
              <a:solidFill>
                <a:schemeClr val="tx1"/>
              </a:solidFill>
            </a:rPr>
            <a:t>正式报告</a:t>
          </a:r>
          <a:endParaRPr lang="en-US" altLang="zh-CN" dirty="0" smtClean="0">
            <a:solidFill>
              <a:schemeClr val="tx1"/>
            </a:solidFill>
          </a:endParaRPr>
        </a:p>
      </dgm:t>
    </dgm:pt>
    <dgm:pt modelId="{5561B089-4B90-4444-8AE2-E407936F17DD}" type="parTrans" cxnId="{27AFEC68-B35F-4D66-ABA8-1305ED5EC43B}">
      <dgm:prSet/>
      <dgm:spPr/>
      <dgm:t>
        <a:bodyPr/>
        <a:lstStyle/>
        <a:p>
          <a:endParaRPr lang="zh-CN" altLang="en-US">
            <a:solidFill>
              <a:schemeClr val="tx1"/>
            </a:solidFill>
          </a:endParaRPr>
        </a:p>
      </dgm:t>
    </dgm:pt>
    <dgm:pt modelId="{3BE31B4A-E2BC-4CB3-BCB8-BA21E2C06FF9}" type="sibTrans" cxnId="{27AFEC68-B35F-4D66-ABA8-1305ED5EC43B}">
      <dgm:prSet/>
      <dgm:spPr/>
      <dgm:t>
        <a:bodyPr/>
        <a:lstStyle/>
        <a:p>
          <a:endParaRPr lang="zh-CN" altLang="en-US">
            <a:solidFill>
              <a:schemeClr val="tx1"/>
            </a:solidFill>
          </a:endParaRPr>
        </a:p>
      </dgm:t>
    </dgm:pt>
    <dgm:pt modelId="{DD19C6BC-1FEF-4A40-BFE2-EC38CCC96C26}">
      <dgm:prSet phldrT="[文本]"/>
      <dgm:spPr/>
      <dgm:t>
        <a:bodyPr/>
        <a:lstStyle/>
        <a:p>
          <a:r>
            <a:rPr lang="zh-CN" altLang="en-US" dirty="0" smtClean="0">
              <a:solidFill>
                <a:schemeClr val="tx1"/>
              </a:solidFill>
            </a:rPr>
            <a:t>项目结项</a:t>
          </a:r>
          <a:endParaRPr lang="en-US" altLang="zh-CN" dirty="0" smtClean="0">
            <a:solidFill>
              <a:schemeClr val="tx1"/>
            </a:solidFill>
          </a:endParaRPr>
        </a:p>
      </dgm:t>
    </dgm:pt>
    <dgm:pt modelId="{258BC997-BF87-4058-9EAF-139732277069}" type="parTrans" cxnId="{72A944EC-1D96-4759-AC7A-AF7315B1D632}">
      <dgm:prSet/>
      <dgm:spPr/>
      <dgm:t>
        <a:bodyPr/>
        <a:lstStyle/>
        <a:p>
          <a:endParaRPr lang="zh-CN" altLang="en-US">
            <a:solidFill>
              <a:schemeClr val="tx1"/>
            </a:solidFill>
          </a:endParaRPr>
        </a:p>
      </dgm:t>
    </dgm:pt>
    <dgm:pt modelId="{5233369D-4731-4435-AD21-203EFA081B60}" type="sibTrans" cxnId="{72A944EC-1D96-4759-AC7A-AF7315B1D632}">
      <dgm:prSet/>
      <dgm:spPr/>
      <dgm:t>
        <a:bodyPr/>
        <a:lstStyle/>
        <a:p>
          <a:endParaRPr lang="zh-CN" altLang="en-US">
            <a:solidFill>
              <a:schemeClr val="tx1"/>
            </a:solidFill>
          </a:endParaRPr>
        </a:p>
      </dgm:t>
    </dgm:pt>
    <dgm:pt modelId="{B622D91D-A8BA-44C5-8018-22035E7BE782}">
      <dgm:prSet phldrT="[文本]"/>
      <dgm:spPr/>
      <dgm:t>
        <a:bodyPr/>
        <a:lstStyle/>
        <a:p>
          <a:r>
            <a:rPr lang="zh-CN" altLang="en-US" dirty="0" smtClean="0">
              <a:solidFill>
                <a:schemeClr val="tx1"/>
              </a:solidFill>
            </a:rPr>
            <a:t>问题与整改建议清单</a:t>
          </a:r>
          <a:endParaRPr lang="en-US" altLang="zh-CN" dirty="0" smtClean="0">
            <a:solidFill>
              <a:schemeClr val="tx1"/>
            </a:solidFill>
          </a:endParaRPr>
        </a:p>
      </dgm:t>
    </dgm:pt>
    <dgm:pt modelId="{6346D4D1-1B14-4552-A1F9-6C86032471E7}" type="parTrans" cxnId="{F5864DCB-FD20-49BA-9FFC-E1B45DFB06E1}">
      <dgm:prSet/>
      <dgm:spPr/>
      <dgm:t>
        <a:bodyPr/>
        <a:lstStyle/>
        <a:p>
          <a:endParaRPr lang="zh-CN" altLang="en-US">
            <a:solidFill>
              <a:schemeClr val="tx1"/>
            </a:solidFill>
          </a:endParaRPr>
        </a:p>
      </dgm:t>
    </dgm:pt>
    <dgm:pt modelId="{06F466E9-6DB6-4BD2-B846-C311FFF3B160}" type="sibTrans" cxnId="{F5864DCB-FD20-49BA-9FFC-E1B45DFB06E1}">
      <dgm:prSet/>
      <dgm:spPr/>
      <dgm:t>
        <a:bodyPr/>
        <a:lstStyle/>
        <a:p>
          <a:endParaRPr lang="zh-CN" altLang="en-US">
            <a:solidFill>
              <a:schemeClr val="tx1"/>
            </a:solidFill>
          </a:endParaRPr>
        </a:p>
      </dgm:t>
    </dgm:pt>
    <dgm:pt modelId="{8EBA1B9F-4BD7-4330-AC05-DE4AABF676BB}" type="pres">
      <dgm:prSet presAssocID="{48441239-A9AC-4A17-B1D9-D544A2DF50FA}" presName="Name0" presStyleCnt="0">
        <dgm:presLayoutVars>
          <dgm:chMax val="7"/>
          <dgm:dir/>
          <dgm:animOne val="branch"/>
        </dgm:presLayoutVars>
      </dgm:prSet>
      <dgm:spPr/>
    </dgm:pt>
    <dgm:pt modelId="{F2B8CC0C-4BAB-433E-9C0D-859B89A55943}" type="pres">
      <dgm:prSet presAssocID="{9AA574CB-8BD6-4B60-9457-7F32A38BC259}" presName="parTx1" presStyleLbl="node1" presStyleIdx="0" presStyleCnt="2"/>
      <dgm:spPr/>
      <dgm:t>
        <a:bodyPr/>
        <a:lstStyle/>
        <a:p>
          <a:endParaRPr lang="zh-CN" altLang="en-US"/>
        </a:p>
      </dgm:t>
    </dgm:pt>
    <dgm:pt modelId="{499F60E1-1548-4621-BDF2-D6765242C059}" type="pres">
      <dgm:prSet presAssocID="{9AA574CB-8BD6-4B60-9457-7F32A38BC259}" presName="spPre1" presStyleCnt="0"/>
      <dgm:spPr/>
    </dgm:pt>
    <dgm:pt modelId="{D5558784-69AE-47A6-8454-A7116A20F705}" type="pres">
      <dgm:prSet presAssocID="{9AA574CB-8BD6-4B60-9457-7F32A38BC259}" presName="chLin1" presStyleCnt="0"/>
      <dgm:spPr/>
    </dgm:pt>
    <dgm:pt modelId="{2B8D2BE8-9DEB-4BC9-9433-EBA38CC8340E}" type="pres">
      <dgm:prSet presAssocID="{56216E89-3D74-4594-924D-B203A1971CE1}" presName="Name11" presStyleLbl="parChTrans1D1" presStyleIdx="0" presStyleCnt="20"/>
      <dgm:spPr/>
    </dgm:pt>
    <dgm:pt modelId="{6CF1299B-7F81-4D80-90AD-F8460A10F041}" type="pres">
      <dgm:prSet presAssocID="{56216E89-3D74-4594-924D-B203A1971CE1}" presName="Name31" presStyleLbl="parChTrans1D1" presStyleIdx="1" presStyleCnt="20"/>
      <dgm:spPr/>
    </dgm:pt>
    <dgm:pt modelId="{DAEBC86C-491A-4A34-AEA0-74EC3AE819C5}" type="pres">
      <dgm:prSet presAssocID="{507A00EF-D161-42BB-81D5-14EBF46FE27C}" presName="txAndLines1" presStyleCnt="0"/>
      <dgm:spPr/>
    </dgm:pt>
    <dgm:pt modelId="{49C45056-5DA5-43DC-8A64-BB2458946515}" type="pres">
      <dgm:prSet presAssocID="{507A00EF-D161-42BB-81D5-14EBF46FE27C}" presName="anchor1" presStyleCnt="0"/>
      <dgm:spPr/>
    </dgm:pt>
    <dgm:pt modelId="{6D854A2D-2872-4EC9-81E8-B62B8F6F9096}" type="pres">
      <dgm:prSet presAssocID="{507A00EF-D161-42BB-81D5-14EBF46FE27C}" presName="backup1" presStyleCnt="0"/>
      <dgm:spPr/>
    </dgm:pt>
    <dgm:pt modelId="{5E52B768-2618-4AF7-AB2F-E7F023BA36D5}" type="pres">
      <dgm:prSet presAssocID="{507A00EF-D161-42BB-81D5-14EBF46FE27C}" presName="preLine1" presStyleLbl="parChTrans1D1" presStyleIdx="2" presStyleCnt="20"/>
      <dgm:spPr/>
    </dgm:pt>
    <dgm:pt modelId="{961724C0-4EB2-46A0-B4CB-9AD37B1EC235}" type="pres">
      <dgm:prSet presAssocID="{507A00EF-D161-42BB-81D5-14EBF46FE27C}" presName="desTx1" presStyleLbl="revTx" presStyleIdx="0" presStyleCnt="0">
        <dgm:presLayoutVars>
          <dgm:bulletEnabled val="1"/>
        </dgm:presLayoutVars>
      </dgm:prSet>
      <dgm:spPr/>
      <dgm:t>
        <a:bodyPr/>
        <a:lstStyle/>
        <a:p>
          <a:endParaRPr lang="zh-CN" altLang="en-US"/>
        </a:p>
      </dgm:t>
    </dgm:pt>
    <dgm:pt modelId="{C23A5254-4646-4603-B049-E106941834F2}" type="pres">
      <dgm:prSet presAssocID="{507A00EF-D161-42BB-81D5-14EBF46FE27C}" presName="postLine1" presStyleLbl="parChTrans1D1" presStyleIdx="3" presStyleCnt="20"/>
      <dgm:spPr/>
    </dgm:pt>
    <dgm:pt modelId="{BC51C923-1A9B-4A3E-ABA2-16AD21844962}" type="pres">
      <dgm:prSet presAssocID="{91FB39B1-2AAA-4AA9-A45A-F7F123C3970E}" presName="Name11" presStyleLbl="parChTrans1D1" presStyleIdx="4" presStyleCnt="20"/>
      <dgm:spPr/>
    </dgm:pt>
    <dgm:pt modelId="{89CF4884-4C70-48D3-89D5-34B6A9C83B29}" type="pres">
      <dgm:prSet presAssocID="{91FB39B1-2AAA-4AA9-A45A-F7F123C3970E}" presName="Name31" presStyleLbl="parChTrans1D1" presStyleIdx="5" presStyleCnt="20"/>
      <dgm:spPr/>
    </dgm:pt>
    <dgm:pt modelId="{4238E615-3455-4202-80A0-C44E8D444806}" type="pres">
      <dgm:prSet presAssocID="{49A39D73-7757-4313-82B3-D26DE95A2B13}" presName="txAndLines1" presStyleCnt="0"/>
      <dgm:spPr/>
    </dgm:pt>
    <dgm:pt modelId="{C0436AAF-27CF-4DFE-B8A1-61C39AE75ABC}" type="pres">
      <dgm:prSet presAssocID="{49A39D73-7757-4313-82B3-D26DE95A2B13}" presName="anchor1" presStyleCnt="0"/>
      <dgm:spPr/>
    </dgm:pt>
    <dgm:pt modelId="{234D2582-6313-40B5-B45B-F849854C50A7}" type="pres">
      <dgm:prSet presAssocID="{49A39D73-7757-4313-82B3-D26DE95A2B13}" presName="backup1" presStyleCnt="0"/>
      <dgm:spPr/>
    </dgm:pt>
    <dgm:pt modelId="{BA74D43F-7A7C-4D88-A078-D7B62BD76A45}" type="pres">
      <dgm:prSet presAssocID="{49A39D73-7757-4313-82B3-D26DE95A2B13}" presName="preLine1" presStyleLbl="parChTrans1D1" presStyleIdx="6" presStyleCnt="20"/>
      <dgm:spPr/>
    </dgm:pt>
    <dgm:pt modelId="{B9FDAD07-8A41-44E1-A0A0-EAB4DD354CEB}" type="pres">
      <dgm:prSet presAssocID="{49A39D73-7757-4313-82B3-D26DE95A2B13}" presName="desTx1" presStyleLbl="revTx" presStyleIdx="0" presStyleCnt="0">
        <dgm:presLayoutVars>
          <dgm:bulletEnabled val="1"/>
        </dgm:presLayoutVars>
      </dgm:prSet>
      <dgm:spPr/>
      <dgm:t>
        <a:bodyPr/>
        <a:lstStyle/>
        <a:p>
          <a:endParaRPr lang="zh-CN" altLang="en-US"/>
        </a:p>
      </dgm:t>
    </dgm:pt>
    <dgm:pt modelId="{D28BE072-73E2-423A-A6C9-CBC9DC41D585}" type="pres">
      <dgm:prSet presAssocID="{49A39D73-7757-4313-82B3-D26DE95A2B13}" presName="postLine1" presStyleLbl="parChTrans1D1" presStyleIdx="7" presStyleCnt="20"/>
      <dgm:spPr/>
    </dgm:pt>
    <dgm:pt modelId="{0431CD78-5E5C-4E23-8C22-C17495F3CAF6}" type="pres">
      <dgm:prSet presAssocID="{6F1F9B75-A2AB-4EA7-9AAA-2DC4EC92FB59}" presName="Name11" presStyleLbl="parChTrans1D1" presStyleIdx="8" presStyleCnt="20"/>
      <dgm:spPr/>
    </dgm:pt>
    <dgm:pt modelId="{4C56B89E-7B03-4977-8C87-00A0C32FB50B}" type="pres">
      <dgm:prSet presAssocID="{6F1F9B75-A2AB-4EA7-9AAA-2DC4EC92FB59}" presName="Name31" presStyleLbl="parChTrans1D1" presStyleIdx="9" presStyleCnt="20"/>
      <dgm:spPr/>
    </dgm:pt>
    <dgm:pt modelId="{EBAC2A1B-C689-4B34-9FF7-271B85F9019E}" type="pres">
      <dgm:prSet presAssocID="{A40D2ED4-5089-4756-B3D3-D9ACDEE2F35E}" presName="txAndLines1" presStyleCnt="0"/>
      <dgm:spPr/>
    </dgm:pt>
    <dgm:pt modelId="{53106D05-E949-44D7-B0CC-78871E209BA5}" type="pres">
      <dgm:prSet presAssocID="{A40D2ED4-5089-4756-B3D3-D9ACDEE2F35E}" presName="anchor1" presStyleCnt="0"/>
      <dgm:spPr/>
    </dgm:pt>
    <dgm:pt modelId="{7C488EEF-06C0-4428-A583-7DD650AC8015}" type="pres">
      <dgm:prSet presAssocID="{A40D2ED4-5089-4756-B3D3-D9ACDEE2F35E}" presName="backup1" presStyleCnt="0"/>
      <dgm:spPr/>
    </dgm:pt>
    <dgm:pt modelId="{9BC31D17-472F-4B17-B932-DC3C570399E3}" type="pres">
      <dgm:prSet presAssocID="{A40D2ED4-5089-4756-B3D3-D9ACDEE2F35E}" presName="preLine1" presStyleLbl="parChTrans1D1" presStyleIdx="10" presStyleCnt="20"/>
      <dgm:spPr/>
    </dgm:pt>
    <dgm:pt modelId="{18CA5724-3221-4A3A-8F62-FCB34B165B2A}" type="pres">
      <dgm:prSet presAssocID="{A40D2ED4-5089-4756-B3D3-D9ACDEE2F35E}" presName="desTx1" presStyleLbl="revTx" presStyleIdx="0" presStyleCnt="0">
        <dgm:presLayoutVars>
          <dgm:bulletEnabled val="1"/>
        </dgm:presLayoutVars>
      </dgm:prSet>
      <dgm:spPr/>
      <dgm:t>
        <a:bodyPr/>
        <a:lstStyle/>
        <a:p>
          <a:endParaRPr lang="zh-CN" altLang="en-US"/>
        </a:p>
      </dgm:t>
    </dgm:pt>
    <dgm:pt modelId="{1449ADEA-35A6-48B0-B3E9-3678C4C5C9AE}" type="pres">
      <dgm:prSet presAssocID="{A40D2ED4-5089-4756-B3D3-D9ACDEE2F35E}" presName="postLine1" presStyleLbl="parChTrans1D1" presStyleIdx="11" presStyleCnt="20"/>
      <dgm:spPr/>
    </dgm:pt>
    <dgm:pt modelId="{54DB97C3-91B1-4D1A-89C6-19FF6E874AA5}" type="pres">
      <dgm:prSet presAssocID="{9AA574CB-8BD6-4B60-9457-7F32A38BC259}" presName="spPost1" presStyleCnt="0"/>
      <dgm:spPr/>
    </dgm:pt>
    <dgm:pt modelId="{C068A876-EA0B-411A-A280-B7C0AE720FF8}" type="pres">
      <dgm:prSet presAssocID="{515E8D39-EE43-4CF9-AE44-EB5AD2DEDA4C}" presName="parTx2" presStyleLbl="node1" presStyleIdx="1" presStyleCnt="2"/>
      <dgm:spPr/>
      <dgm:t>
        <a:bodyPr/>
        <a:lstStyle/>
        <a:p>
          <a:endParaRPr lang="zh-CN" altLang="en-US"/>
        </a:p>
      </dgm:t>
    </dgm:pt>
    <dgm:pt modelId="{6E128835-AAF8-4CE9-8AB8-ACCB9608DFBF}" type="pres">
      <dgm:prSet presAssocID="{515E8D39-EE43-4CF9-AE44-EB5AD2DEDA4C}" presName="spPre2" presStyleCnt="0"/>
      <dgm:spPr/>
    </dgm:pt>
    <dgm:pt modelId="{5F56DFE9-2706-479E-ACE3-ABAB663EB839}" type="pres">
      <dgm:prSet presAssocID="{515E8D39-EE43-4CF9-AE44-EB5AD2DEDA4C}" presName="chLin2" presStyleCnt="0"/>
      <dgm:spPr/>
    </dgm:pt>
    <dgm:pt modelId="{6EA63329-60F6-49AE-AB97-3BC9DCE28F8A}" type="pres">
      <dgm:prSet presAssocID="{6346D4D1-1B14-4552-A1F9-6C86032471E7}" presName="Name45" presStyleLbl="parChTrans1D1" presStyleIdx="12" presStyleCnt="20"/>
      <dgm:spPr/>
    </dgm:pt>
    <dgm:pt modelId="{73835F26-920B-482A-97EE-EBCF1C77C29E}" type="pres">
      <dgm:prSet presAssocID="{B622D91D-A8BA-44C5-8018-22035E7BE782}" presName="txAndLines2" presStyleCnt="0"/>
      <dgm:spPr/>
    </dgm:pt>
    <dgm:pt modelId="{5DB2B03D-438C-431B-AC36-97E521B045D0}" type="pres">
      <dgm:prSet presAssocID="{B622D91D-A8BA-44C5-8018-22035E7BE782}" presName="anchor2" presStyleCnt="0"/>
      <dgm:spPr/>
    </dgm:pt>
    <dgm:pt modelId="{334D2511-353F-4EA0-8EB7-A7B6028A93B9}" type="pres">
      <dgm:prSet presAssocID="{B622D91D-A8BA-44C5-8018-22035E7BE782}" presName="backup2" presStyleCnt="0"/>
      <dgm:spPr/>
    </dgm:pt>
    <dgm:pt modelId="{F15BE5EC-2800-43C5-B56D-E5C37FFA22A5}" type="pres">
      <dgm:prSet presAssocID="{B622D91D-A8BA-44C5-8018-22035E7BE782}" presName="preLine2" presStyleLbl="parChTrans1D1" presStyleIdx="13" presStyleCnt="20"/>
      <dgm:spPr/>
    </dgm:pt>
    <dgm:pt modelId="{435C1A71-78AF-4D06-9170-FDF8A4833460}" type="pres">
      <dgm:prSet presAssocID="{B622D91D-A8BA-44C5-8018-22035E7BE782}" presName="desTx2" presStyleLbl="revTx" presStyleIdx="0" presStyleCnt="0">
        <dgm:presLayoutVars>
          <dgm:bulletEnabled val="1"/>
        </dgm:presLayoutVars>
      </dgm:prSet>
      <dgm:spPr/>
      <dgm:t>
        <a:bodyPr/>
        <a:lstStyle/>
        <a:p>
          <a:endParaRPr lang="zh-CN" altLang="en-US"/>
        </a:p>
      </dgm:t>
    </dgm:pt>
    <dgm:pt modelId="{B71F3D91-8836-423B-89F5-5BD7275060C4}" type="pres">
      <dgm:prSet presAssocID="{BE98D2B3-C124-4A5C-8837-93C2728078FA}" presName="Name45" presStyleLbl="parChTrans1D1" presStyleIdx="14" presStyleCnt="20"/>
      <dgm:spPr/>
    </dgm:pt>
    <dgm:pt modelId="{23351B53-50F9-406B-87FD-D9F4B40205D1}" type="pres">
      <dgm:prSet presAssocID="{676FB991-AF70-433B-B6EC-D1AA7F535006}" presName="txAndLines2" presStyleCnt="0"/>
      <dgm:spPr/>
    </dgm:pt>
    <dgm:pt modelId="{C27489BB-703D-4406-8E72-4F016907768C}" type="pres">
      <dgm:prSet presAssocID="{676FB991-AF70-433B-B6EC-D1AA7F535006}" presName="anchor2" presStyleCnt="0"/>
      <dgm:spPr/>
    </dgm:pt>
    <dgm:pt modelId="{7CA5F32E-B209-4229-85E3-933887B0713B}" type="pres">
      <dgm:prSet presAssocID="{676FB991-AF70-433B-B6EC-D1AA7F535006}" presName="backup2" presStyleCnt="0"/>
      <dgm:spPr/>
    </dgm:pt>
    <dgm:pt modelId="{DA57DC2C-8427-4782-B5B3-7985E87F2A55}" type="pres">
      <dgm:prSet presAssocID="{676FB991-AF70-433B-B6EC-D1AA7F535006}" presName="preLine2" presStyleLbl="parChTrans1D1" presStyleIdx="15" presStyleCnt="20"/>
      <dgm:spPr/>
    </dgm:pt>
    <dgm:pt modelId="{8E47069F-54C1-42D1-97ED-148CA10125EB}" type="pres">
      <dgm:prSet presAssocID="{676FB991-AF70-433B-B6EC-D1AA7F535006}" presName="desTx2" presStyleLbl="revTx" presStyleIdx="0" presStyleCnt="0">
        <dgm:presLayoutVars>
          <dgm:bulletEnabled val="1"/>
        </dgm:presLayoutVars>
      </dgm:prSet>
      <dgm:spPr/>
      <dgm:t>
        <a:bodyPr/>
        <a:lstStyle/>
        <a:p>
          <a:endParaRPr lang="zh-CN" altLang="en-US"/>
        </a:p>
      </dgm:t>
    </dgm:pt>
    <dgm:pt modelId="{7BDDAA24-B0A5-4B7A-B32E-E7CE9CA9A562}" type="pres">
      <dgm:prSet presAssocID="{5561B089-4B90-4444-8AE2-E407936F17DD}" presName="Name45" presStyleLbl="parChTrans1D1" presStyleIdx="16" presStyleCnt="20"/>
      <dgm:spPr/>
    </dgm:pt>
    <dgm:pt modelId="{75172FAA-9E6F-4B71-8C8D-C723F2AED62A}" type="pres">
      <dgm:prSet presAssocID="{938FC23B-34E6-4F1E-B439-6E88C67D2663}" presName="txAndLines2" presStyleCnt="0"/>
      <dgm:spPr/>
    </dgm:pt>
    <dgm:pt modelId="{8B1DF03A-58BB-4B8F-A1EF-70876EE98556}" type="pres">
      <dgm:prSet presAssocID="{938FC23B-34E6-4F1E-B439-6E88C67D2663}" presName="anchor2" presStyleCnt="0"/>
      <dgm:spPr/>
    </dgm:pt>
    <dgm:pt modelId="{7BED8321-00B4-4CDA-B18D-4A0DA1BB9985}" type="pres">
      <dgm:prSet presAssocID="{938FC23B-34E6-4F1E-B439-6E88C67D2663}" presName="backup2" presStyleCnt="0"/>
      <dgm:spPr/>
    </dgm:pt>
    <dgm:pt modelId="{60292371-F5BB-413F-A445-3ACAD8E13740}" type="pres">
      <dgm:prSet presAssocID="{938FC23B-34E6-4F1E-B439-6E88C67D2663}" presName="preLine2" presStyleLbl="parChTrans1D1" presStyleIdx="17" presStyleCnt="20"/>
      <dgm:spPr/>
    </dgm:pt>
    <dgm:pt modelId="{7805F6A3-296D-4DB6-B4AA-F8C6A1823B0D}" type="pres">
      <dgm:prSet presAssocID="{938FC23B-34E6-4F1E-B439-6E88C67D2663}" presName="desTx2" presStyleLbl="revTx" presStyleIdx="0" presStyleCnt="0">
        <dgm:presLayoutVars>
          <dgm:bulletEnabled val="1"/>
        </dgm:presLayoutVars>
      </dgm:prSet>
      <dgm:spPr/>
      <dgm:t>
        <a:bodyPr/>
        <a:lstStyle/>
        <a:p>
          <a:endParaRPr lang="zh-CN" altLang="en-US"/>
        </a:p>
      </dgm:t>
    </dgm:pt>
    <dgm:pt modelId="{AC0001DD-E275-402C-9489-418982F00431}" type="pres">
      <dgm:prSet presAssocID="{258BC997-BF87-4058-9EAF-139732277069}" presName="Name45" presStyleLbl="parChTrans1D1" presStyleIdx="18" presStyleCnt="20"/>
      <dgm:spPr/>
    </dgm:pt>
    <dgm:pt modelId="{F7FD1661-6272-407A-8F4E-3696C217AF62}" type="pres">
      <dgm:prSet presAssocID="{DD19C6BC-1FEF-4A40-BFE2-EC38CCC96C26}" presName="txAndLines2" presStyleCnt="0"/>
      <dgm:spPr/>
    </dgm:pt>
    <dgm:pt modelId="{E33126A1-06FC-4D96-8A4C-65C605F2B042}" type="pres">
      <dgm:prSet presAssocID="{DD19C6BC-1FEF-4A40-BFE2-EC38CCC96C26}" presName="anchor2" presStyleCnt="0"/>
      <dgm:spPr/>
    </dgm:pt>
    <dgm:pt modelId="{280138BF-339F-4ECC-AEF7-321BEB6131A2}" type="pres">
      <dgm:prSet presAssocID="{DD19C6BC-1FEF-4A40-BFE2-EC38CCC96C26}" presName="backup2" presStyleCnt="0"/>
      <dgm:spPr/>
    </dgm:pt>
    <dgm:pt modelId="{32D4E653-F06C-4990-9F76-A444CE688B8F}" type="pres">
      <dgm:prSet presAssocID="{DD19C6BC-1FEF-4A40-BFE2-EC38CCC96C26}" presName="preLine2" presStyleLbl="parChTrans1D1" presStyleIdx="19" presStyleCnt="20"/>
      <dgm:spPr/>
    </dgm:pt>
    <dgm:pt modelId="{9DA5D0A8-E195-4639-9D0E-6D1A266EC03D}" type="pres">
      <dgm:prSet presAssocID="{DD19C6BC-1FEF-4A40-BFE2-EC38CCC96C26}" presName="desTx2" presStyleLbl="revTx" presStyleIdx="0" presStyleCnt="0">
        <dgm:presLayoutVars>
          <dgm:bulletEnabled val="1"/>
        </dgm:presLayoutVars>
      </dgm:prSet>
      <dgm:spPr/>
      <dgm:t>
        <a:bodyPr/>
        <a:lstStyle/>
        <a:p>
          <a:endParaRPr lang="zh-CN" altLang="en-US"/>
        </a:p>
      </dgm:t>
    </dgm:pt>
  </dgm:ptLst>
  <dgm:cxnLst>
    <dgm:cxn modelId="{5531BFF6-25E3-4FD0-8D6C-CB19C86D084E}" type="presOf" srcId="{49A39D73-7757-4313-82B3-D26DE95A2B13}" destId="{B9FDAD07-8A41-44E1-A0A0-EAB4DD354CEB}" srcOrd="0" destOrd="0" presId="urn:microsoft.com/office/officeart/2009/3/layout/SubStepProcess"/>
    <dgm:cxn modelId="{1BFBDB07-6640-4E5A-8233-EBDAA068FE58}" type="presOf" srcId="{507A00EF-D161-42BB-81D5-14EBF46FE27C}" destId="{961724C0-4EB2-46A0-B4CB-9AD37B1EC235}" srcOrd="0" destOrd="0" presId="urn:microsoft.com/office/officeart/2009/3/layout/SubStepProcess"/>
    <dgm:cxn modelId="{60954FFA-F534-46F2-86DA-FB3677A7002E}" type="presOf" srcId="{676FB991-AF70-433B-B6EC-D1AA7F535006}" destId="{8E47069F-54C1-42D1-97ED-148CA10125EB}" srcOrd="0" destOrd="0" presId="urn:microsoft.com/office/officeart/2009/3/layout/SubStepProcess"/>
    <dgm:cxn modelId="{BC7E8D25-ACC6-4142-8CF1-9DF1567A490D}" type="presOf" srcId="{48441239-A9AC-4A17-B1D9-D544A2DF50FA}" destId="{8EBA1B9F-4BD7-4330-AC05-DE4AABF676BB}" srcOrd="0" destOrd="0" presId="urn:microsoft.com/office/officeart/2009/3/layout/SubStepProcess"/>
    <dgm:cxn modelId="{446A4837-AA13-42E7-8123-AF867A5C0A98}" type="presOf" srcId="{DD19C6BC-1FEF-4A40-BFE2-EC38CCC96C26}" destId="{9DA5D0A8-E195-4639-9D0E-6D1A266EC03D}" srcOrd="0" destOrd="0" presId="urn:microsoft.com/office/officeart/2009/3/layout/SubStepProcess"/>
    <dgm:cxn modelId="{A3639D38-BD0E-4E75-8C5A-FD32AEF97BB3}" srcId="{48441239-A9AC-4A17-B1D9-D544A2DF50FA}" destId="{9AA574CB-8BD6-4B60-9457-7F32A38BC259}" srcOrd="0" destOrd="0" parTransId="{3D6FB2E1-2607-406D-8CE4-3F72C4E2BA7C}" sibTransId="{4A652E1D-2EE7-4BC2-8CB9-E0474E09EDEF}"/>
    <dgm:cxn modelId="{96816E5A-C526-481F-AFE2-682A0D2643BF}" type="presOf" srcId="{938FC23B-34E6-4F1E-B439-6E88C67D2663}" destId="{7805F6A3-296D-4DB6-B4AA-F8C6A1823B0D}" srcOrd="0" destOrd="0" presId="urn:microsoft.com/office/officeart/2009/3/layout/SubStepProcess"/>
    <dgm:cxn modelId="{E7B47DC7-A4DB-4522-9066-816C03F1B281}" srcId="{9AA574CB-8BD6-4B60-9457-7F32A38BC259}" destId="{49A39D73-7757-4313-82B3-D26DE95A2B13}" srcOrd="1" destOrd="0" parTransId="{91FB39B1-2AAA-4AA9-A45A-F7F123C3970E}" sibTransId="{6D964C4E-332F-4A90-BE62-9217A27720AF}"/>
    <dgm:cxn modelId="{4C6B5132-CC6E-4F74-89CB-1AB46C04854A}" type="presOf" srcId="{A40D2ED4-5089-4756-B3D3-D9ACDEE2F35E}" destId="{18CA5724-3221-4A3A-8F62-FCB34B165B2A}" srcOrd="0" destOrd="0" presId="urn:microsoft.com/office/officeart/2009/3/layout/SubStepProcess"/>
    <dgm:cxn modelId="{7E09AB17-A512-4BCA-8531-5C9F9C4391D1}" type="presOf" srcId="{515E8D39-EE43-4CF9-AE44-EB5AD2DEDA4C}" destId="{C068A876-EA0B-411A-A280-B7C0AE720FF8}" srcOrd="0" destOrd="0" presId="urn:microsoft.com/office/officeart/2009/3/layout/SubStepProcess"/>
    <dgm:cxn modelId="{9F9D680C-46B8-4C74-8116-130E224AAAEC}" type="presOf" srcId="{B622D91D-A8BA-44C5-8018-22035E7BE782}" destId="{435C1A71-78AF-4D06-9170-FDF8A4833460}" srcOrd="0" destOrd="0" presId="urn:microsoft.com/office/officeart/2009/3/layout/SubStepProcess"/>
    <dgm:cxn modelId="{19AC5AA0-F60B-4596-A4EE-74C56FDB9BBD}" srcId="{9AA574CB-8BD6-4B60-9457-7F32A38BC259}" destId="{A40D2ED4-5089-4756-B3D3-D9ACDEE2F35E}" srcOrd="2" destOrd="0" parTransId="{6F1F9B75-A2AB-4EA7-9AAA-2DC4EC92FB59}" sibTransId="{8958B464-EA6F-43C8-A51F-5B7B18B3D9DE}"/>
    <dgm:cxn modelId="{27AFEC68-B35F-4D66-ABA8-1305ED5EC43B}" srcId="{515E8D39-EE43-4CF9-AE44-EB5AD2DEDA4C}" destId="{938FC23B-34E6-4F1E-B439-6E88C67D2663}" srcOrd="2" destOrd="0" parTransId="{5561B089-4B90-4444-8AE2-E407936F17DD}" sibTransId="{3BE31B4A-E2BC-4CB3-BCB8-BA21E2C06FF9}"/>
    <dgm:cxn modelId="{322BF860-B2C1-4A76-A0F2-7BBCF8CB6CE3}" srcId="{48441239-A9AC-4A17-B1D9-D544A2DF50FA}" destId="{515E8D39-EE43-4CF9-AE44-EB5AD2DEDA4C}" srcOrd="1" destOrd="0" parTransId="{B2560591-043A-4862-B1B2-0DA05D591A3D}" sibTransId="{EB64C95B-1BEB-4C23-B9D6-E4B6F9AC0739}"/>
    <dgm:cxn modelId="{2930830F-3E30-4378-9980-07F7C0F38C5D}" srcId="{515E8D39-EE43-4CF9-AE44-EB5AD2DEDA4C}" destId="{676FB991-AF70-433B-B6EC-D1AA7F535006}" srcOrd="1" destOrd="0" parTransId="{BE98D2B3-C124-4A5C-8837-93C2728078FA}" sibTransId="{EFD78A4E-B1A7-4717-9605-F326ED6641FF}"/>
    <dgm:cxn modelId="{9AAC40C6-0694-42B9-A6FE-79FA65EFBD8B}" srcId="{9AA574CB-8BD6-4B60-9457-7F32A38BC259}" destId="{507A00EF-D161-42BB-81D5-14EBF46FE27C}" srcOrd="0" destOrd="0" parTransId="{56216E89-3D74-4594-924D-B203A1971CE1}" sibTransId="{F3EA927D-AD84-4CC8-9169-D8032303D384}"/>
    <dgm:cxn modelId="{72A944EC-1D96-4759-AC7A-AF7315B1D632}" srcId="{515E8D39-EE43-4CF9-AE44-EB5AD2DEDA4C}" destId="{DD19C6BC-1FEF-4A40-BFE2-EC38CCC96C26}" srcOrd="3" destOrd="0" parTransId="{258BC997-BF87-4058-9EAF-139732277069}" sibTransId="{5233369D-4731-4435-AD21-203EFA081B60}"/>
    <dgm:cxn modelId="{FD894FF7-C921-4060-9578-1929F3FA7FC1}" type="presOf" srcId="{9AA574CB-8BD6-4B60-9457-7F32A38BC259}" destId="{F2B8CC0C-4BAB-433E-9C0D-859B89A55943}" srcOrd="0" destOrd="0" presId="urn:microsoft.com/office/officeart/2009/3/layout/SubStepProcess"/>
    <dgm:cxn modelId="{F5864DCB-FD20-49BA-9FFC-E1B45DFB06E1}" srcId="{515E8D39-EE43-4CF9-AE44-EB5AD2DEDA4C}" destId="{B622D91D-A8BA-44C5-8018-22035E7BE782}" srcOrd="0" destOrd="0" parTransId="{6346D4D1-1B14-4552-A1F9-6C86032471E7}" sibTransId="{06F466E9-6DB6-4BD2-B846-C311FFF3B160}"/>
    <dgm:cxn modelId="{5A026D39-FFE5-436C-B187-2359D0D50207}" type="presParOf" srcId="{8EBA1B9F-4BD7-4330-AC05-DE4AABF676BB}" destId="{F2B8CC0C-4BAB-433E-9C0D-859B89A55943}" srcOrd="0" destOrd="0" presId="urn:microsoft.com/office/officeart/2009/3/layout/SubStepProcess"/>
    <dgm:cxn modelId="{6E92DABD-E076-4643-A1E2-E84EC80725DA}" type="presParOf" srcId="{8EBA1B9F-4BD7-4330-AC05-DE4AABF676BB}" destId="{499F60E1-1548-4621-BDF2-D6765242C059}" srcOrd="1" destOrd="0" presId="urn:microsoft.com/office/officeart/2009/3/layout/SubStepProcess"/>
    <dgm:cxn modelId="{F0CE11CB-6DEC-44A9-BBBE-54802CF6C0AC}" type="presParOf" srcId="{8EBA1B9F-4BD7-4330-AC05-DE4AABF676BB}" destId="{D5558784-69AE-47A6-8454-A7116A20F705}" srcOrd="2" destOrd="0" presId="urn:microsoft.com/office/officeart/2009/3/layout/SubStepProcess"/>
    <dgm:cxn modelId="{EF5DFBA4-04C7-437A-BC20-3F0CECB49AD2}" type="presParOf" srcId="{D5558784-69AE-47A6-8454-A7116A20F705}" destId="{2B8D2BE8-9DEB-4BC9-9433-EBA38CC8340E}" srcOrd="0" destOrd="0" presId="urn:microsoft.com/office/officeart/2009/3/layout/SubStepProcess"/>
    <dgm:cxn modelId="{05968AF0-C776-4EA9-83E3-3506E463DC96}" type="presParOf" srcId="{D5558784-69AE-47A6-8454-A7116A20F705}" destId="{6CF1299B-7F81-4D80-90AD-F8460A10F041}" srcOrd="1" destOrd="0" presId="urn:microsoft.com/office/officeart/2009/3/layout/SubStepProcess"/>
    <dgm:cxn modelId="{F68F40D1-A44A-4036-8FC1-23FAC33416AA}" type="presParOf" srcId="{D5558784-69AE-47A6-8454-A7116A20F705}" destId="{DAEBC86C-491A-4A34-AEA0-74EC3AE819C5}" srcOrd="2" destOrd="0" presId="urn:microsoft.com/office/officeart/2009/3/layout/SubStepProcess"/>
    <dgm:cxn modelId="{C047BD3F-A488-4C45-B5F5-E51FF070DD54}" type="presParOf" srcId="{DAEBC86C-491A-4A34-AEA0-74EC3AE819C5}" destId="{49C45056-5DA5-43DC-8A64-BB2458946515}" srcOrd="0" destOrd="0" presId="urn:microsoft.com/office/officeart/2009/3/layout/SubStepProcess"/>
    <dgm:cxn modelId="{79AEA338-B3D1-44FF-A7E2-2C73E2E25D88}" type="presParOf" srcId="{DAEBC86C-491A-4A34-AEA0-74EC3AE819C5}" destId="{6D854A2D-2872-4EC9-81E8-B62B8F6F9096}" srcOrd="1" destOrd="0" presId="urn:microsoft.com/office/officeart/2009/3/layout/SubStepProcess"/>
    <dgm:cxn modelId="{2C83FDC7-496B-46DB-95A7-0AF75A93507F}" type="presParOf" srcId="{DAEBC86C-491A-4A34-AEA0-74EC3AE819C5}" destId="{5E52B768-2618-4AF7-AB2F-E7F023BA36D5}" srcOrd="2" destOrd="0" presId="urn:microsoft.com/office/officeart/2009/3/layout/SubStepProcess"/>
    <dgm:cxn modelId="{5C40E706-97BB-4645-992E-9F6EFE1D43DC}" type="presParOf" srcId="{DAEBC86C-491A-4A34-AEA0-74EC3AE819C5}" destId="{961724C0-4EB2-46A0-B4CB-9AD37B1EC235}" srcOrd="3" destOrd="0" presId="urn:microsoft.com/office/officeart/2009/3/layout/SubStepProcess"/>
    <dgm:cxn modelId="{24044F1E-5936-4FAC-A4BA-59E043C96FCB}" type="presParOf" srcId="{DAEBC86C-491A-4A34-AEA0-74EC3AE819C5}" destId="{C23A5254-4646-4603-B049-E106941834F2}" srcOrd="4" destOrd="0" presId="urn:microsoft.com/office/officeart/2009/3/layout/SubStepProcess"/>
    <dgm:cxn modelId="{310933E2-32F7-484E-8C67-E893CD0DF54D}" type="presParOf" srcId="{D5558784-69AE-47A6-8454-A7116A20F705}" destId="{BC51C923-1A9B-4A3E-ABA2-16AD21844962}" srcOrd="3" destOrd="0" presId="urn:microsoft.com/office/officeart/2009/3/layout/SubStepProcess"/>
    <dgm:cxn modelId="{8A11A597-FA8F-42DF-B8AC-9D53AD4D9ADB}" type="presParOf" srcId="{D5558784-69AE-47A6-8454-A7116A20F705}" destId="{89CF4884-4C70-48D3-89D5-34B6A9C83B29}" srcOrd="4" destOrd="0" presId="urn:microsoft.com/office/officeart/2009/3/layout/SubStepProcess"/>
    <dgm:cxn modelId="{308CE489-DCCE-4523-9132-F86FE1FCBE62}" type="presParOf" srcId="{D5558784-69AE-47A6-8454-A7116A20F705}" destId="{4238E615-3455-4202-80A0-C44E8D444806}" srcOrd="5" destOrd="0" presId="urn:microsoft.com/office/officeart/2009/3/layout/SubStepProcess"/>
    <dgm:cxn modelId="{2DF95474-AD47-403B-9F54-1AA811E4546D}" type="presParOf" srcId="{4238E615-3455-4202-80A0-C44E8D444806}" destId="{C0436AAF-27CF-4DFE-B8A1-61C39AE75ABC}" srcOrd="0" destOrd="0" presId="urn:microsoft.com/office/officeart/2009/3/layout/SubStepProcess"/>
    <dgm:cxn modelId="{F6AA2A0B-C477-4673-A883-A8A4BB42E321}" type="presParOf" srcId="{4238E615-3455-4202-80A0-C44E8D444806}" destId="{234D2582-6313-40B5-B45B-F849854C50A7}" srcOrd="1" destOrd="0" presId="urn:microsoft.com/office/officeart/2009/3/layout/SubStepProcess"/>
    <dgm:cxn modelId="{3FE393D8-D02C-4EF2-BC20-26399A15D00A}" type="presParOf" srcId="{4238E615-3455-4202-80A0-C44E8D444806}" destId="{BA74D43F-7A7C-4D88-A078-D7B62BD76A45}" srcOrd="2" destOrd="0" presId="urn:microsoft.com/office/officeart/2009/3/layout/SubStepProcess"/>
    <dgm:cxn modelId="{513F2B06-DB60-4537-9CA7-33619C342173}" type="presParOf" srcId="{4238E615-3455-4202-80A0-C44E8D444806}" destId="{B9FDAD07-8A41-44E1-A0A0-EAB4DD354CEB}" srcOrd="3" destOrd="0" presId="urn:microsoft.com/office/officeart/2009/3/layout/SubStepProcess"/>
    <dgm:cxn modelId="{F68DBA39-C1AD-4B93-93C2-D391A8B6E01F}" type="presParOf" srcId="{4238E615-3455-4202-80A0-C44E8D444806}" destId="{D28BE072-73E2-423A-A6C9-CBC9DC41D585}" srcOrd="4" destOrd="0" presId="urn:microsoft.com/office/officeart/2009/3/layout/SubStepProcess"/>
    <dgm:cxn modelId="{325EBA7A-8D7C-46E1-8DD0-33C5B1674017}" type="presParOf" srcId="{D5558784-69AE-47A6-8454-A7116A20F705}" destId="{0431CD78-5E5C-4E23-8C22-C17495F3CAF6}" srcOrd="6" destOrd="0" presId="urn:microsoft.com/office/officeart/2009/3/layout/SubStepProcess"/>
    <dgm:cxn modelId="{B7756A7D-2500-46BF-9826-AA03B7E7C0DC}" type="presParOf" srcId="{D5558784-69AE-47A6-8454-A7116A20F705}" destId="{4C56B89E-7B03-4977-8C87-00A0C32FB50B}" srcOrd="7" destOrd="0" presId="urn:microsoft.com/office/officeart/2009/3/layout/SubStepProcess"/>
    <dgm:cxn modelId="{DDF5B51B-E34D-4529-A396-EA20009EBDEA}" type="presParOf" srcId="{D5558784-69AE-47A6-8454-A7116A20F705}" destId="{EBAC2A1B-C689-4B34-9FF7-271B85F9019E}" srcOrd="8" destOrd="0" presId="urn:microsoft.com/office/officeart/2009/3/layout/SubStepProcess"/>
    <dgm:cxn modelId="{49CA0D4A-A379-449D-911A-B807F4362261}" type="presParOf" srcId="{EBAC2A1B-C689-4B34-9FF7-271B85F9019E}" destId="{53106D05-E949-44D7-B0CC-78871E209BA5}" srcOrd="0" destOrd="0" presId="urn:microsoft.com/office/officeart/2009/3/layout/SubStepProcess"/>
    <dgm:cxn modelId="{C53D6CCF-DECB-41DA-BB3C-DAA9A70BBBD0}" type="presParOf" srcId="{EBAC2A1B-C689-4B34-9FF7-271B85F9019E}" destId="{7C488EEF-06C0-4428-A583-7DD650AC8015}" srcOrd="1" destOrd="0" presId="urn:microsoft.com/office/officeart/2009/3/layout/SubStepProcess"/>
    <dgm:cxn modelId="{901643F0-D941-4F98-928F-E7CC54B97D4A}" type="presParOf" srcId="{EBAC2A1B-C689-4B34-9FF7-271B85F9019E}" destId="{9BC31D17-472F-4B17-B932-DC3C570399E3}" srcOrd="2" destOrd="0" presId="urn:microsoft.com/office/officeart/2009/3/layout/SubStepProcess"/>
    <dgm:cxn modelId="{84B756B1-B2D5-42F5-AE2A-B210221FDC3D}" type="presParOf" srcId="{EBAC2A1B-C689-4B34-9FF7-271B85F9019E}" destId="{18CA5724-3221-4A3A-8F62-FCB34B165B2A}" srcOrd="3" destOrd="0" presId="urn:microsoft.com/office/officeart/2009/3/layout/SubStepProcess"/>
    <dgm:cxn modelId="{9DB94CE2-FDA6-421C-B096-9C22B9C905F9}" type="presParOf" srcId="{EBAC2A1B-C689-4B34-9FF7-271B85F9019E}" destId="{1449ADEA-35A6-48B0-B3E9-3678C4C5C9AE}" srcOrd="4" destOrd="0" presId="urn:microsoft.com/office/officeart/2009/3/layout/SubStepProcess"/>
    <dgm:cxn modelId="{1B275104-AFA0-4D98-B89F-B6D44560FEB6}" type="presParOf" srcId="{8EBA1B9F-4BD7-4330-AC05-DE4AABF676BB}" destId="{54DB97C3-91B1-4D1A-89C6-19FF6E874AA5}" srcOrd="3" destOrd="0" presId="urn:microsoft.com/office/officeart/2009/3/layout/SubStepProcess"/>
    <dgm:cxn modelId="{A1DB50D2-0AAB-4ACD-B516-61B1D8DA86B1}" type="presParOf" srcId="{8EBA1B9F-4BD7-4330-AC05-DE4AABF676BB}" destId="{C068A876-EA0B-411A-A280-B7C0AE720FF8}" srcOrd="4" destOrd="0" presId="urn:microsoft.com/office/officeart/2009/3/layout/SubStepProcess"/>
    <dgm:cxn modelId="{2E91F028-4E77-46C5-BB6A-680F1EB6DD3B}" type="presParOf" srcId="{8EBA1B9F-4BD7-4330-AC05-DE4AABF676BB}" destId="{6E128835-AAF8-4CE9-8AB8-ACCB9608DFBF}" srcOrd="5" destOrd="0" presId="urn:microsoft.com/office/officeart/2009/3/layout/SubStepProcess"/>
    <dgm:cxn modelId="{76A59C4D-C215-4FB3-8C62-28EC7EC42462}" type="presParOf" srcId="{8EBA1B9F-4BD7-4330-AC05-DE4AABF676BB}" destId="{5F56DFE9-2706-479E-ACE3-ABAB663EB839}" srcOrd="6" destOrd="0" presId="urn:microsoft.com/office/officeart/2009/3/layout/SubStepProcess"/>
    <dgm:cxn modelId="{87F775D4-A5E4-407B-8F22-5A77331BE9B5}" type="presParOf" srcId="{5F56DFE9-2706-479E-ACE3-ABAB663EB839}" destId="{6EA63329-60F6-49AE-AB97-3BC9DCE28F8A}" srcOrd="0" destOrd="0" presId="urn:microsoft.com/office/officeart/2009/3/layout/SubStepProcess"/>
    <dgm:cxn modelId="{2DCB540F-CA99-4053-89CD-6C77A51E3182}" type="presParOf" srcId="{5F56DFE9-2706-479E-ACE3-ABAB663EB839}" destId="{73835F26-920B-482A-97EE-EBCF1C77C29E}" srcOrd="1" destOrd="0" presId="urn:microsoft.com/office/officeart/2009/3/layout/SubStepProcess"/>
    <dgm:cxn modelId="{91E45022-463C-42E0-975E-2F257B1114E5}" type="presParOf" srcId="{73835F26-920B-482A-97EE-EBCF1C77C29E}" destId="{5DB2B03D-438C-431B-AC36-97E521B045D0}" srcOrd="0" destOrd="0" presId="urn:microsoft.com/office/officeart/2009/3/layout/SubStepProcess"/>
    <dgm:cxn modelId="{0999F26B-0E50-4DFF-BCFE-5C6A7DCC8995}" type="presParOf" srcId="{73835F26-920B-482A-97EE-EBCF1C77C29E}" destId="{334D2511-353F-4EA0-8EB7-A7B6028A93B9}" srcOrd="1" destOrd="0" presId="urn:microsoft.com/office/officeart/2009/3/layout/SubStepProcess"/>
    <dgm:cxn modelId="{898A051A-AA84-413D-9997-E05269544C4A}" type="presParOf" srcId="{73835F26-920B-482A-97EE-EBCF1C77C29E}" destId="{F15BE5EC-2800-43C5-B56D-E5C37FFA22A5}" srcOrd="2" destOrd="0" presId="urn:microsoft.com/office/officeart/2009/3/layout/SubStepProcess"/>
    <dgm:cxn modelId="{013A7200-2FD6-4BE9-87C1-3E83426E9FE8}" type="presParOf" srcId="{73835F26-920B-482A-97EE-EBCF1C77C29E}" destId="{435C1A71-78AF-4D06-9170-FDF8A4833460}" srcOrd="3" destOrd="0" presId="urn:microsoft.com/office/officeart/2009/3/layout/SubStepProcess"/>
    <dgm:cxn modelId="{4938C538-E615-4891-A76F-DF0959DC31ED}" type="presParOf" srcId="{5F56DFE9-2706-479E-ACE3-ABAB663EB839}" destId="{B71F3D91-8836-423B-89F5-5BD7275060C4}" srcOrd="2" destOrd="0" presId="urn:microsoft.com/office/officeart/2009/3/layout/SubStepProcess"/>
    <dgm:cxn modelId="{81EB752E-9BEB-4DB2-BB2A-EF6DFBC396E9}" type="presParOf" srcId="{5F56DFE9-2706-479E-ACE3-ABAB663EB839}" destId="{23351B53-50F9-406B-87FD-D9F4B40205D1}" srcOrd="3" destOrd="0" presId="urn:microsoft.com/office/officeart/2009/3/layout/SubStepProcess"/>
    <dgm:cxn modelId="{120D5E1F-70C7-4752-A424-A5111417702F}" type="presParOf" srcId="{23351B53-50F9-406B-87FD-D9F4B40205D1}" destId="{C27489BB-703D-4406-8E72-4F016907768C}" srcOrd="0" destOrd="0" presId="urn:microsoft.com/office/officeart/2009/3/layout/SubStepProcess"/>
    <dgm:cxn modelId="{BA4146FD-C26C-40CF-8F73-7AC6D6DABC9F}" type="presParOf" srcId="{23351B53-50F9-406B-87FD-D9F4B40205D1}" destId="{7CA5F32E-B209-4229-85E3-933887B0713B}" srcOrd="1" destOrd="0" presId="urn:microsoft.com/office/officeart/2009/3/layout/SubStepProcess"/>
    <dgm:cxn modelId="{6F96B252-202A-4294-AA86-0500CC3491F0}" type="presParOf" srcId="{23351B53-50F9-406B-87FD-D9F4B40205D1}" destId="{DA57DC2C-8427-4782-B5B3-7985E87F2A55}" srcOrd="2" destOrd="0" presId="urn:microsoft.com/office/officeart/2009/3/layout/SubStepProcess"/>
    <dgm:cxn modelId="{0DA7705A-0E5A-428E-B8D5-D5FBA2EAEFDA}" type="presParOf" srcId="{23351B53-50F9-406B-87FD-D9F4B40205D1}" destId="{8E47069F-54C1-42D1-97ED-148CA10125EB}" srcOrd="3" destOrd="0" presId="urn:microsoft.com/office/officeart/2009/3/layout/SubStepProcess"/>
    <dgm:cxn modelId="{D7B084EB-3666-4CB2-B47E-29878CB060EE}" type="presParOf" srcId="{5F56DFE9-2706-479E-ACE3-ABAB663EB839}" destId="{7BDDAA24-B0A5-4B7A-B32E-E7CE9CA9A562}" srcOrd="4" destOrd="0" presId="urn:microsoft.com/office/officeart/2009/3/layout/SubStepProcess"/>
    <dgm:cxn modelId="{099F7C0E-C132-4898-BA41-7A6ADE1CAE20}" type="presParOf" srcId="{5F56DFE9-2706-479E-ACE3-ABAB663EB839}" destId="{75172FAA-9E6F-4B71-8C8D-C723F2AED62A}" srcOrd="5" destOrd="0" presId="urn:microsoft.com/office/officeart/2009/3/layout/SubStepProcess"/>
    <dgm:cxn modelId="{0313FC9D-5E6E-4A26-89E2-8A155D0D2A62}" type="presParOf" srcId="{75172FAA-9E6F-4B71-8C8D-C723F2AED62A}" destId="{8B1DF03A-58BB-4B8F-A1EF-70876EE98556}" srcOrd="0" destOrd="0" presId="urn:microsoft.com/office/officeart/2009/3/layout/SubStepProcess"/>
    <dgm:cxn modelId="{02EB335B-49E7-4B33-9C73-BE78C361ED84}" type="presParOf" srcId="{75172FAA-9E6F-4B71-8C8D-C723F2AED62A}" destId="{7BED8321-00B4-4CDA-B18D-4A0DA1BB9985}" srcOrd="1" destOrd="0" presId="urn:microsoft.com/office/officeart/2009/3/layout/SubStepProcess"/>
    <dgm:cxn modelId="{E9BCA9BE-6F43-4A54-B7CB-E4F1E414F99C}" type="presParOf" srcId="{75172FAA-9E6F-4B71-8C8D-C723F2AED62A}" destId="{60292371-F5BB-413F-A445-3ACAD8E13740}" srcOrd="2" destOrd="0" presId="urn:microsoft.com/office/officeart/2009/3/layout/SubStepProcess"/>
    <dgm:cxn modelId="{D7FFFB6C-6E2A-4A9B-B653-8D5EAD3F89CD}" type="presParOf" srcId="{75172FAA-9E6F-4B71-8C8D-C723F2AED62A}" destId="{7805F6A3-296D-4DB6-B4AA-F8C6A1823B0D}" srcOrd="3" destOrd="0" presId="urn:microsoft.com/office/officeart/2009/3/layout/SubStepProcess"/>
    <dgm:cxn modelId="{7E7B5D7A-5F7D-44BD-8A61-8E588D4EB810}" type="presParOf" srcId="{5F56DFE9-2706-479E-ACE3-ABAB663EB839}" destId="{AC0001DD-E275-402C-9489-418982F00431}" srcOrd="6" destOrd="0" presId="urn:microsoft.com/office/officeart/2009/3/layout/SubStepProcess"/>
    <dgm:cxn modelId="{DFF6E1ED-3ACD-40AE-97A1-8BF7F15D1B46}" type="presParOf" srcId="{5F56DFE9-2706-479E-ACE3-ABAB663EB839}" destId="{F7FD1661-6272-407A-8F4E-3696C217AF62}" srcOrd="7" destOrd="0" presId="urn:microsoft.com/office/officeart/2009/3/layout/SubStepProcess"/>
    <dgm:cxn modelId="{D0833C68-3471-4910-AC05-55F309D3482E}" type="presParOf" srcId="{F7FD1661-6272-407A-8F4E-3696C217AF62}" destId="{E33126A1-06FC-4D96-8A4C-65C605F2B042}" srcOrd="0" destOrd="0" presId="urn:microsoft.com/office/officeart/2009/3/layout/SubStepProcess"/>
    <dgm:cxn modelId="{EC83ADE9-F5D5-4453-B50A-D33079E9F850}" type="presParOf" srcId="{F7FD1661-6272-407A-8F4E-3696C217AF62}" destId="{280138BF-339F-4ECC-AEF7-321BEB6131A2}" srcOrd="1" destOrd="0" presId="urn:microsoft.com/office/officeart/2009/3/layout/SubStepProcess"/>
    <dgm:cxn modelId="{A8D98283-54BE-4977-A24C-8092C109BD4A}" type="presParOf" srcId="{F7FD1661-6272-407A-8F4E-3696C217AF62}" destId="{32D4E653-F06C-4990-9F76-A444CE688B8F}" srcOrd="2" destOrd="0" presId="urn:microsoft.com/office/officeart/2009/3/layout/SubStepProcess"/>
    <dgm:cxn modelId="{D9F94290-3194-4391-8DC1-53F29CCE401F}" type="presParOf" srcId="{F7FD1661-6272-407A-8F4E-3696C217AF62}" destId="{9DA5D0A8-E195-4639-9D0E-6D1A266EC03D}" srcOrd="3"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01B32B4-27CE-484E-87DF-D700F8EE2604}"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zh-CN" altLang="en-US"/>
        </a:p>
      </dgm:t>
    </dgm:pt>
    <dgm:pt modelId="{5DCD214A-7D51-4DA4-9708-CC8A98E052FC}">
      <dgm:prSet phldrT="[文本]" custT="1"/>
      <dgm:spPr/>
      <dgm:t>
        <a:bodyPr/>
        <a:lstStyle/>
        <a:p>
          <a:r>
            <a:rPr lang="zh-CN" altLang="en-US" sz="3200" smtClean="0"/>
            <a:t>渗透攻击</a:t>
          </a:r>
          <a:r>
            <a:rPr lang="zh-CN" altLang="en-US" sz="3200" dirty="0" smtClean="0"/>
            <a:t>阶段</a:t>
          </a:r>
          <a:endParaRPr lang="zh-CN" altLang="en-US" sz="3200" dirty="0"/>
        </a:p>
      </dgm:t>
    </dgm:pt>
    <dgm:pt modelId="{5FE1FCB7-BE21-4DDB-9D75-F8C533E60492}" type="parTrans" cxnId="{CFFEB694-7B04-4F15-B7FC-C20EFB9812FE}">
      <dgm:prSet/>
      <dgm:spPr/>
      <dgm:t>
        <a:bodyPr/>
        <a:lstStyle/>
        <a:p>
          <a:endParaRPr lang="zh-CN" altLang="en-US"/>
        </a:p>
      </dgm:t>
    </dgm:pt>
    <dgm:pt modelId="{B5E37B3F-0BDF-48D4-9598-A71239E67147}" type="sibTrans" cxnId="{CFFEB694-7B04-4F15-B7FC-C20EFB9812FE}">
      <dgm:prSet/>
      <dgm:spPr/>
      <dgm:t>
        <a:bodyPr/>
        <a:lstStyle/>
        <a:p>
          <a:endParaRPr lang="zh-CN" altLang="en-US"/>
        </a:p>
      </dgm:t>
    </dgm:pt>
    <dgm:pt modelId="{DB190ED3-F571-497E-A8D7-80D4EEF84D80}">
      <dgm:prSet phldrT="[文本]" custT="1"/>
      <dgm:spPr/>
      <dgm:t>
        <a:bodyPr/>
        <a:lstStyle/>
        <a:p>
          <a:r>
            <a:rPr lang="zh-CN" altLang="en-US" sz="3200" dirty="0" smtClean="0"/>
            <a:t>后渗透攻击阶段</a:t>
          </a:r>
          <a:endParaRPr lang="zh-CN" altLang="en-US" sz="3200" dirty="0"/>
        </a:p>
      </dgm:t>
    </dgm:pt>
    <dgm:pt modelId="{201A628E-E9B7-4CBD-A1B7-93EA9B5032CB}" type="parTrans" cxnId="{8F9033F1-C2FA-4624-8F95-82E7427F1144}">
      <dgm:prSet/>
      <dgm:spPr/>
      <dgm:t>
        <a:bodyPr/>
        <a:lstStyle/>
        <a:p>
          <a:endParaRPr lang="zh-CN" altLang="en-US"/>
        </a:p>
      </dgm:t>
    </dgm:pt>
    <dgm:pt modelId="{63E87C16-1638-4AD9-933C-3DC2CCE2BAD8}" type="sibTrans" cxnId="{8F9033F1-C2FA-4624-8F95-82E7427F1144}">
      <dgm:prSet/>
      <dgm:spPr/>
      <dgm:t>
        <a:bodyPr/>
        <a:lstStyle/>
        <a:p>
          <a:endParaRPr lang="zh-CN" altLang="en-US"/>
        </a:p>
      </dgm:t>
    </dgm:pt>
    <dgm:pt modelId="{749A9841-B7F7-4A57-A663-1140A3EC1CA8}" type="pres">
      <dgm:prSet presAssocID="{E01B32B4-27CE-484E-87DF-D700F8EE2604}" presName="Name0" presStyleCnt="0">
        <dgm:presLayoutVars>
          <dgm:dir/>
          <dgm:resizeHandles val="exact"/>
        </dgm:presLayoutVars>
      </dgm:prSet>
      <dgm:spPr/>
      <dgm:t>
        <a:bodyPr/>
        <a:lstStyle/>
        <a:p>
          <a:endParaRPr lang="zh-CN" altLang="en-US"/>
        </a:p>
      </dgm:t>
    </dgm:pt>
    <dgm:pt modelId="{AB24F77C-22F2-44BE-BEF5-905A00533EC9}" type="pres">
      <dgm:prSet presAssocID="{5DCD214A-7D51-4DA4-9708-CC8A98E052FC}" presName="Name5" presStyleLbl="vennNode1" presStyleIdx="0" presStyleCnt="2">
        <dgm:presLayoutVars>
          <dgm:bulletEnabled val="1"/>
        </dgm:presLayoutVars>
      </dgm:prSet>
      <dgm:spPr/>
      <dgm:t>
        <a:bodyPr/>
        <a:lstStyle/>
        <a:p>
          <a:endParaRPr lang="zh-CN" altLang="en-US"/>
        </a:p>
      </dgm:t>
    </dgm:pt>
    <dgm:pt modelId="{A5FB0E93-CE05-4937-BDE7-3BE5D200D4BE}" type="pres">
      <dgm:prSet presAssocID="{B5E37B3F-0BDF-48D4-9598-A71239E67147}" presName="space" presStyleCnt="0"/>
      <dgm:spPr/>
    </dgm:pt>
    <dgm:pt modelId="{6E0165E3-9BB4-45C5-8173-6969FBB23992}" type="pres">
      <dgm:prSet presAssocID="{DB190ED3-F571-497E-A8D7-80D4EEF84D80}" presName="Name5" presStyleLbl="vennNode1" presStyleIdx="1" presStyleCnt="2">
        <dgm:presLayoutVars>
          <dgm:bulletEnabled val="1"/>
        </dgm:presLayoutVars>
      </dgm:prSet>
      <dgm:spPr/>
      <dgm:t>
        <a:bodyPr/>
        <a:lstStyle/>
        <a:p>
          <a:endParaRPr lang="zh-CN" altLang="en-US"/>
        </a:p>
      </dgm:t>
    </dgm:pt>
  </dgm:ptLst>
  <dgm:cxnLst>
    <dgm:cxn modelId="{830EE629-8FCB-432A-95C1-B7BE019D655B}" type="presOf" srcId="{5DCD214A-7D51-4DA4-9708-CC8A98E052FC}" destId="{AB24F77C-22F2-44BE-BEF5-905A00533EC9}" srcOrd="0" destOrd="0" presId="urn:microsoft.com/office/officeart/2005/8/layout/venn3"/>
    <dgm:cxn modelId="{8F9033F1-C2FA-4624-8F95-82E7427F1144}" srcId="{E01B32B4-27CE-484E-87DF-D700F8EE2604}" destId="{DB190ED3-F571-497E-A8D7-80D4EEF84D80}" srcOrd="1" destOrd="0" parTransId="{201A628E-E9B7-4CBD-A1B7-93EA9B5032CB}" sibTransId="{63E87C16-1638-4AD9-933C-3DC2CCE2BAD8}"/>
    <dgm:cxn modelId="{CFFEB694-7B04-4F15-B7FC-C20EFB9812FE}" srcId="{E01B32B4-27CE-484E-87DF-D700F8EE2604}" destId="{5DCD214A-7D51-4DA4-9708-CC8A98E052FC}" srcOrd="0" destOrd="0" parTransId="{5FE1FCB7-BE21-4DDB-9D75-F8C533E60492}" sibTransId="{B5E37B3F-0BDF-48D4-9598-A71239E67147}"/>
    <dgm:cxn modelId="{BD70E00A-CCF1-4356-86C4-EBB91F10025D}" type="presOf" srcId="{E01B32B4-27CE-484E-87DF-D700F8EE2604}" destId="{749A9841-B7F7-4A57-A663-1140A3EC1CA8}" srcOrd="0" destOrd="0" presId="urn:microsoft.com/office/officeart/2005/8/layout/venn3"/>
    <dgm:cxn modelId="{898E6D02-8676-4C04-A0C6-7B99BAF6E6CF}" type="presOf" srcId="{DB190ED3-F571-497E-A8D7-80D4EEF84D80}" destId="{6E0165E3-9BB4-45C5-8173-6969FBB23992}" srcOrd="0" destOrd="0" presId="urn:microsoft.com/office/officeart/2005/8/layout/venn3"/>
    <dgm:cxn modelId="{F8A448DD-EDC4-4585-ACCB-7115C3AC5346}" type="presParOf" srcId="{749A9841-B7F7-4A57-A663-1140A3EC1CA8}" destId="{AB24F77C-22F2-44BE-BEF5-905A00533EC9}" srcOrd="0" destOrd="0" presId="urn:microsoft.com/office/officeart/2005/8/layout/venn3"/>
    <dgm:cxn modelId="{F7549405-36AA-4912-A0CB-D319F99F1539}" type="presParOf" srcId="{749A9841-B7F7-4A57-A663-1140A3EC1CA8}" destId="{A5FB0E93-CE05-4937-BDE7-3BE5D200D4BE}" srcOrd="1" destOrd="0" presId="urn:microsoft.com/office/officeart/2005/8/layout/venn3"/>
    <dgm:cxn modelId="{E21B2A09-D780-4D40-9472-B95F2FA61DBA}" type="presParOf" srcId="{749A9841-B7F7-4A57-A663-1140A3EC1CA8}" destId="{6E0165E3-9BB4-45C5-8173-6969FBB23992}" srcOrd="2"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993DA46-2F9E-4D8D-94ED-E9B985F53D30}" type="doc">
      <dgm:prSet loTypeId="urn:microsoft.com/office/officeart/2005/8/layout/target1" loCatId="relationship" qsTypeId="urn:microsoft.com/office/officeart/2005/8/quickstyle/simple1" qsCatId="simple" csTypeId="urn:microsoft.com/office/officeart/2005/8/colors/accent1_2" csCatId="accent1" phldr="1"/>
      <dgm:spPr/>
      <dgm:t>
        <a:bodyPr/>
        <a:lstStyle/>
        <a:p>
          <a:endParaRPr lang="zh-CN" altLang="en-US"/>
        </a:p>
      </dgm:t>
    </dgm:pt>
    <dgm:pt modelId="{D6D482E3-13FA-4068-9048-303B120D3231}">
      <dgm:prSet/>
      <dgm:spPr/>
      <dgm:t>
        <a:bodyPr/>
        <a:lstStyle/>
        <a:p>
          <a:pPr rtl="0"/>
          <a:r>
            <a:rPr lang="zh-CN" b="0" dirty="0" smtClean="0"/>
            <a:t>为什么要了解黑客入侵的行为轨迹？</a:t>
          </a:r>
          <a:endParaRPr lang="zh-CN" dirty="0"/>
        </a:p>
      </dgm:t>
    </dgm:pt>
    <dgm:pt modelId="{2268B8CC-5920-4E5B-B2E7-0700351FB647}" type="parTrans" cxnId="{CA278A60-2E67-4DF7-8AD3-0A56F01FE4DC}">
      <dgm:prSet/>
      <dgm:spPr/>
      <dgm:t>
        <a:bodyPr/>
        <a:lstStyle/>
        <a:p>
          <a:endParaRPr lang="zh-CN" altLang="en-US"/>
        </a:p>
      </dgm:t>
    </dgm:pt>
    <dgm:pt modelId="{B82EFA31-00FC-4DD6-BF0D-BAED590B1622}" type="sibTrans" cxnId="{CA278A60-2E67-4DF7-8AD3-0A56F01FE4DC}">
      <dgm:prSet/>
      <dgm:spPr/>
      <dgm:t>
        <a:bodyPr/>
        <a:lstStyle/>
        <a:p>
          <a:endParaRPr lang="zh-CN" altLang="en-US"/>
        </a:p>
      </dgm:t>
    </dgm:pt>
    <dgm:pt modelId="{7CD59AC6-7608-4118-B87B-75F288E46766}">
      <dgm:prSet/>
      <dgm:spPr/>
      <dgm:t>
        <a:bodyPr/>
        <a:lstStyle/>
        <a:p>
          <a:pPr rtl="0"/>
          <a:r>
            <a:rPr lang="zh-CN" b="0" dirty="0" smtClean="0"/>
            <a:t>知己知彼？</a:t>
          </a:r>
          <a:endParaRPr lang="zh-CN" dirty="0"/>
        </a:p>
      </dgm:t>
    </dgm:pt>
    <dgm:pt modelId="{7420C20A-CEB5-4641-B045-CB080AA33323}" type="parTrans" cxnId="{D515844B-AAE3-4616-A10D-856014BF7E30}">
      <dgm:prSet/>
      <dgm:spPr/>
      <dgm:t>
        <a:bodyPr/>
        <a:lstStyle/>
        <a:p>
          <a:endParaRPr lang="zh-CN" altLang="en-US"/>
        </a:p>
      </dgm:t>
    </dgm:pt>
    <dgm:pt modelId="{8361E77E-6C75-43C3-A65A-34E785817D0C}" type="sibTrans" cxnId="{D515844B-AAE3-4616-A10D-856014BF7E30}">
      <dgm:prSet/>
      <dgm:spPr/>
      <dgm:t>
        <a:bodyPr/>
        <a:lstStyle/>
        <a:p>
          <a:endParaRPr lang="zh-CN" altLang="en-US"/>
        </a:p>
      </dgm:t>
    </dgm:pt>
    <dgm:pt modelId="{945A95C5-2E01-4563-AEBB-D2BF3BF4CCF7}">
      <dgm:prSet/>
      <dgm:spPr/>
      <dgm:t>
        <a:bodyPr/>
        <a:lstStyle/>
        <a:p>
          <a:pPr rtl="0"/>
          <a:r>
            <a:rPr lang="zh-CN" altLang="en-US" b="0" dirty="0" smtClean="0"/>
            <a:t>跟渗透测试有关系</a:t>
          </a:r>
          <a:r>
            <a:rPr lang="zh-CN" b="0" dirty="0" smtClean="0"/>
            <a:t>？</a:t>
          </a:r>
          <a:endParaRPr lang="zh-CN" dirty="0"/>
        </a:p>
      </dgm:t>
    </dgm:pt>
    <dgm:pt modelId="{2EAC1270-8A63-49FF-8170-450D096D028F}" type="parTrans" cxnId="{89D51940-6896-47ED-B2E1-A14C68D46AFC}">
      <dgm:prSet/>
      <dgm:spPr/>
      <dgm:t>
        <a:bodyPr/>
        <a:lstStyle/>
        <a:p>
          <a:endParaRPr lang="zh-CN" altLang="en-US"/>
        </a:p>
      </dgm:t>
    </dgm:pt>
    <dgm:pt modelId="{64E7399F-DA21-4272-8E35-E4B32E662DC4}" type="sibTrans" cxnId="{89D51940-6896-47ED-B2E1-A14C68D46AFC}">
      <dgm:prSet/>
      <dgm:spPr/>
      <dgm:t>
        <a:bodyPr/>
        <a:lstStyle/>
        <a:p>
          <a:endParaRPr lang="zh-CN" altLang="en-US"/>
        </a:p>
      </dgm:t>
    </dgm:pt>
    <dgm:pt modelId="{1E605E28-5DDB-4BF0-A76C-A94FE3AAD364}">
      <dgm:prSet/>
      <dgm:spPr/>
      <dgm:t>
        <a:bodyPr/>
        <a:lstStyle/>
        <a:p>
          <a:pPr rtl="0"/>
          <a:r>
            <a:rPr lang="zh-CN" altLang="en-US" smtClean="0"/>
            <a:t>其它</a:t>
          </a:r>
          <a:r>
            <a:rPr lang="zh-CN" altLang="en-US" dirty="0" smtClean="0"/>
            <a:t>？</a:t>
          </a:r>
          <a:endParaRPr lang="zh-CN" dirty="0"/>
        </a:p>
      </dgm:t>
    </dgm:pt>
    <dgm:pt modelId="{01FA1E82-B1B0-4645-AD33-6D3F5522B78A}" type="parTrans" cxnId="{1C0D26C7-0757-42FD-B5B7-4B78E5798CB3}">
      <dgm:prSet/>
      <dgm:spPr/>
      <dgm:t>
        <a:bodyPr/>
        <a:lstStyle/>
        <a:p>
          <a:endParaRPr lang="zh-CN" altLang="en-US"/>
        </a:p>
      </dgm:t>
    </dgm:pt>
    <dgm:pt modelId="{1D520436-9DED-4A5D-9B6B-9E7391890499}" type="sibTrans" cxnId="{1C0D26C7-0757-42FD-B5B7-4B78E5798CB3}">
      <dgm:prSet/>
      <dgm:spPr/>
      <dgm:t>
        <a:bodyPr/>
        <a:lstStyle/>
        <a:p>
          <a:endParaRPr lang="zh-CN" altLang="en-US"/>
        </a:p>
      </dgm:t>
    </dgm:pt>
    <dgm:pt modelId="{2B0341FA-3AC2-4233-94E2-522949D1C0A1}" type="pres">
      <dgm:prSet presAssocID="{F993DA46-2F9E-4D8D-94ED-E9B985F53D30}" presName="composite" presStyleCnt="0">
        <dgm:presLayoutVars>
          <dgm:chMax val="5"/>
          <dgm:dir/>
          <dgm:resizeHandles val="exact"/>
        </dgm:presLayoutVars>
      </dgm:prSet>
      <dgm:spPr/>
      <dgm:t>
        <a:bodyPr/>
        <a:lstStyle/>
        <a:p>
          <a:endParaRPr lang="zh-CN" altLang="en-US"/>
        </a:p>
      </dgm:t>
    </dgm:pt>
    <dgm:pt modelId="{EDF94C38-1B37-4B3C-9AB5-E758F456760C}" type="pres">
      <dgm:prSet presAssocID="{D6D482E3-13FA-4068-9048-303B120D3231}" presName="circle1" presStyleLbl="lnNode1" presStyleIdx="0" presStyleCnt="4"/>
      <dgm:spPr/>
    </dgm:pt>
    <dgm:pt modelId="{986650C5-00E3-4F5E-90C1-210C7C7D48B3}" type="pres">
      <dgm:prSet presAssocID="{D6D482E3-13FA-4068-9048-303B120D3231}" presName="text1" presStyleLbl="revTx" presStyleIdx="0" presStyleCnt="4" custScaleX="157203" custLinFactNeighborX="33308">
        <dgm:presLayoutVars>
          <dgm:bulletEnabled val="1"/>
        </dgm:presLayoutVars>
      </dgm:prSet>
      <dgm:spPr/>
      <dgm:t>
        <a:bodyPr/>
        <a:lstStyle/>
        <a:p>
          <a:endParaRPr lang="zh-CN" altLang="en-US"/>
        </a:p>
      </dgm:t>
    </dgm:pt>
    <dgm:pt modelId="{193D6667-132D-45B7-9DF4-F87FFDD84178}" type="pres">
      <dgm:prSet presAssocID="{D6D482E3-13FA-4068-9048-303B120D3231}" presName="line1" presStyleLbl="callout" presStyleIdx="0" presStyleCnt="8"/>
      <dgm:spPr/>
    </dgm:pt>
    <dgm:pt modelId="{8B4CA382-5DE3-4F4D-B2A6-AF4B51323A08}" type="pres">
      <dgm:prSet presAssocID="{D6D482E3-13FA-4068-9048-303B120D3231}" presName="d1" presStyleLbl="callout" presStyleIdx="1" presStyleCnt="8"/>
      <dgm:spPr/>
    </dgm:pt>
    <dgm:pt modelId="{E1F4ACF9-E4AF-4F89-A2D8-BF33BA465E95}" type="pres">
      <dgm:prSet presAssocID="{7CD59AC6-7608-4118-B87B-75F288E46766}" presName="circle2" presStyleLbl="lnNode1" presStyleIdx="1" presStyleCnt="4"/>
      <dgm:spPr/>
    </dgm:pt>
    <dgm:pt modelId="{9AB7BCF1-328C-4AF7-81D6-6DF2B8806444}" type="pres">
      <dgm:prSet presAssocID="{7CD59AC6-7608-4118-B87B-75F288E46766}" presName="text2" presStyleLbl="revTx" presStyleIdx="1" presStyleCnt="4" custScaleX="157203" custLinFactNeighborX="33308">
        <dgm:presLayoutVars>
          <dgm:bulletEnabled val="1"/>
        </dgm:presLayoutVars>
      </dgm:prSet>
      <dgm:spPr/>
      <dgm:t>
        <a:bodyPr/>
        <a:lstStyle/>
        <a:p>
          <a:endParaRPr lang="zh-CN" altLang="en-US"/>
        </a:p>
      </dgm:t>
    </dgm:pt>
    <dgm:pt modelId="{7569AF6A-FD8A-4DC2-8ACA-0D15912DB987}" type="pres">
      <dgm:prSet presAssocID="{7CD59AC6-7608-4118-B87B-75F288E46766}" presName="line2" presStyleLbl="callout" presStyleIdx="2" presStyleCnt="8"/>
      <dgm:spPr/>
    </dgm:pt>
    <dgm:pt modelId="{DCCFB7D5-1E9C-4C68-BAC5-25FFF8BA5B46}" type="pres">
      <dgm:prSet presAssocID="{7CD59AC6-7608-4118-B87B-75F288E46766}" presName="d2" presStyleLbl="callout" presStyleIdx="3" presStyleCnt="8"/>
      <dgm:spPr/>
    </dgm:pt>
    <dgm:pt modelId="{B5869FC5-4AEE-4408-89DC-3FFD62A95C9B}" type="pres">
      <dgm:prSet presAssocID="{945A95C5-2E01-4563-AEBB-D2BF3BF4CCF7}" presName="circle3" presStyleLbl="lnNode1" presStyleIdx="2" presStyleCnt="4"/>
      <dgm:spPr/>
    </dgm:pt>
    <dgm:pt modelId="{42986F45-B43D-4DC1-96C6-8D8EB227FC66}" type="pres">
      <dgm:prSet presAssocID="{945A95C5-2E01-4563-AEBB-D2BF3BF4CCF7}" presName="text3" presStyleLbl="revTx" presStyleIdx="2" presStyleCnt="4" custScaleX="157203" custLinFactNeighborX="33308">
        <dgm:presLayoutVars>
          <dgm:bulletEnabled val="1"/>
        </dgm:presLayoutVars>
      </dgm:prSet>
      <dgm:spPr/>
      <dgm:t>
        <a:bodyPr/>
        <a:lstStyle/>
        <a:p>
          <a:endParaRPr lang="zh-CN" altLang="en-US"/>
        </a:p>
      </dgm:t>
    </dgm:pt>
    <dgm:pt modelId="{DA46A9B5-2200-44C2-A620-DB8C30285F60}" type="pres">
      <dgm:prSet presAssocID="{945A95C5-2E01-4563-AEBB-D2BF3BF4CCF7}" presName="line3" presStyleLbl="callout" presStyleIdx="4" presStyleCnt="8"/>
      <dgm:spPr/>
    </dgm:pt>
    <dgm:pt modelId="{504843A1-6C3C-4C1E-8468-55CE410D1BA8}" type="pres">
      <dgm:prSet presAssocID="{945A95C5-2E01-4563-AEBB-D2BF3BF4CCF7}" presName="d3" presStyleLbl="callout" presStyleIdx="5" presStyleCnt="8"/>
      <dgm:spPr/>
    </dgm:pt>
    <dgm:pt modelId="{25143A55-4088-42ED-B635-8A1EEB638DFE}" type="pres">
      <dgm:prSet presAssocID="{1E605E28-5DDB-4BF0-A76C-A94FE3AAD364}" presName="circle4" presStyleLbl="lnNode1" presStyleIdx="3" presStyleCnt="4"/>
      <dgm:spPr/>
    </dgm:pt>
    <dgm:pt modelId="{A174F5CE-3136-49C0-8648-BF171575D1F9}" type="pres">
      <dgm:prSet presAssocID="{1E605E28-5DDB-4BF0-A76C-A94FE3AAD364}" presName="text4" presStyleLbl="revTx" presStyleIdx="3" presStyleCnt="4" custScaleX="157203" custLinFactNeighborX="33308">
        <dgm:presLayoutVars>
          <dgm:bulletEnabled val="1"/>
        </dgm:presLayoutVars>
      </dgm:prSet>
      <dgm:spPr/>
      <dgm:t>
        <a:bodyPr/>
        <a:lstStyle/>
        <a:p>
          <a:endParaRPr lang="zh-CN" altLang="en-US"/>
        </a:p>
      </dgm:t>
    </dgm:pt>
    <dgm:pt modelId="{27720029-A283-4D95-9A46-274E4D9843A4}" type="pres">
      <dgm:prSet presAssocID="{1E605E28-5DDB-4BF0-A76C-A94FE3AAD364}" presName="line4" presStyleLbl="callout" presStyleIdx="6" presStyleCnt="8"/>
      <dgm:spPr/>
    </dgm:pt>
    <dgm:pt modelId="{E55FAB11-E94D-4DB6-A2C3-F47B601EB9E0}" type="pres">
      <dgm:prSet presAssocID="{1E605E28-5DDB-4BF0-A76C-A94FE3AAD364}" presName="d4" presStyleLbl="callout" presStyleIdx="7" presStyleCnt="8"/>
      <dgm:spPr/>
    </dgm:pt>
  </dgm:ptLst>
  <dgm:cxnLst>
    <dgm:cxn modelId="{50D91D31-B9D6-44AC-B238-CA6D854A55E4}" type="presOf" srcId="{7CD59AC6-7608-4118-B87B-75F288E46766}" destId="{9AB7BCF1-328C-4AF7-81D6-6DF2B8806444}" srcOrd="0" destOrd="0" presId="urn:microsoft.com/office/officeart/2005/8/layout/target1"/>
    <dgm:cxn modelId="{7BE95F56-FBB8-44A7-B6EC-CCC95F1DBA17}" type="presOf" srcId="{D6D482E3-13FA-4068-9048-303B120D3231}" destId="{986650C5-00E3-4F5E-90C1-210C7C7D48B3}" srcOrd="0" destOrd="0" presId="urn:microsoft.com/office/officeart/2005/8/layout/target1"/>
    <dgm:cxn modelId="{2DA953FF-193B-4992-9016-D253B2E9E4C1}" type="presOf" srcId="{F993DA46-2F9E-4D8D-94ED-E9B985F53D30}" destId="{2B0341FA-3AC2-4233-94E2-522949D1C0A1}" srcOrd="0" destOrd="0" presId="urn:microsoft.com/office/officeart/2005/8/layout/target1"/>
    <dgm:cxn modelId="{89D51940-6896-47ED-B2E1-A14C68D46AFC}" srcId="{F993DA46-2F9E-4D8D-94ED-E9B985F53D30}" destId="{945A95C5-2E01-4563-AEBB-D2BF3BF4CCF7}" srcOrd="2" destOrd="0" parTransId="{2EAC1270-8A63-49FF-8170-450D096D028F}" sibTransId="{64E7399F-DA21-4272-8E35-E4B32E662DC4}"/>
    <dgm:cxn modelId="{2945CF97-BECD-4525-936E-04A69E7EF768}" type="presOf" srcId="{945A95C5-2E01-4563-AEBB-D2BF3BF4CCF7}" destId="{42986F45-B43D-4DC1-96C6-8D8EB227FC66}" srcOrd="0" destOrd="0" presId="urn:microsoft.com/office/officeart/2005/8/layout/target1"/>
    <dgm:cxn modelId="{1C0D26C7-0757-42FD-B5B7-4B78E5798CB3}" srcId="{F993DA46-2F9E-4D8D-94ED-E9B985F53D30}" destId="{1E605E28-5DDB-4BF0-A76C-A94FE3AAD364}" srcOrd="3" destOrd="0" parTransId="{01FA1E82-B1B0-4645-AD33-6D3F5522B78A}" sibTransId="{1D520436-9DED-4A5D-9B6B-9E7391890499}"/>
    <dgm:cxn modelId="{CA278A60-2E67-4DF7-8AD3-0A56F01FE4DC}" srcId="{F993DA46-2F9E-4D8D-94ED-E9B985F53D30}" destId="{D6D482E3-13FA-4068-9048-303B120D3231}" srcOrd="0" destOrd="0" parTransId="{2268B8CC-5920-4E5B-B2E7-0700351FB647}" sibTransId="{B82EFA31-00FC-4DD6-BF0D-BAED590B1622}"/>
    <dgm:cxn modelId="{6FF690E7-182B-4261-942C-D239B85731E6}" type="presOf" srcId="{1E605E28-5DDB-4BF0-A76C-A94FE3AAD364}" destId="{A174F5CE-3136-49C0-8648-BF171575D1F9}" srcOrd="0" destOrd="0" presId="urn:microsoft.com/office/officeart/2005/8/layout/target1"/>
    <dgm:cxn modelId="{D515844B-AAE3-4616-A10D-856014BF7E30}" srcId="{F993DA46-2F9E-4D8D-94ED-E9B985F53D30}" destId="{7CD59AC6-7608-4118-B87B-75F288E46766}" srcOrd="1" destOrd="0" parTransId="{7420C20A-CEB5-4641-B045-CB080AA33323}" sibTransId="{8361E77E-6C75-43C3-A65A-34E785817D0C}"/>
    <dgm:cxn modelId="{B5100C56-5F31-4D63-A335-05663C1B45AC}" type="presParOf" srcId="{2B0341FA-3AC2-4233-94E2-522949D1C0A1}" destId="{EDF94C38-1B37-4B3C-9AB5-E758F456760C}" srcOrd="0" destOrd="0" presId="urn:microsoft.com/office/officeart/2005/8/layout/target1"/>
    <dgm:cxn modelId="{01E7A844-15A2-4A83-BCEF-B3C5784D5BEC}" type="presParOf" srcId="{2B0341FA-3AC2-4233-94E2-522949D1C0A1}" destId="{986650C5-00E3-4F5E-90C1-210C7C7D48B3}" srcOrd="1" destOrd="0" presId="urn:microsoft.com/office/officeart/2005/8/layout/target1"/>
    <dgm:cxn modelId="{E90DD92F-BC8F-4E3F-B01D-4B84A6889ABE}" type="presParOf" srcId="{2B0341FA-3AC2-4233-94E2-522949D1C0A1}" destId="{193D6667-132D-45B7-9DF4-F87FFDD84178}" srcOrd="2" destOrd="0" presId="urn:microsoft.com/office/officeart/2005/8/layout/target1"/>
    <dgm:cxn modelId="{DE1CD23C-8D23-48B0-89DC-3B5F2E095854}" type="presParOf" srcId="{2B0341FA-3AC2-4233-94E2-522949D1C0A1}" destId="{8B4CA382-5DE3-4F4D-B2A6-AF4B51323A08}" srcOrd="3" destOrd="0" presId="urn:microsoft.com/office/officeart/2005/8/layout/target1"/>
    <dgm:cxn modelId="{5C851576-C904-4A92-B018-E405FAD6172B}" type="presParOf" srcId="{2B0341FA-3AC2-4233-94E2-522949D1C0A1}" destId="{E1F4ACF9-E4AF-4F89-A2D8-BF33BA465E95}" srcOrd="4" destOrd="0" presId="urn:microsoft.com/office/officeart/2005/8/layout/target1"/>
    <dgm:cxn modelId="{2784FC5F-8F0B-4555-9525-18E9FFC6326B}" type="presParOf" srcId="{2B0341FA-3AC2-4233-94E2-522949D1C0A1}" destId="{9AB7BCF1-328C-4AF7-81D6-6DF2B8806444}" srcOrd="5" destOrd="0" presId="urn:microsoft.com/office/officeart/2005/8/layout/target1"/>
    <dgm:cxn modelId="{DE258EBF-4201-4FF1-9805-9714BD6E9728}" type="presParOf" srcId="{2B0341FA-3AC2-4233-94E2-522949D1C0A1}" destId="{7569AF6A-FD8A-4DC2-8ACA-0D15912DB987}" srcOrd="6" destOrd="0" presId="urn:microsoft.com/office/officeart/2005/8/layout/target1"/>
    <dgm:cxn modelId="{3726F017-B77F-429D-ACD4-29ADF72ACD1D}" type="presParOf" srcId="{2B0341FA-3AC2-4233-94E2-522949D1C0A1}" destId="{DCCFB7D5-1E9C-4C68-BAC5-25FFF8BA5B46}" srcOrd="7" destOrd="0" presId="urn:microsoft.com/office/officeart/2005/8/layout/target1"/>
    <dgm:cxn modelId="{8D7F21E3-CCAE-4627-B32B-19C46D1666AD}" type="presParOf" srcId="{2B0341FA-3AC2-4233-94E2-522949D1C0A1}" destId="{B5869FC5-4AEE-4408-89DC-3FFD62A95C9B}" srcOrd="8" destOrd="0" presId="urn:microsoft.com/office/officeart/2005/8/layout/target1"/>
    <dgm:cxn modelId="{63D1F1DF-D1AF-42C9-A5E1-26FF8A8EA575}" type="presParOf" srcId="{2B0341FA-3AC2-4233-94E2-522949D1C0A1}" destId="{42986F45-B43D-4DC1-96C6-8D8EB227FC66}" srcOrd="9" destOrd="0" presId="urn:microsoft.com/office/officeart/2005/8/layout/target1"/>
    <dgm:cxn modelId="{08B6EE3B-B7D5-4D21-AA00-FC8C7EEDDAC4}" type="presParOf" srcId="{2B0341FA-3AC2-4233-94E2-522949D1C0A1}" destId="{DA46A9B5-2200-44C2-A620-DB8C30285F60}" srcOrd="10" destOrd="0" presId="urn:microsoft.com/office/officeart/2005/8/layout/target1"/>
    <dgm:cxn modelId="{1703655E-13BC-409C-A339-8324E50D5447}" type="presParOf" srcId="{2B0341FA-3AC2-4233-94E2-522949D1C0A1}" destId="{504843A1-6C3C-4C1E-8468-55CE410D1BA8}" srcOrd="11" destOrd="0" presId="urn:microsoft.com/office/officeart/2005/8/layout/target1"/>
    <dgm:cxn modelId="{A2C7FCD2-00AF-4E11-977E-677C2E180457}" type="presParOf" srcId="{2B0341FA-3AC2-4233-94E2-522949D1C0A1}" destId="{25143A55-4088-42ED-B635-8A1EEB638DFE}" srcOrd="12" destOrd="0" presId="urn:microsoft.com/office/officeart/2005/8/layout/target1"/>
    <dgm:cxn modelId="{A1D40EC0-3475-4BDE-ACD8-D851AA6A606C}" type="presParOf" srcId="{2B0341FA-3AC2-4233-94E2-522949D1C0A1}" destId="{A174F5CE-3136-49C0-8648-BF171575D1F9}" srcOrd="13" destOrd="0" presId="urn:microsoft.com/office/officeart/2005/8/layout/target1"/>
    <dgm:cxn modelId="{6096C48E-04ED-4AD1-A70A-322F93B903AC}" type="presParOf" srcId="{2B0341FA-3AC2-4233-94E2-522949D1C0A1}" destId="{27720029-A283-4D95-9A46-274E4D9843A4}" srcOrd="14" destOrd="0" presId="urn:microsoft.com/office/officeart/2005/8/layout/target1"/>
    <dgm:cxn modelId="{D2FFA378-56C1-4B8A-97EE-E56A2B3DEBC1}" type="presParOf" srcId="{2B0341FA-3AC2-4233-94E2-522949D1C0A1}" destId="{E55FAB11-E94D-4DB6-A2C3-F47B601EB9E0}" srcOrd="15" destOrd="0" presId="urn:microsoft.com/office/officeart/2005/8/layout/targe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77D1967-0E9D-4105-8222-791220C97F67}"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zh-CN" altLang="en-US"/>
        </a:p>
      </dgm:t>
    </dgm:pt>
    <dgm:pt modelId="{D5B08538-58E3-43B6-922A-8F0884340778}">
      <dgm:prSet phldrT="[文本]"/>
      <dgm:spPr/>
      <dgm:t>
        <a:bodyPr/>
        <a:lstStyle/>
        <a:p>
          <a:r>
            <a:rPr lang="zh-CN" altLang="en-US" dirty="0" smtClean="0">
              <a:solidFill>
                <a:schemeClr val="tx1"/>
              </a:solidFill>
            </a:rPr>
            <a:t>明确目标</a:t>
          </a:r>
          <a:endParaRPr lang="zh-CN" altLang="en-US" dirty="0">
            <a:solidFill>
              <a:schemeClr val="tx1"/>
            </a:solidFill>
          </a:endParaRPr>
        </a:p>
      </dgm:t>
    </dgm:pt>
    <dgm:pt modelId="{CCD1AE0B-B32A-46E8-841D-D691CE89065C}" type="parTrans" cxnId="{6E7FEF59-177E-46B4-8D42-DB4DB4050EE9}">
      <dgm:prSet/>
      <dgm:spPr/>
      <dgm:t>
        <a:bodyPr/>
        <a:lstStyle/>
        <a:p>
          <a:endParaRPr lang="zh-CN" altLang="en-US">
            <a:solidFill>
              <a:schemeClr val="tx1"/>
            </a:solidFill>
          </a:endParaRPr>
        </a:p>
      </dgm:t>
    </dgm:pt>
    <dgm:pt modelId="{EA42A746-7782-4DB2-9149-33BDA3D31A12}" type="sibTrans" cxnId="{6E7FEF59-177E-46B4-8D42-DB4DB4050EE9}">
      <dgm:prSet/>
      <dgm:spPr/>
      <dgm:t>
        <a:bodyPr/>
        <a:lstStyle/>
        <a:p>
          <a:endParaRPr lang="zh-CN" altLang="en-US">
            <a:solidFill>
              <a:schemeClr val="tx1"/>
            </a:solidFill>
          </a:endParaRPr>
        </a:p>
      </dgm:t>
    </dgm:pt>
    <dgm:pt modelId="{E51A8910-4422-45AA-AA40-755A0E9EFE1A}">
      <dgm:prSet phldrT="[文本]"/>
      <dgm:spPr/>
      <dgm:t>
        <a:bodyPr/>
        <a:lstStyle/>
        <a:p>
          <a:r>
            <a:rPr lang="zh-CN" altLang="en-US" dirty="0" smtClean="0">
              <a:solidFill>
                <a:schemeClr val="tx1"/>
              </a:solidFill>
            </a:rPr>
            <a:t>目标明确</a:t>
          </a:r>
          <a:endParaRPr lang="zh-CN" altLang="en-US" dirty="0">
            <a:solidFill>
              <a:schemeClr val="tx1"/>
            </a:solidFill>
          </a:endParaRPr>
        </a:p>
      </dgm:t>
    </dgm:pt>
    <dgm:pt modelId="{C66080F7-EF22-4F4A-A69B-3A0E8DF7B1A9}" type="parTrans" cxnId="{3F9491FE-2358-4259-8F9D-B8386568847E}">
      <dgm:prSet/>
      <dgm:spPr/>
      <dgm:t>
        <a:bodyPr/>
        <a:lstStyle/>
        <a:p>
          <a:endParaRPr lang="zh-CN" altLang="en-US">
            <a:solidFill>
              <a:schemeClr val="tx1"/>
            </a:solidFill>
          </a:endParaRPr>
        </a:p>
      </dgm:t>
    </dgm:pt>
    <dgm:pt modelId="{E5C9236F-4C89-4A8A-A38E-D7D606F16BCE}" type="sibTrans" cxnId="{3F9491FE-2358-4259-8F9D-B8386568847E}">
      <dgm:prSet/>
      <dgm:spPr/>
      <dgm:t>
        <a:bodyPr/>
        <a:lstStyle/>
        <a:p>
          <a:endParaRPr lang="zh-CN" altLang="en-US">
            <a:solidFill>
              <a:schemeClr val="tx1"/>
            </a:solidFill>
          </a:endParaRPr>
        </a:p>
      </dgm:t>
    </dgm:pt>
    <dgm:pt modelId="{0B162F16-52C0-4A4D-98AD-7DF4CD8DD143}">
      <dgm:prSet phldrT="[文本]"/>
      <dgm:spPr/>
      <dgm:t>
        <a:bodyPr/>
        <a:lstStyle/>
        <a:p>
          <a:r>
            <a:rPr lang="zh-CN" altLang="en-US" dirty="0" smtClean="0">
              <a:solidFill>
                <a:schemeClr val="tx1"/>
              </a:solidFill>
            </a:rPr>
            <a:t>控制目标</a:t>
          </a:r>
          <a:endParaRPr lang="zh-CN" altLang="en-US" dirty="0">
            <a:solidFill>
              <a:schemeClr val="tx1"/>
            </a:solidFill>
          </a:endParaRPr>
        </a:p>
      </dgm:t>
    </dgm:pt>
    <dgm:pt modelId="{6CD87287-4EA3-489A-942D-D200DAC6FADF}" type="parTrans" cxnId="{B839BE0C-F842-47A1-868D-053897B51B63}">
      <dgm:prSet/>
      <dgm:spPr/>
      <dgm:t>
        <a:bodyPr/>
        <a:lstStyle/>
        <a:p>
          <a:endParaRPr lang="zh-CN" altLang="en-US">
            <a:solidFill>
              <a:schemeClr val="tx1"/>
            </a:solidFill>
          </a:endParaRPr>
        </a:p>
      </dgm:t>
    </dgm:pt>
    <dgm:pt modelId="{EA1EDD0B-9305-42BC-96D1-549296CBC655}" type="sibTrans" cxnId="{B839BE0C-F842-47A1-868D-053897B51B63}">
      <dgm:prSet/>
      <dgm:spPr/>
      <dgm:t>
        <a:bodyPr/>
        <a:lstStyle/>
        <a:p>
          <a:endParaRPr lang="zh-CN" altLang="en-US">
            <a:solidFill>
              <a:schemeClr val="tx1"/>
            </a:solidFill>
          </a:endParaRPr>
        </a:p>
      </dgm:t>
    </dgm:pt>
    <dgm:pt modelId="{953E22A2-F209-4135-A744-6ADCCEB03F93}">
      <dgm:prSet phldrT="[文本]"/>
      <dgm:spPr/>
      <dgm:t>
        <a:bodyPr/>
        <a:lstStyle/>
        <a:p>
          <a:r>
            <a:rPr lang="zh-CN" altLang="en-US" dirty="0" smtClean="0">
              <a:solidFill>
                <a:schemeClr val="tx1"/>
              </a:solidFill>
            </a:rPr>
            <a:t>嗅探踩点</a:t>
          </a:r>
          <a:endParaRPr lang="zh-CN" altLang="en-US" dirty="0">
            <a:solidFill>
              <a:schemeClr val="tx1"/>
            </a:solidFill>
          </a:endParaRPr>
        </a:p>
      </dgm:t>
    </dgm:pt>
    <dgm:pt modelId="{3606AD5E-BD76-4962-A9C3-4F9A2958D4C5}" type="parTrans" cxnId="{D24C0EA5-5DDA-4EFC-A9F7-AD2601198EE4}">
      <dgm:prSet/>
      <dgm:spPr/>
      <dgm:t>
        <a:bodyPr/>
        <a:lstStyle/>
        <a:p>
          <a:endParaRPr lang="zh-CN" altLang="en-US">
            <a:solidFill>
              <a:schemeClr val="tx1"/>
            </a:solidFill>
          </a:endParaRPr>
        </a:p>
      </dgm:t>
    </dgm:pt>
    <dgm:pt modelId="{B9319527-89BF-4EFD-AE95-A9DC0E9A2060}" type="sibTrans" cxnId="{D24C0EA5-5DDA-4EFC-A9F7-AD2601198EE4}">
      <dgm:prSet/>
      <dgm:spPr/>
      <dgm:t>
        <a:bodyPr/>
        <a:lstStyle/>
        <a:p>
          <a:endParaRPr lang="zh-CN" altLang="en-US">
            <a:solidFill>
              <a:schemeClr val="tx1"/>
            </a:solidFill>
          </a:endParaRPr>
        </a:p>
      </dgm:t>
    </dgm:pt>
    <dgm:pt modelId="{1A8D58DA-EA4B-4247-9733-377A0D152CCE}">
      <dgm:prSet phldrT="[文本]"/>
      <dgm:spPr/>
      <dgm:t>
        <a:bodyPr/>
        <a:lstStyle/>
        <a:p>
          <a:r>
            <a:rPr lang="zh-CN" altLang="en-US" dirty="0" smtClean="0">
              <a:solidFill>
                <a:schemeClr val="tx1"/>
              </a:solidFill>
            </a:rPr>
            <a:t>收割撤退</a:t>
          </a:r>
          <a:endParaRPr lang="zh-CN" altLang="en-US" dirty="0">
            <a:solidFill>
              <a:schemeClr val="tx1"/>
            </a:solidFill>
          </a:endParaRPr>
        </a:p>
      </dgm:t>
    </dgm:pt>
    <dgm:pt modelId="{D865DDA6-6673-4F53-8572-5F4D0D03FDF1}" type="parTrans" cxnId="{F3C74C71-5332-4F32-A913-3FD9FFED0982}">
      <dgm:prSet/>
      <dgm:spPr/>
      <dgm:t>
        <a:bodyPr/>
        <a:lstStyle/>
        <a:p>
          <a:endParaRPr lang="zh-CN" altLang="en-US">
            <a:solidFill>
              <a:schemeClr val="tx1"/>
            </a:solidFill>
          </a:endParaRPr>
        </a:p>
      </dgm:t>
    </dgm:pt>
    <dgm:pt modelId="{3EC5E9A6-FEDF-4A88-B75E-E7CEEE80158D}" type="sibTrans" cxnId="{F3C74C71-5332-4F32-A913-3FD9FFED0982}">
      <dgm:prSet/>
      <dgm:spPr/>
      <dgm:t>
        <a:bodyPr/>
        <a:lstStyle/>
        <a:p>
          <a:endParaRPr lang="zh-CN" altLang="en-US">
            <a:solidFill>
              <a:schemeClr val="tx1"/>
            </a:solidFill>
          </a:endParaRPr>
        </a:p>
      </dgm:t>
    </dgm:pt>
    <dgm:pt modelId="{76329D52-F1E7-491D-BF6A-3A65EDF3B33A}">
      <dgm:prSet phldrT="[文本]"/>
      <dgm:spPr/>
      <dgm:t>
        <a:bodyPr/>
        <a:lstStyle/>
        <a:p>
          <a:r>
            <a:rPr lang="zh-CN" altLang="en-US" dirty="0" smtClean="0">
              <a:solidFill>
                <a:schemeClr val="tx1"/>
              </a:solidFill>
            </a:rPr>
            <a:t>收割战果</a:t>
          </a:r>
          <a:endParaRPr lang="zh-CN" altLang="en-US" dirty="0">
            <a:solidFill>
              <a:schemeClr val="tx1"/>
            </a:solidFill>
          </a:endParaRPr>
        </a:p>
      </dgm:t>
    </dgm:pt>
    <dgm:pt modelId="{4B007940-1C81-4EAF-9A62-13AB08F21FB9}" type="parTrans" cxnId="{F167313C-537D-40B8-837D-75F879476B5C}">
      <dgm:prSet/>
      <dgm:spPr/>
      <dgm:t>
        <a:bodyPr/>
        <a:lstStyle/>
        <a:p>
          <a:endParaRPr lang="zh-CN" altLang="en-US">
            <a:solidFill>
              <a:schemeClr val="tx1"/>
            </a:solidFill>
          </a:endParaRPr>
        </a:p>
      </dgm:t>
    </dgm:pt>
    <dgm:pt modelId="{D7830ED0-159E-4D71-8286-47B56C6916E9}" type="sibTrans" cxnId="{F167313C-537D-40B8-837D-75F879476B5C}">
      <dgm:prSet/>
      <dgm:spPr/>
      <dgm:t>
        <a:bodyPr/>
        <a:lstStyle/>
        <a:p>
          <a:endParaRPr lang="zh-CN" altLang="en-US">
            <a:solidFill>
              <a:schemeClr val="tx1"/>
            </a:solidFill>
          </a:endParaRPr>
        </a:p>
      </dgm:t>
    </dgm:pt>
    <dgm:pt modelId="{3FE50A98-030A-4803-ACCE-77CB5BF1D0FD}">
      <dgm:prSet phldrT="[文本]"/>
      <dgm:spPr/>
      <dgm:t>
        <a:bodyPr/>
        <a:lstStyle/>
        <a:p>
          <a:r>
            <a:rPr lang="zh-CN" altLang="en-US" dirty="0" smtClean="0">
              <a:solidFill>
                <a:schemeClr val="tx1"/>
              </a:solidFill>
            </a:rPr>
            <a:t>撤退清痕</a:t>
          </a:r>
          <a:endParaRPr lang="zh-CN" altLang="en-US" dirty="0">
            <a:solidFill>
              <a:schemeClr val="tx1"/>
            </a:solidFill>
          </a:endParaRPr>
        </a:p>
      </dgm:t>
    </dgm:pt>
    <dgm:pt modelId="{469BB5C6-88E7-4A84-9591-FEDB143F0321}" type="parTrans" cxnId="{94844FF9-BA28-47A8-A10E-7B62150880FE}">
      <dgm:prSet/>
      <dgm:spPr/>
      <dgm:t>
        <a:bodyPr/>
        <a:lstStyle/>
        <a:p>
          <a:endParaRPr lang="zh-CN" altLang="en-US">
            <a:solidFill>
              <a:schemeClr val="tx1"/>
            </a:solidFill>
          </a:endParaRPr>
        </a:p>
      </dgm:t>
    </dgm:pt>
    <dgm:pt modelId="{5DBD8B90-0511-4686-B835-DD2811207421}" type="sibTrans" cxnId="{94844FF9-BA28-47A8-A10E-7B62150880FE}">
      <dgm:prSet/>
      <dgm:spPr/>
      <dgm:t>
        <a:bodyPr/>
        <a:lstStyle/>
        <a:p>
          <a:endParaRPr lang="zh-CN" altLang="en-US">
            <a:solidFill>
              <a:schemeClr val="tx1"/>
            </a:solidFill>
          </a:endParaRPr>
        </a:p>
      </dgm:t>
    </dgm:pt>
    <dgm:pt modelId="{703977C2-977B-4031-9A29-4B928D552268}">
      <dgm:prSet phldrT="[文本]"/>
      <dgm:spPr/>
      <dgm:t>
        <a:bodyPr/>
        <a:lstStyle/>
        <a:p>
          <a:r>
            <a:rPr lang="zh-CN" altLang="en-US" dirty="0" smtClean="0">
              <a:solidFill>
                <a:schemeClr val="tx1"/>
              </a:solidFill>
            </a:rPr>
            <a:t>目标不明</a:t>
          </a:r>
          <a:endParaRPr lang="zh-CN" altLang="en-US" dirty="0">
            <a:solidFill>
              <a:schemeClr val="tx1"/>
            </a:solidFill>
          </a:endParaRPr>
        </a:p>
      </dgm:t>
    </dgm:pt>
    <dgm:pt modelId="{85A8B2F4-41DF-4CAF-B97A-A44FE20982CB}" type="parTrans" cxnId="{62E3D590-3F8D-405B-91AB-9CAB7EAEF179}">
      <dgm:prSet/>
      <dgm:spPr/>
      <dgm:t>
        <a:bodyPr/>
        <a:lstStyle/>
        <a:p>
          <a:endParaRPr lang="zh-CN" altLang="en-US">
            <a:solidFill>
              <a:schemeClr val="tx1"/>
            </a:solidFill>
          </a:endParaRPr>
        </a:p>
      </dgm:t>
    </dgm:pt>
    <dgm:pt modelId="{E4039A26-160E-4E57-8F7F-A404AB3B2071}" type="sibTrans" cxnId="{62E3D590-3F8D-405B-91AB-9CAB7EAEF179}">
      <dgm:prSet/>
      <dgm:spPr/>
      <dgm:t>
        <a:bodyPr/>
        <a:lstStyle/>
        <a:p>
          <a:endParaRPr lang="zh-CN" altLang="en-US">
            <a:solidFill>
              <a:schemeClr val="tx1"/>
            </a:solidFill>
          </a:endParaRPr>
        </a:p>
      </dgm:t>
    </dgm:pt>
    <dgm:pt modelId="{73FBAFBB-71C7-4E22-AAFE-77D9AF8BE8A0}">
      <dgm:prSet phldrT="[文本]"/>
      <dgm:spPr/>
      <dgm:t>
        <a:bodyPr/>
        <a:lstStyle/>
        <a:p>
          <a:r>
            <a:rPr lang="zh-CN" altLang="en-US" dirty="0" smtClean="0">
              <a:solidFill>
                <a:schemeClr val="tx1"/>
              </a:solidFill>
            </a:rPr>
            <a:t>精准定位</a:t>
          </a:r>
          <a:endParaRPr lang="zh-CN" altLang="en-US" dirty="0">
            <a:solidFill>
              <a:schemeClr val="tx1"/>
            </a:solidFill>
          </a:endParaRPr>
        </a:p>
      </dgm:t>
    </dgm:pt>
    <dgm:pt modelId="{288AD2D5-43FB-41F2-9634-940454EA50A8}" type="parTrans" cxnId="{C14D61DF-2BD5-457F-B99D-C30AD718C2F9}">
      <dgm:prSet/>
      <dgm:spPr/>
      <dgm:t>
        <a:bodyPr/>
        <a:lstStyle/>
        <a:p>
          <a:endParaRPr lang="zh-CN" altLang="en-US">
            <a:solidFill>
              <a:schemeClr val="tx1"/>
            </a:solidFill>
          </a:endParaRPr>
        </a:p>
      </dgm:t>
    </dgm:pt>
    <dgm:pt modelId="{F49C9E67-DBC3-4B1F-B161-2BB42F01523E}" type="sibTrans" cxnId="{C14D61DF-2BD5-457F-B99D-C30AD718C2F9}">
      <dgm:prSet/>
      <dgm:spPr/>
      <dgm:t>
        <a:bodyPr/>
        <a:lstStyle/>
        <a:p>
          <a:endParaRPr lang="zh-CN" altLang="en-US">
            <a:solidFill>
              <a:schemeClr val="tx1"/>
            </a:solidFill>
          </a:endParaRPr>
        </a:p>
      </dgm:t>
    </dgm:pt>
    <dgm:pt modelId="{5CC57C03-F428-4115-84CF-673FB401E91C}">
      <dgm:prSet phldrT="[文本]"/>
      <dgm:spPr/>
      <dgm:t>
        <a:bodyPr/>
        <a:lstStyle/>
        <a:p>
          <a:r>
            <a:rPr lang="zh-CN" altLang="en-US" dirty="0" smtClean="0">
              <a:solidFill>
                <a:schemeClr val="tx1"/>
              </a:solidFill>
            </a:rPr>
            <a:t>精确打击</a:t>
          </a:r>
          <a:endParaRPr lang="zh-CN" altLang="en-US" dirty="0">
            <a:solidFill>
              <a:schemeClr val="tx1"/>
            </a:solidFill>
          </a:endParaRPr>
        </a:p>
      </dgm:t>
    </dgm:pt>
    <dgm:pt modelId="{A6D7C046-CE0F-474D-A0CC-559123655162}" type="parTrans" cxnId="{F26E8169-81BB-43C5-827F-50CACFBF9B6D}">
      <dgm:prSet/>
      <dgm:spPr/>
      <dgm:t>
        <a:bodyPr/>
        <a:lstStyle/>
        <a:p>
          <a:endParaRPr lang="zh-CN" altLang="en-US">
            <a:solidFill>
              <a:schemeClr val="tx1"/>
            </a:solidFill>
          </a:endParaRPr>
        </a:p>
      </dgm:t>
    </dgm:pt>
    <dgm:pt modelId="{C6FDB9C3-2CA7-4871-9C1A-59CC4D199DFA}" type="sibTrans" cxnId="{F26E8169-81BB-43C5-827F-50CACFBF9B6D}">
      <dgm:prSet/>
      <dgm:spPr/>
      <dgm:t>
        <a:bodyPr/>
        <a:lstStyle/>
        <a:p>
          <a:endParaRPr lang="zh-CN" altLang="en-US">
            <a:solidFill>
              <a:schemeClr val="tx1"/>
            </a:solidFill>
          </a:endParaRPr>
        </a:p>
      </dgm:t>
    </dgm:pt>
    <dgm:pt modelId="{477EBE3B-D71C-4D5E-B701-D52D1C0F4348}" type="pres">
      <dgm:prSet presAssocID="{C77D1967-0E9D-4105-8222-791220C97F67}" presName="Name0" presStyleCnt="0">
        <dgm:presLayoutVars>
          <dgm:dir/>
          <dgm:animLvl val="lvl"/>
          <dgm:resizeHandles val="exact"/>
        </dgm:presLayoutVars>
      </dgm:prSet>
      <dgm:spPr/>
      <dgm:t>
        <a:bodyPr/>
        <a:lstStyle/>
        <a:p>
          <a:endParaRPr lang="zh-CN" altLang="en-US"/>
        </a:p>
      </dgm:t>
    </dgm:pt>
    <dgm:pt modelId="{25F314B0-2389-41A7-BBEA-22A7FBBE689E}" type="pres">
      <dgm:prSet presAssocID="{C77D1967-0E9D-4105-8222-791220C97F67}" presName="tSp" presStyleCnt="0"/>
      <dgm:spPr/>
    </dgm:pt>
    <dgm:pt modelId="{619EA61E-7D37-47B6-AC5A-EFD86FCBBAD7}" type="pres">
      <dgm:prSet presAssocID="{C77D1967-0E9D-4105-8222-791220C97F67}" presName="bSp" presStyleCnt="0"/>
      <dgm:spPr/>
    </dgm:pt>
    <dgm:pt modelId="{86011E62-67C4-4FDF-8F8E-0DE2EE8AF39D}" type="pres">
      <dgm:prSet presAssocID="{C77D1967-0E9D-4105-8222-791220C97F67}" presName="process" presStyleCnt="0"/>
      <dgm:spPr/>
    </dgm:pt>
    <dgm:pt modelId="{42DB19F7-69B5-48AF-AB29-A8F938350CD3}" type="pres">
      <dgm:prSet presAssocID="{D5B08538-58E3-43B6-922A-8F0884340778}" presName="composite1" presStyleCnt="0"/>
      <dgm:spPr/>
    </dgm:pt>
    <dgm:pt modelId="{9BECE244-70C0-42E9-85F5-74CFC683668A}" type="pres">
      <dgm:prSet presAssocID="{D5B08538-58E3-43B6-922A-8F0884340778}" presName="dummyNode1" presStyleLbl="node1" presStyleIdx="0" presStyleCnt="3"/>
      <dgm:spPr/>
    </dgm:pt>
    <dgm:pt modelId="{4585DD48-032D-4866-882F-49367061C3C6}" type="pres">
      <dgm:prSet presAssocID="{D5B08538-58E3-43B6-922A-8F0884340778}" presName="childNode1" presStyleLbl="bgAcc1" presStyleIdx="0" presStyleCnt="3">
        <dgm:presLayoutVars>
          <dgm:bulletEnabled val="1"/>
        </dgm:presLayoutVars>
      </dgm:prSet>
      <dgm:spPr/>
      <dgm:t>
        <a:bodyPr/>
        <a:lstStyle/>
        <a:p>
          <a:endParaRPr lang="zh-CN" altLang="en-US"/>
        </a:p>
      </dgm:t>
    </dgm:pt>
    <dgm:pt modelId="{14AC4254-0540-4A4E-9605-367E66A18957}" type="pres">
      <dgm:prSet presAssocID="{D5B08538-58E3-43B6-922A-8F0884340778}" presName="childNode1tx" presStyleLbl="bgAcc1" presStyleIdx="0" presStyleCnt="3">
        <dgm:presLayoutVars>
          <dgm:bulletEnabled val="1"/>
        </dgm:presLayoutVars>
      </dgm:prSet>
      <dgm:spPr/>
      <dgm:t>
        <a:bodyPr/>
        <a:lstStyle/>
        <a:p>
          <a:endParaRPr lang="zh-CN" altLang="en-US"/>
        </a:p>
      </dgm:t>
    </dgm:pt>
    <dgm:pt modelId="{9A6D37D5-B495-405E-B200-134F879E8AAD}" type="pres">
      <dgm:prSet presAssocID="{D5B08538-58E3-43B6-922A-8F0884340778}" presName="parentNode1" presStyleLbl="node1" presStyleIdx="0" presStyleCnt="3">
        <dgm:presLayoutVars>
          <dgm:chMax val="1"/>
          <dgm:bulletEnabled val="1"/>
        </dgm:presLayoutVars>
      </dgm:prSet>
      <dgm:spPr/>
      <dgm:t>
        <a:bodyPr/>
        <a:lstStyle/>
        <a:p>
          <a:endParaRPr lang="zh-CN" altLang="en-US"/>
        </a:p>
      </dgm:t>
    </dgm:pt>
    <dgm:pt modelId="{61D26B1E-0FF0-4B3B-A7B2-BE5956D5F4B0}" type="pres">
      <dgm:prSet presAssocID="{D5B08538-58E3-43B6-922A-8F0884340778}" presName="connSite1" presStyleCnt="0"/>
      <dgm:spPr/>
    </dgm:pt>
    <dgm:pt modelId="{91EE0E10-095B-43E1-853F-54485DAFED59}" type="pres">
      <dgm:prSet presAssocID="{EA42A746-7782-4DB2-9149-33BDA3D31A12}" presName="Name9" presStyleLbl="sibTrans2D1" presStyleIdx="0" presStyleCnt="2"/>
      <dgm:spPr/>
      <dgm:t>
        <a:bodyPr/>
        <a:lstStyle/>
        <a:p>
          <a:endParaRPr lang="zh-CN" altLang="en-US"/>
        </a:p>
      </dgm:t>
    </dgm:pt>
    <dgm:pt modelId="{9B224F25-88B0-4D70-A23B-6FDF01F4C06B}" type="pres">
      <dgm:prSet presAssocID="{0B162F16-52C0-4A4D-98AD-7DF4CD8DD143}" presName="composite2" presStyleCnt="0"/>
      <dgm:spPr/>
    </dgm:pt>
    <dgm:pt modelId="{C429F846-6818-4B9B-A2E5-3030D7959DD3}" type="pres">
      <dgm:prSet presAssocID="{0B162F16-52C0-4A4D-98AD-7DF4CD8DD143}" presName="dummyNode2" presStyleLbl="node1" presStyleIdx="0" presStyleCnt="3"/>
      <dgm:spPr/>
    </dgm:pt>
    <dgm:pt modelId="{0F08E310-D94B-4BEC-B08E-451E0C8F7551}" type="pres">
      <dgm:prSet presAssocID="{0B162F16-52C0-4A4D-98AD-7DF4CD8DD143}" presName="childNode2" presStyleLbl="bgAcc1" presStyleIdx="1" presStyleCnt="3">
        <dgm:presLayoutVars>
          <dgm:bulletEnabled val="1"/>
        </dgm:presLayoutVars>
      </dgm:prSet>
      <dgm:spPr/>
      <dgm:t>
        <a:bodyPr/>
        <a:lstStyle/>
        <a:p>
          <a:endParaRPr lang="zh-CN" altLang="en-US"/>
        </a:p>
      </dgm:t>
    </dgm:pt>
    <dgm:pt modelId="{B56BDB9C-A59E-402F-8CFE-C71FE220BC20}" type="pres">
      <dgm:prSet presAssocID="{0B162F16-52C0-4A4D-98AD-7DF4CD8DD143}" presName="childNode2tx" presStyleLbl="bgAcc1" presStyleIdx="1" presStyleCnt="3">
        <dgm:presLayoutVars>
          <dgm:bulletEnabled val="1"/>
        </dgm:presLayoutVars>
      </dgm:prSet>
      <dgm:spPr/>
      <dgm:t>
        <a:bodyPr/>
        <a:lstStyle/>
        <a:p>
          <a:endParaRPr lang="zh-CN" altLang="en-US"/>
        </a:p>
      </dgm:t>
    </dgm:pt>
    <dgm:pt modelId="{E782036F-533C-4059-A4BB-348FAB79B4BE}" type="pres">
      <dgm:prSet presAssocID="{0B162F16-52C0-4A4D-98AD-7DF4CD8DD143}" presName="parentNode2" presStyleLbl="node1" presStyleIdx="1" presStyleCnt="3">
        <dgm:presLayoutVars>
          <dgm:chMax val="0"/>
          <dgm:bulletEnabled val="1"/>
        </dgm:presLayoutVars>
      </dgm:prSet>
      <dgm:spPr/>
      <dgm:t>
        <a:bodyPr/>
        <a:lstStyle/>
        <a:p>
          <a:endParaRPr lang="zh-CN" altLang="en-US"/>
        </a:p>
      </dgm:t>
    </dgm:pt>
    <dgm:pt modelId="{3242FC7E-0161-46ED-B6A7-4E5CDA38B408}" type="pres">
      <dgm:prSet presAssocID="{0B162F16-52C0-4A4D-98AD-7DF4CD8DD143}" presName="connSite2" presStyleCnt="0"/>
      <dgm:spPr/>
    </dgm:pt>
    <dgm:pt modelId="{33EF7120-7AC0-4A8F-824C-987F4EBFF055}" type="pres">
      <dgm:prSet presAssocID="{EA1EDD0B-9305-42BC-96D1-549296CBC655}" presName="Name18" presStyleLbl="sibTrans2D1" presStyleIdx="1" presStyleCnt="2"/>
      <dgm:spPr/>
      <dgm:t>
        <a:bodyPr/>
        <a:lstStyle/>
        <a:p>
          <a:endParaRPr lang="zh-CN" altLang="en-US"/>
        </a:p>
      </dgm:t>
    </dgm:pt>
    <dgm:pt modelId="{374F6B07-DF69-4E42-8A94-F42695153BE3}" type="pres">
      <dgm:prSet presAssocID="{1A8D58DA-EA4B-4247-9733-377A0D152CCE}" presName="composite1" presStyleCnt="0"/>
      <dgm:spPr/>
    </dgm:pt>
    <dgm:pt modelId="{C38FAF4D-914D-49D0-90CA-80BEC39B029D}" type="pres">
      <dgm:prSet presAssocID="{1A8D58DA-EA4B-4247-9733-377A0D152CCE}" presName="dummyNode1" presStyleLbl="node1" presStyleIdx="1" presStyleCnt="3"/>
      <dgm:spPr/>
    </dgm:pt>
    <dgm:pt modelId="{BE228E2E-A3EE-40F6-BA2D-17C3D8E6B513}" type="pres">
      <dgm:prSet presAssocID="{1A8D58DA-EA4B-4247-9733-377A0D152CCE}" presName="childNode1" presStyleLbl="bgAcc1" presStyleIdx="2" presStyleCnt="3">
        <dgm:presLayoutVars>
          <dgm:bulletEnabled val="1"/>
        </dgm:presLayoutVars>
      </dgm:prSet>
      <dgm:spPr/>
      <dgm:t>
        <a:bodyPr/>
        <a:lstStyle/>
        <a:p>
          <a:endParaRPr lang="zh-CN" altLang="en-US"/>
        </a:p>
      </dgm:t>
    </dgm:pt>
    <dgm:pt modelId="{2C2E73EC-B668-4D3F-A99A-7A174A715894}" type="pres">
      <dgm:prSet presAssocID="{1A8D58DA-EA4B-4247-9733-377A0D152CCE}" presName="childNode1tx" presStyleLbl="bgAcc1" presStyleIdx="2" presStyleCnt="3">
        <dgm:presLayoutVars>
          <dgm:bulletEnabled val="1"/>
        </dgm:presLayoutVars>
      </dgm:prSet>
      <dgm:spPr/>
      <dgm:t>
        <a:bodyPr/>
        <a:lstStyle/>
        <a:p>
          <a:endParaRPr lang="zh-CN" altLang="en-US"/>
        </a:p>
      </dgm:t>
    </dgm:pt>
    <dgm:pt modelId="{EABE32C4-38AB-4471-8421-42B707886302}" type="pres">
      <dgm:prSet presAssocID="{1A8D58DA-EA4B-4247-9733-377A0D152CCE}" presName="parentNode1" presStyleLbl="node1" presStyleIdx="2" presStyleCnt="3">
        <dgm:presLayoutVars>
          <dgm:chMax val="1"/>
          <dgm:bulletEnabled val="1"/>
        </dgm:presLayoutVars>
      </dgm:prSet>
      <dgm:spPr/>
      <dgm:t>
        <a:bodyPr/>
        <a:lstStyle/>
        <a:p>
          <a:endParaRPr lang="zh-CN" altLang="en-US"/>
        </a:p>
      </dgm:t>
    </dgm:pt>
    <dgm:pt modelId="{FD1A7127-A862-4751-AB41-F27CAE91508B}" type="pres">
      <dgm:prSet presAssocID="{1A8D58DA-EA4B-4247-9733-377A0D152CCE}" presName="connSite1" presStyleCnt="0"/>
      <dgm:spPr/>
    </dgm:pt>
  </dgm:ptLst>
  <dgm:cxnLst>
    <dgm:cxn modelId="{E110592E-0266-4168-A1AC-ADC6234C2F7D}" type="presOf" srcId="{EA42A746-7782-4DB2-9149-33BDA3D31A12}" destId="{91EE0E10-095B-43E1-853F-54485DAFED59}" srcOrd="0" destOrd="0" presId="urn:microsoft.com/office/officeart/2005/8/layout/hProcess4"/>
    <dgm:cxn modelId="{B8F0C5E9-462F-4142-8F17-C434569FC5D3}" type="presOf" srcId="{3FE50A98-030A-4803-ACCE-77CB5BF1D0FD}" destId="{2C2E73EC-B668-4D3F-A99A-7A174A715894}" srcOrd="1" destOrd="1" presId="urn:microsoft.com/office/officeart/2005/8/layout/hProcess4"/>
    <dgm:cxn modelId="{3F9491FE-2358-4259-8F9D-B8386568847E}" srcId="{D5B08538-58E3-43B6-922A-8F0884340778}" destId="{E51A8910-4422-45AA-AA40-755A0E9EFE1A}" srcOrd="0" destOrd="0" parTransId="{C66080F7-EF22-4F4A-A69B-3A0E8DF7B1A9}" sibTransId="{E5C9236F-4C89-4A8A-A38E-D7D606F16BCE}"/>
    <dgm:cxn modelId="{555C0D41-9900-482B-A86D-679E77805D21}" type="presOf" srcId="{E51A8910-4422-45AA-AA40-755A0E9EFE1A}" destId="{14AC4254-0540-4A4E-9605-367E66A18957}" srcOrd="1" destOrd="0" presId="urn:microsoft.com/office/officeart/2005/8/layout/hProcess4"/>
    <dgm:cxn modelId="{3D7742EE-152F-40E6-B982-0E132348122A}" type="presOf" srcId="{3FE50A98-030A-4803-ACCE-77CB5BF1D0FD}" destId="{BE228E2E-A3EE-40F6-BA2D-17C3D8E6B513}" srcOrd="0" destOrd="1" presId="urn:microsoft.com/office/officeart/2005/8/layout/hProcess4"/>
    <dgm:cxn modelId="{6E7FEF59-177E-46B4-8D42-DB4DB4050EE9}" srcId="{C77D1967-0E9D-4105-8222-791220C97F67}" destId="{D5B08538-58E3-43B6-922A-8F0884340778}" srcOrd="0" destOrd="0" parTransId="{CCD1AE0B-B32A-46E8-841D-D691CE89065C}" sibTransId="{EA42A746-7782-4DB2-9149-33BDA3D31A12}"/>
    <dgm:cxn modelId="{122EF05A-0F4D-4C9D-9461-BD11E3006A32}" type="presOf" srcId="{5CC57C03-F428-4115-84CF-673FB401E91C}" destId="{0F08E310-D94B-4BEC-B08E-451E0C8F7551}" srcOrd="0" destOrd="2" presId="urn:microsoft.com/office/officeart/2005/8/layout/hProcess4"/>
    <dgm:cxn modelId="{537BA5A7-6DA2-4876-A5AC-0FDB9A00E0FC}" type="presOf" srcId="{D5B08538-58E3-43B6-922A-8F0884340778}" destId="{9A6D37D5-B495-405E-B200-134F879E8AAD}" srcOrd="0" destOrd="0" presId="urn:microsoft.com/office/officeart/2005/8/layout/hProcess4"/>
    <dgm:cxn modelId="{8FDC2390-5F67-4F5A-8E92-CB61F33FB6CB}" type="presOf" srcId="{E51A8910-4422-45AA-AA40-755A0E9EFE1A}" destId="{4585DD48-032D-4866-882F-49367061C3C6}" srcOrd="0" destOrd="0" presId="urn:microsoft.com/office/officeart/2005/8/layout/hProcess4"/>
    <dgm:cxn modelId="{417885BC-A2EE-477F-A725-0B6901B3B940}" type="presOf" srcId="{C77D1967-0E9D-4105-8222-791220C97F67}" destId="{477EBE3B-D71C-4D5E-B701-D52D1C0F4348}" srcOrd="0" destOrd="0" presId="urn:microsoft.com/office/officeart/2005/8/layout/hProcess4"/>
    <dgm:cxn modelId="{C149F3F8-1AC9-4C2B-848E-7EAD58566E03}" type="presOf" srcId="{73FBAFBB-71C7-4E22-AAFE-77D9AF8BE8A0}" destId="{0F08E310-D94B-4BEC-B08E-451E0C8F7551}" srcOrd="0" destOrd="1" presId="urn:microsoft.com/office/officeart/2005/8/layout/hProcess4"/>
    <dgm:cxn modelId="{669CAFB5-FD47-438F-8C79-119E8D7AA5CA}" type="presOf" srcId="{1A8D58DA-EA4B-4247-9733-377A0D152CCE}" destId="{EABE32C4-38AB-4471-8421-42B707886302}" srcOrd="0" destOrd="0" presId="urn:microsoft.com/office/officeart/2005/8/layout/hProcess4"/>
    <dgm:cxn modelId="{ED2D01EE-7B87-4949-A03B-1B445E25CCA3}" type="presOf" srcId="{953E22A2-F209-4135-A744-6ADCCEB03F93}" destId="{0F08E310-D94B-4BEC-B08E-451E0C8F7551}" srcOrd="0" destOrd="0" presId="urn:microsoft.com/office/officeart/2005/8/layout/hProcess4"/>
    <dgm:cxn modelId="{06188C80-FE88-4097-B471-A3809244EAB2}" type="presOf" srcId="{703977C2-977B-4031-9A29-4B928D552268}" destId="{4585DD48-032D-4866-882F-49367061C3C6}" srcOrd="0" destOrd="1" presId="urn:microsoft.com/office/officeart/2005/8/layout/hProcess4"/>
    <dgm:cxn modelId="{F3C74C71-5332-4F32-A913-3FD9FFED0982}" srcId="{C77D1967-0E9D-4105-8222-791220C97F67}" destId="{1A8D58DA-EA4B-4247-9733-377A0D152CCE}" srcOrd="2" destOrd="0" parTransId="{D865DDA6-6673-4F53-8572-5F4D0D03FDF1}" sibTransId="{3EC5E9A6-FEDF-4A88-B75E-E7CEEE80158D}"/>
    <dgm:cxn modelId="{D24C0EA5-5DDA-4EFC-A9F7-AD2601198EE4}" srcId="{0B162F16-52C0-4A4D-98AD-7DF4CD8DD143}" destId="{953E22A2-F209-4135-A744-6ADCCEB03F93}" srcOrd="0" destOrd="0" parTransId="{3606AD5E-BD76-4962-A9C3-4F9A2958D4C5}" sibTransId="{B9319527-89BF-4EFD-AE95-A9DC0E9A2060}"/>
    <dgm:cxn modelId="{E60FF959-AEB1-455C-958D-A78C007D9E9C}" type="presOf" srcId="{953E22A2-F209-4135-A744-6ADCCEB03F93}" destId="{B56BDB9C-A59E-402F-8CFE-C71FE220BC20}" srcOrd="1" destOrd="0" presId="urn:microsoft.com/office/officeart/2005/8/layout/hProcess4"/>
    <dgm:cxn modelId="{0131D9EA-FE24-47D2-9133-16574C84ED14}" type="presOf" srcId="{EA1EDD0B-9305-42BC-96D1-549296CBC655}" destId="{33EF7120-7AC0-4A8F-824C-987F4EBFF055}" srcOrd="0" destOrd="0" presId="urn:microsoft.com/office/officeart/2005/8/layout/hProcess4"/>
    <dgm:cxn modelId="{62E3D590-3F8D-405B-91AB-9CAB7EAEF179}" srcId="{D5B08538-58E3-43B6-922A-8F0884340778}" destId="{703977C2-977B-4031-9A29-4B928D552268}" srcOrd="1" destOrd="0" parTransId="{85A8B2F4-41DF-4CAF-B97A-A44FE20982CB}" sibTransId="{E4039A26-160E-4E57-8F7F-A404AB3B2071}"/>
    <dgm:cxn modelId="{548AA17A-459D-4862-95A5-D8DD082838CE}" type="presOf" srcId="{76329D52-F1E7-491D-BF6A-3A65EDF3B33A}" destId="{BE228E2E-A3EE-40F6-BA2D-17C3D8E6B513}" srcOrd="0" destOrd="0" presId="urn:microsoft.com/office/officeart/2005/8/layout/hProcess4"/>
    <dgm:cxn modelId="{65977236-244F-4668-BD89-C52BE9AC154A}" type="presOf" srcId="{703977C2-977B-4031-9A29-4B928D552268}" destId="{14AC4254-0540-4A4E-9605-367E66A18957}" srcOrd="1" destOrd="1" presId="urn:microsoft.com/office/officeart/2005/8/layout/hProcess4"/>
    <dgm:cxn modelId="{E0F19F5B-8214-4202-BE7F-CC4C2E71987E}" type="presOf" srcId="{73FBAFBB-71C7-4E22-AAFE-77D9AF8BE8A0}" destId="{B56BDB9C-A59E-402F-8CFE-C71FE220BC20}" srcOrd="1" destOrd="1" presId="urn:microsoft.com/office/officeart/2005/8/layout/hProcess4"/>
    <dgm:cxn modelId="{F167313C-537D-40B8-837D-75F879476B5C}" srcId="{1A8D58DA-EA4B-4247-9733-377A0D152CCE}" destId="{76329D52-F1E7-491D-BF6A-3A65EDF3B33A}" srcOrd="0" destOrd="0" parTransId="{4B007940-1C81-4EAF-9A62-13AB08F21FB9}" sibTransId="{D7830ED0-159E-4D71-8286-47B56C6916E9}"/>
    <dgm:cxn modelId="{C14D61DF-2BD5-457F-B99D-C30AD718C2F9}" srcId="{0B162F16-52C0-4A4D-98AD-7DF4CD8DD143}" destId="{73FBAFBB-71C7-4E22-AAFE-77D9AF8BE8A0}" srcOrd="1" destOrd="0" parTransId="{288AD2D5-43FB-41F2-9634-940454EA50A8}" sibTransId="{F49C9E67-DBC3-4B1F-B161-2BB42F01523E}"/>
    <dgm:cxn modelId="{D775106F-7070-4D0A-8C50-05D9E1C02BDD}" type="presOf" srcId="{76329D52-F1E7-491D-BF6A-3A65EDF3B33A}" destId="{2C2E73EC-B668-4D3F-A99A-7A174A715894}" srcOrd="1" destOrd="0" presId="urn:microsoft.com/office/officeart/2005/8/layout/hProcess4"/>
    <dgm:cxn modelId="{94844FF9-BA28-47A8-A10E-7B62150880FE}" srcId="{1A8D58DA-EA4B-4247-9733-377A0D152CCE}" destId="{3FE50A98-030A-4803-ACCE-77CB5BF1D0FD}" srcOrd="1" destOrd="0" parTransId="{469BB5C6-88E7-4A84-9591-FEDB143F0321}" sibTransId="{5DBD8B90-0511-4686-B835-DD2811207421}"/>
    <dgm:cxn modelId="{D153BBA8-89EE-4A79-9B69-50BDC50A7DC2}" type="presOf" srcId="{5CC57C03-F428-4115-84CF-673FB401E91C}" destId="{B56BDB9C-A59E-402F-8CFE-C71FE220BC20}" srcOrd="1" destOrd="2" presId="urn:microsoft.com/office/officeart/2005/8/layout/hProcess4"/>
    <dgm:cxn modelId="{F26E8169-81BB-43C5-827F-50CACFBF9B6D}" srcId="{0B162F16-52C0-4A4D-98AD-7DF4CD8DD143}" destId="{5CC57C03-F428-4115-84CF-673FB401E91C}" srcOrd="2" destOrd="0" parTransId="{A6D7C046-CE0F-474D-A0CC-559123655162}" sibTransId="{C6FDB9C3-2CA7-4871-9C1A-59CC4D199DFA}"/>
    <dgm:cxn modelId="{B839BE0C-F842-47A1-868D-053897B51B63}" srcId="{C77D1967-0E9D-4105-8222-791220C97F67}" destId="{0B162F16-52C0-4A4D-98AD-7DF4CD8DD143}" srcOrd="1" destOrd="0" parTransId="{6CD87287-4EA3-489A-942D-D200DAC6FADF}" sibTransId="{EA1EDD0B-9305-42BC-96D1-549296CBC655}"/>
    <dgm:cxn modelId="{4E78A8AD-27F1-49AA-BFB6-1BC2C107D50D}" type="presOf" srcId="{0B162F16-52C0-4A4D-98AD-7DF4CD8DD143}" destId="{E782036F-533C-4059-A4BB-348FAB79B4BE}" srcOrd="0" destOrd="0" presId="urn:microsoft.com/office/officeart/2005/8/layout/hProcess4"/>
    <dgm:cxn modelId="{42248274-2057-454B-BB95-DF178C9D56D9}" type="presParOf" srcId="{477EBE3B-D71C-4D5E-B701-D52D1C0F4348}" destId="{25F314B0-2389-41A7-BBEA-22A7FBBE689E}" srcOrd="0" destOrd="0" presId="urn:microsoft.com/office/officeart/2005/8/layout/hProcess4"/>
    <dgm:cxn modelId="{D930E195-A77E-491F-AADB-2F18A8B2CFDD}" type="presParOf" srcId="{477EBE3B-D71C-4D5E-B701-D52D1C0F4348}" destId="{619EA61E-7D37-47B6-AC5A-EFD86FCBBAD7}" srcOrd="1" destOrd="0" presId="urn:microsoft.com/office/officeart/2005/8/layout/hProcess4"/>
    <dgm:cxn modelId="{90D9C30B-BE89-4CED-8293-47C90F9A1194}" type="presParOf" srcId="{477EBE3B-D71C-4D5E-B701-D52D1C0F4348}" destId="{86011E62-67C4-4FDF-8F8E-0DE2EE8AF39D}" srcOrd="2" destOrd="0" presId="urn:microsoft.com/office/officeart/2005/8/layout/hProcess4"/>
    <dgm:cxn modelId="{6ADF38A4-DCCF-4663-886D-B72E81B76C9B}" type="presParOf" srcId="{86011E62-67C4-4FDF-8F8E-0DE2EE8AF39D}" destId="{42DB19F7-69B5-48AF-AB29-A8F938350CD3}" srcOrd="0" destOrd="0" presId="urn:microsoft.com/office/officeart/2005/8/layout/hProcess4"/>
    <dgm:cxn modelId="{39669187-7B7C-46AC-BF9F-518C321D0516}" type="presParOf" srcId="{42DB19F7-69B5-48AF-AB29-A8F938350CD3}" destId="{9BECE244-70C0-42E9-85F5-74CFC683668A}" srcOrd="0" destOrd="0" presId="urn:microsoft.com/office/officeart/2005/8/layout/hProcess4"/>
    <dgm:cxn modelId="{D44A7708-7F17-4842-AE97-979F91E097C0}" type="presParOf" srcId="{42DB19F7-69B5-48AF-AB29-A8F938350CD3}" destId="{4585DD48-032D-4866-882F-49367061C3C6}" srcOrd="1" destOrd="0" presId="urn:microsoft.com/office/officeart/2005/8/layout/hProcess4"/>
    <dgm:cxn modelId="{6D39DC49-8CA1-4984-8609-D927AA36EDF5}" type="presParOf" srcId="{42DB19F7-69B5-48AF-AB29-A8F938350CD3}" destId="{14AC4254-0540-4A4E-9605-367E66A18957}" srcOrd="2" destOrd="0" presId="urn:microsoft.com/office/officeart/2005/8/layout/hProcess4"/>
    <dgm:cxn modelId="{61029CAD-BB8C-48B2-8753-9D2C54A1C2DE}" type="presParOf" srcId="{42DB19F7-69B5-48AF-AB29-A8F938350CD3}" destId="{9A6D37D5-B495-405E-B200-134F879E8AAD}" srcOrd="3" destOrd="0" presId="urn:microsoft.com/office/officeart/2005/8/layout/hProcess4"/>
    <dgm:cxn modelId="{9B46A227-5460-4DB1-883C-EF184FE3BB1B}" type="presParOf" srcId="{42DB19F7-69B5-48AF-AB29-A8F938350CD3}" destId="{61D26B1E-0FF0-4B3B-A7B2-BE5956D5F4B0}" srcOrd="4" destOrd="0" presId="urn:microsoft.com/office/officeart/2005/8/layout/hProcess4"/>
    <dgm:cxn modelId="{BB907E36-F7DB-4DE3-A97C-EA2CD539AD56}" type="presParOf" srcId="{86011E62-67C4-4FDF-8F8E-0DE2EE8AF39D}" destId="{91EE0E10-095B-43E1-853F-54485DAFED59}" srcOrd="1" destOrd="0" presId="urn:microsoft.com/office/officeart/2005/8/layout/hProcess4"/>
    <dgm:cxn modelId="{C2419D8D-26F5-416D-B7C3-40169F86E668}" type="presParOf" srcId="{86011E62-67C4-4FDF-8F8E-0DE2EE8AF39D}" destId="{9B224F25-88B0-4D70-A23B-6FDF01F4C06B}" srcOrd="2" destOrd="0" presId="urn:microsoft.com/office/officeart/2005/8/layout/hProcess4"/>
    <dgm:cxn modelId="{49063033-976A-4FDE-A468-118FF457FD43}" type="presParOf" srcId="{9B224F25-88B0-4D70-A23B-6FDF01F4C06B}" destId="{C429F846-6818-4B9B-A2E5-3030D7959DD3}" srcOrd="0" destOrd="0" presId="urn:microsoft.com/office/officeart/2005/8/layout/hProcess4"/>
    <dgm:cxn modelId="{B14D0C5D-DEA7-4AB7-AD5A-2317635687C4}" type="presParOf" srcId="{9B224F25-88B0-4D70-A23B-6FDF01F4C06B}" destId="{0F08E310-D94B-4BEC-B08E-451E0C8F7551}" srcOrd="1" destOrd="0" presId="urn:microsoft.com/office/officeart/2005/8/layout/hProcess4"/>
    <dgm:cxn modelId="{0AF41986-17AC-4FC5-B8B5-82097E5EB957}" type="presParOf" srcId="{9B224F25-88B0-4D70-A23B-6FDF01F4C06B}" destId="{B56BDB9C-A59E-402F-8CFE-C71FE220BC20}" srcOrd="2" destOrd="0" presId="urn:microsoft.com/office/officeart/2005/8/layout/hProcess4"/>
    <dgm:cxn modelId="{D047E979-E8AA-42BC-B89A-98F38FE79D23}" type="presParOf" srcId="{9B224F25-88B0-4D70-A23B-6FDF01F4C06B}" destId="{E782036F-533C-4059-A4BB-348FAB79B4BE}" srcOrd="3" destOrd="0" presId="urn:microsoft.com/office/officeart/2005/8/layout/hProcess4"/>
    <dgm:cxn modelId="{5073DAE9-E518-46BD-ABAF-CC65201FB3F0}" type="presParOf" srcId="{9B224F25-88B0-4D70-A23B-6FDF01F4C06B}" destId="{3242FC7E-0161-46ED-B6A7-4E5CDA38B408}" srcOrd="4" destOrd="0" presId="urn:microsoft.com/office/officeart/2005/8/layout/hProcess4"/>
    <dgm:cxn modelId="{1F91B221-28D1-47B6-8395-03D828EF0A49}" type="presParOf" srcId="{86011E62-67C4-4FDF-8F8E-0DE2EE8AF39D}" destId="{33EF7120-7AC0-4A8F-824C-987F4EBFF055}" srcOrd="3" destOrd="0" presId="urn:microsoft.com/office/officeart/2005/8/layout/hProcess4"/>
    <dgm:cxn modelId="{9E8315CF-C3AF-4B2C-ADA8-5D1289828F41}" type="presParOf" srcId="{86011E62-67C4-4FDF-8F8E-0DE2EE8AF39D}" destId="{374F6B07-DF69-4E42-8A94-F42695153BE3}" srcOrd="4" destOrd="0" presId="urn:microsoft.com/office/officeart/2005/8/layout/hProcess4"/>
    <dgm:cxn modelId="{4DDC349A-9966-4798-960D-2FCB7876E4E5}" type="presParOf" srcId="{374F6B07-DF69-4E42-8A94-F42695153BE3}" destId="{C38FAF4D-914D-49D0-90CA-80BEC39B029D}" srcOrd="0" destOrd="0" presId="urn:microsoft.com/office/officeart/2005/8/layout/hProcess4"/>
    <dgm:cxn modelId="{00F82A03-E1B1-45B2-9223-6D89C0E18CC7}" type="presParOf" srcId="{374F6B07-DF69-4E42-8A94-F42695153BE3}" destId="{BE228E2E-A3EE-40F6-BA2D-17C3D8E6B513}" srcOrd="1" destOrd="0" presId="urn:microsoft.com/office/officeart/2005/8/layout/hProcess4"/>
    <dgm:cxn modelId="{3AD2E3D4-5DFF-4C2D-BD2D-68690E4366F6}" type="presParOf" srcId="{374F6B07-DF69-4E42-8A94-F42695153BE3}" destId="{2C2E73EC-B668-4D3F-A99A-7A174A715894}" srcOrd="2" destOrd="0" presId="urn:microsoft.com/office/officeart/2005/8/layout/hProcess4"/>
    <dgm:cxn modelId="{778173D7-6C52-44E8-B941-23F9A04514AA}" type="presParOf" srcId="{374F6B07-DF69-4E42-8A94-F42695153BE3}" destId="{EABE32C4-38AB-4471-8421-42B707886302}" srcOrd="3" destOrd="0" presId="urn:microsoft.com/office/officeart/2005/8/layout/hProcess4"/>
    <dgm:cxn modelId="{FC2D7DC9-E3C6-4B9B-86EA-C57080F44095}" type="presParOf" srcId="{374F6B07-DF69-4E42-8A94-F42695153BE3}" destId="{FD1A7127-A862-4751-AB41-F27CAE91508B}"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716B0465-B9B7-4B2E-A8E4-0F0C4C95D79D}"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zh-CN" altLang="en-US"/>
        </a:p>
      </dgm:t>
    </dgm:pt>
    <dgm:pt modelId="{059193DF-97FF-4C91-B23F-A83DBC9A8157}">
      <dgm:prSet phldrT="[文本]"/>
      <dgm:spPr/>
      <dgm:t>
        <a:bodyPr/>
        <a:lstStyle/>
        <a:p>
          <a:r>
            <a:rPr lang="zh-CN" altLang="en-US" dirty="0" smtClean="0"/>
            <a:t>目标不明</a:t>
          </a:r>
          <a:endParaRPr lang="zh-CN" altLang="en-US" dirty="0"/>
        </a:p>
      </dgm:t>
    </dgm:pt>
    <dgm:pt modelId="{5BA9EECC-CF8B-4285-AF50-B9F2F71FB55C}" type="parTrans" cxnId="{F343C018-2B10-46D7-99DA-0B211F18003E}">
      <dgm:prSet/>
      <dgm:spPr/>
      <dgm:t>
        <a:bodyPr/>
        <a:lstStyle/>
        <a:p>
          <a:endParaRPr lang="zh-CN" altLang="en-US"/>
        </a:p>
      </dgm:t>
    </dgm:pt>
    <dgm:pt modelId="{EE5CDE11-A42E-484D-B17F-EB90460B042C}" type="sibTrans" cxnId="{F343C018-2B10-46D7-99DA-0B211F18003E}">
      <dgm:prSet/>
      <dgm:spPr/>
      <dgm:t>
        <a:bodyPr/>
        <a:lstStyle/>
        <a:p>
          <a:endParaRPr lang="zh-CN" altLang="en-US"/>
        </a:p>
      </dgm:t>
    </dgm:pt>
    <dgm:pt modelId="{E70D6EC0-28C8-42A4-BE5C-E9D7EB6226D6}">
      <dgm:prSet phldrT="[文本]"/>
      <dgm:spPr/>
      <dgm:t>
        <a:bodyPr/>
        <a:lstStyle/>
        <a:p>
          <a:r>
            <a:rPr lang="zh-CN" altLang="en-US" dirty="0" smtClean="0"/>
            <a:t>目标明确</a:t>
          </a:r>
          <a:endParaRPr lang="zh-CN" altLang="en-US" dirty="0"/>
        </a:p>
      </dgm:t>
    </dgm:pt>
    <dgm:pt modelId="{AC2601F1-95A3-4B3E-BDAF-963E2FA75033}" type="parTrans" cxnId="{5405614C-A6C7-4645-AC7A-EC7EC0F35361}">
      <dgm:prSet/>
      <dgm:spPr/>
      <dgm:t>
        <a:bodyPr/>
        <a:lstStyle/>
        <a:p>
          <a:endParaRPr lang="zh-CN" altLang="en-US"/>
        </a:p>
      </dgm:t>
    </dgm:pt>
    <dgm:pt modelId="{081FC4F5-129D-4005-97D3-610F12CF04E9}" type="sibTrans" cxnId="{5405614C-A6C7-4645-AC7A-EC7EC0F35361}">
      <dgm:prSet/>
      <dgm:spPr/>
      <dgm:t>
        <a:bodyPr/>
        <a:lstStyle/>
        <a:p>
          <a:endParaRPr lang="zh-CN" altLang="en-US"/>
        </a:p>
      </dgm:t>
    </dgm:pt>
    <dgm:pt modelId="{68F155E4-17AD-473B-9B87-D9D093D697B5}">
      <dgm:prSet/>
      <dgm:spPr/>
      <dgm:t>
        <a:bodyPr/>
        <a:lstStyle/>
        <a:p>
          <a:r>
            <a:rPr lang="zh-CN" altLang="en-US" dirty="0" smtClean="0"/>
            <a:t>寻在目标</a:t>
          </a:r>
          <a:endParaRPr lang="zh-CN" altLang="en-US" dirty="0"/>
        </a:p>
      </dgm:t>
    </dgm:pt>
    <dgm:pt modelId="{F2BAFDA2-0C84-4455-BA2D-BD0A19FF975F}" type="parTrans" cxnId="{F13690C1-9C2C-4FF7-93B8-794B74C4F5FB}">
      <dgm:prSet/>
      <dgm:spPr/>
      <dgm:t>
        <a:bodyPr/>
        <a:lstStyle/>
        <a:p>
          <a:endParaRPr lang="zh-CN" altLang="en-US"/>
        </a:p>
      </dgm:t>
    </dgm:pt>
    <dgm:pt modelId="{656B7E61-64D8-4533-9878-1218E0D064DE}" type="sibTrans" cxnId="{F13690C1-9C2C-4FF7-93B8-794B74C4F5FB}">
      <dgm:prSet/>
      <dgm:spPr/>
      <dgm:t>
        <a:bodyPr/>
        <a:lstStyle/>
        <a:p>
          <a:endParaRPr lang="zh-CN" altLang="en-US"/>
        </a:p>
      </dgm:t>
    </dgm:pt>
    <dgm:pt modelId="{4E9731A0-ABBC-4D62-8C2B-5AD9DE23A428}">
      <dgm:prSet phldrT="[文本]"/>
      <dgm:spPr/>
      <dgm:t>
        <a:bodyPr/>
        <a:lstStyle/>
        <a:p>
          <a:r>
            <a:rPr lang="zh-CN" altLang="en-US" dirty="0" smtClean="0"/>
            <a:t>潜伏破坏</a:t>
          </a:r>
          <a:endParaRPr lang="zh-CN" altLang="en-US" dirty="0"/>
        </a:p>
      </dgm:t>
    </dgm:pt>
    <dgm:pt modelId="{82327E32-9010-4967-9098-3C708D5F4E0C}" type="sibTrans" cxnId="{A6B3270B-559E-4FA3-924D-A5F18E485697}">
      <dgm:prSet/>
      <dgm:spPr/>
      <dgm:t>
        <a:bodyPr/>
        <a:lstStyle/>
        <a:p>
          <a:endParaRPr lang="zh-CN" altLang="en-US"/>
        </a:p>
      </dgm:t>
    </dgm:pt>
    <dgm:pt modelId="{8E66B879-5784-42F1-B760-2B97644F4196}" type="parTrans" cxnId="{A6B3270B-559E-4FA3-924D-A5F18E485697}">
      <dgm:prSet/>
      <dgm:spPr/>
      <dgm:t>
        <a:bodyPr/>
        <a:lstStyle/>
        <a:p>
          <a:endParaRPr lang="zh-CN" altLang="en-US"/>
        </a:p>
      </dgm:t>
    </dgm:pt>
    <dgm:pt modelId="{7AE25768-C29F-4750-AAE9-AD2A579DCA4F}">
      <dgm:prSet phldrT="[文本]"/>
      <dgm:spPr/>
      <dgm:t>
        <a:bodyPr/>
        <a:lstStyle/>
        <a:p>
          <a:r>
            <a:rPr lang="zh-CN" altLang="en-US" dirty="0" smtClean="0"/>
            <a:t>盗套信息</a:t>
          </a:r>
          <a:endParaRPr lang="zh-CN" altLang="en-US" dirty="0"/>
        </a:p>
      </dgm:t>
    </dgm:pt>
    <dgm:pt modelId="{6194B875-0855-46F3-B508-979AC6F9B86B}" type="sibTrans" cxnId="{D6CA73CC-0FDC-4966-AB6B-9C2827E3D427}">
      <dgm:prSet/>
      <dgm:spPr/>
      <dgm:t>
        <a:bodyPr/>
        <a:lstStyle/>
        <a:p>
          <a:endParaRPr lang="zh-CN" altLang="en-US"/>
        </a:p>
      </dgm:t>
    </dgm:pt>
    <dgm:pt modelId="{BB3584E6-F9D7-423D-92DA-AB7BB7B0B1D6}" type="parTrans" cxnId="{D6CA73CC-0FDC-4966-AB6B-9C2827E3D427}">
      <dgm:prSet/>
      <dgm:spPr/>
      <dgm:t>
        <a:bodyPr/>
        <a:lstStyle/>
        <a:p>
          <a:endParaRPr lang="zh-CN" altLang="en-US"/>
        </a:p>
      </dgm:t>
    </dgm:pt>
    <dgm:pt modelId="{7215AE10-0352-43EE-8E8E-46D6F31D9C51}">
      <dgm:prSet phldrT="[文本]"/>
      <dgm:spPr/>
      <dgm:t>
        <a:bodyPr/>
        <a:lstStyle/>
        <a:p>
          <a:r>
            <a:rPr lang="zh-CN" altLang="en-US" dirty="0" smtClean="0"/>
            <a:t>盗套物品</a:t>
          </a:r>
          <a:endParaRPr lang="zh-CN" altLang="en-US" dirty="0"/>
        </a:p>
      </dgm:t>
    </dgm:pt>
    <dgm:pt modelId="{4DA52212-A64D-4E44-A972-4A89B1AFD453}" type="sibTrans" cxnId="{BB9E84B2-3ACE-4D3B-B73A-C70F7D3CD105}">
      <dgm:prSet/>
      <dgm:spPr/>
      <dgm:t>
        <a:bodyPr/>
        <a:lstStyle/>
        <a:p>
          <a:endParaRPr lang="zh-CN" altLang="en-US"/>
        </a:p>
      </dgm:t>
    </dgm:pt>
    <dgm:pt modelId="{D490147B-39F3-40FB-97BD-8F6F486E2DE3}" type="parTrans" cxnId="{BB9E84B2-3ACE-4D3B-B73A-C70F7D3CD105}">
      <dgm:prSet/>
      <dgm:spPr/>
      <dgm:t>
        <a:bodyPr/>
        <a:lstStyle/>
        <a:p>
          <a:endParaRPr lang="zh-CN" altLang="en-US"/>
        </a:p>
      </dgm:t>
    </dgm:pt>
    <dgm:pt modelId="{CAD50DCA-7736-485C-B5CD-38F2C6D347A0}">
      <dgm:prSet phldrT="[文本]"/>
      <dgm:spPr/>
      <dgm:t>
        <a:bodyPr/>
        <a:lstStyle/>
        <a:p>
          <a:r>
            <a:rPr lang="zh-CN" altLang="en-US" dirty="0" smtClean="0"/>
            <a:t>盗套资金</a:t>
          </a:r>
          <a:endParaRPr lang="zh-CN" altLang="en-US" dirty="0"/>
        </a:p>
      </dgm:t>
    </dgm:pt>
    <dgm:pt modelId="{5F467E26-D959-4046-BACC-5B440814D9FA}" type="sibTrans" cxnId="{30A3EA29-F88A-4683-9836-1A0AB5C2CD0D}">
      <dgm:prSet/>
      <dgm:spPr/>
      <dgm:t>
        <a:bodyPr/>
        <a:lstStyle/>
        <a:p>
          <a:endParaRPr lang="zh-CN" altLang="en-US"/>
        </a:p>
      </dgm:t>
    </dgm:pt>
    <dgm:pt modelId="{DF4D399D-7A75-4D6B-A7DE-EF65B7F88DA9}" type="parTrans" cxnId="{30A3EA29-F88A-4683-9836-1A0AB5C2CD0D}">
      <dgm:prSet/>
      <dgm:spPr/>
      <dgm:t>
        <a:bodyPr/>
        <a:lstStyle/>
        <a:p>
          <a:endParaRPr lang="zh-CN" altLang="en-US"/>
        </a:p>
      </dgm:t>
    </dgm:pt>
    <dgm:pt modelId="{62F3CCCE-096B-4AD6-B389-A60722671D3E}">
      <dgm:prSet/>
      <dgm:spPr/>
      <dgm:t>
        <a:bodyPr/>
        <a:lstStyle/>
        <a:p>
          <a:r>
            <a:rPr lang="zh-CN" altLang="en-US" dirty="0" smtClean="0"/>
            <a:t>嗅探踩点</a:t>
          </a:r>
          <a:endParaRPr lang="zh-CN" altLang="en-US" dirty="0"/>
        </a:p>
      </dgm:t>
    </dgm:pt>
    <dgm:pt modelId="{D5C9CCA4-5C04-42EB-9E20-78611D9ABCDC}" type="parTrans" cxnId="{7E44E220-FEF2-4786-8009-0580DA3C9BBB}">
      <dgm:prSet/>
      <dgm:spPr/>
      <dgm:t>
        <a:bodyPr/>
        <a:lstStyle/>
        <a:p>
          <a:endParaRPr lang="zh-CN" altLang="en-US"/>
        </a:p>
      </dgm:t>
    </dgm:pt>
    <dgm:pt modelId="{259F0C96-0957-4DA0-AE32-F55F30BD2970}" type="sibTrans" cxnId="{7E44E220-FEF2-4786-8009-0580DA3C9BBB}">
      <dgm:prSet/>
      <dgm:spPr/>
      <dgm:t>
        <a:bodyPr/>
        <a:lstStyle/>
        <a:p>
          <a:endParaRPr lang="zh-CN" altLang="en-US"/>
        </a:p>
      </dgm:t>
    </dgm:pt>
    <dgm:pt modelId="{50F89588-24F7-470A-913B-A5B8F02AEFE7}">
      <dgm:prSet/>
      <dgm:spPr/>
      <dgm:t>
        <a:bodyPr/>
        <a:lstStyle/>
        <a:p>
          <a:r>
            <a:rPr lang="zh-CN" altLang="en-US" dirty="0" smtClean="0"/>
            <a:t>目标评估</a:t>
          </a:r>
          <a:endParaRPr lang="zh-CN" altLang="en-US" dirty="0"/>
        </a:p>
      </dgm:t>
    </dgm:pt>
    <dgm:pt modelId="{784694AC-F38C-4176-8994-D8E9491263F4}" type="parTrans" cxnId="{81B49E5E-A0DF-4DB5-922A-F13C9599B619}">
      <dgm:prSet/>
      <dgm:spPr/>
      <dgm:t>
        <a:bodyPr/>
        <a:lstStyle/>
        <a:p>
          <a:endParaRPr lang="zh-CN" altLang="en-US"/>
        </a:p>
      </dgm:t>
    </dgm:pt>
    <dgm:pt modelId="{B70FCCA0-3270-479D-8E28-88DC2D36609B}" type="sibTrans" cxnId="{81B49E5E-A0DF-4DB5-922A-F13C9599B619}">
      <dgm:prSet/>
      <dgm:spPr/>
      <dgm:t>
        <a:bodyPr/>
        <a:lstStyle/>
        <a:p>
          <a:endParaRPr lang="zh-CN" altLang="en-US"/>
        </a:p>
      </dgm:t>
    </dgm:pt>
    <dgm:pt modelId="{D475A3F0-7836-42A9-AFD5-B6F967DA4C3F}" type="pres">
      <dgm:prSet presAssocID="{716B0465-B9B7-4B2E-A8E4-0F0C4C95D79D}" presName="Name0" presStyleCnt="0">
        <dgm:presLayoutVars>
          <dgm:chMax val="7"/>
          <dgm:chPref val="7"/>
          <dgm:dir/>
          <dgm:animLvl val="lvl"/>
        </dgm:presLayoutVars>
      </dgm:prSet>
      <dgm:spPr/>
      <dgm:t>
        <a:bodyPr/>
        <a:lstStyle/>
        <a:p>
          <a:endParaRPr lang="zh-CN" altLang="en-US"/>
        </a:p>
      </dgm:t>
    </dgm:pt>
    <dgm:pt modelId="{FB997E18-392D-453D-81B7-FB7947C7D3F1}" type="pres">
      <dgm:prSet presAssocID="{059193DF-97FF-4C91-B23F-A83DBC9A8157}" presName="Accent1" presStyleCnt="0"/>
      <dgm:spPr/>
    </dgm:pt>
    <dgm:pt modelId="{6A2727DF-5196-42D0-B7CB-90C7639413CA}" type="pres">
      <dgm:prSet presAssocID="{059193DF-97FF-4C91-B23F-A83DBC9A8157}" presName="Accent" presStyleLbl="node1" presStyleIdx="0" presStyleCnt="3"/>
      <dgm:spPr/>
    </dgm:pt>
    <dgm:pt modelId="{1734CBF1-CE4D-463A-BFCF-4B84EAEB9C6D}" type="pres">
      <dgm:prSet presAssocID="{059193DF-97FF-4C91-B23F-A83DBC9A8157}" presName="Parent1" presStyleLbl="revTx" presStyleIdx="0" presStyleCnt="5">
        <dgm:presLayoutVars>
          <dgm:chMax val="1"/>
          <dgm:chPref val="1"/>
          <dgm:bulletEnabled val="1"/>
        </dgm:presLayoutVars>
      </dgm:prSet>
      <dgm:spPr/>
      <dgm:t>
        <a:bodyPr/>
        <a:lstStyle/>
        <a:p>
          <a:endParaRPr lang="zh-CN" altLang="en-US"/>
        </a:p>
      </dgm:t>
    </dgm:pt>
    <dgm:pt modelId="{1659FCD7-6821-4158-BACB-CBA83B745174}" type="pres">
      <dgm:prSet presAssocID="{68F155E4-17AD-473B-9B87-D9D093D697B5}" presName="Accent2" presStyleCnt="0"/>
      <dgm:spPr/>
    </dgm:pt>
    <dgm:pt modelId="{41D5B40E-5AD0-4A7B-9259-5AC13411D2B4}" type="pres">
      <dgm:prSet presAssocID="{68F155E4-17AD-473B-9B87-D9D093D697B5}" presName="Accent" presStyleLbl="node1" presStyleIdx="1" presStyleCnt="3"/>
      <dgm:spPr/>
    </dgm:pt>
    <dgm:pt modelId="{AF2175BB-8B66-40EB-805D-E1DD02197CDF}" type="pres">
      <dgm:prSet presAssocID="{68F155E4-17AD-473B-9B87-D9D093D697B5}" presName="Child2" presStyleLbl="revTx" presStyleIdx="1" presStyleCnt="5">
        <dgm:presLayoutVars>
          <dgm:chMax val="0"/>
          <dgm:chPref val="0"/>
          <dgm:bulletEnabled val="1"/>
        </dgm:presLayoutVars>
      </dgm:prSet>
      <dgm:spPr/>
      <dgm:t>
        <a:bodyPr/>
        <a:lstStyle/>
        <a:p>
          <a:endParaRPr lang="zh-CN" altLang="en-US"/>
        </a:p>
      </dgm:t>
    </dgm:pt>
    <dgm:pt modelId="{D453D2DC-3249-49F5-823C-8763B479D361}" type="pres">
      <dgm:prSet presAssocID="{68F155E4-17AD-473B-9B87-D9D093D697B5}" presName="Parent2" presStyleLbl="revTx" presStyleIdx="2" presStyleCnt="5">
        <dgm:presLayoutVars>
          <dgm:chMax val="1"/>
          <dgm:chPref val="1"/>
          <dgm:bulletEnabled val="1"/>
        </dgm:presLayoutVars>
      </dgm:prSet>
      <dgm:spPr/>
      <dgm:t>
        <a:bodyPr/>
        <a:lstStyle/>
        <a:p>
          <a:endParaRPr lang="zh-CN" altLang="en-US"/>
        </a:p>
      </dgm:t>
    </dgm:pt>
    <dgm:pt modelId="{738F625D-D9A8-4FA2-9F4B-882EE37879BD}" type="pres">
      <dgm:prSet presAssocID="{E70D6EC0-28C8-42A4-BE5C-E9D7EB6226D6}" presName="Accent3" presStyleCnt="0"/>
      <dgm:spPr/>
    </dgm:pt>
    <dgm:pt modelId="{909F6659-88BA-47C6-A5AF-CB8176A3306B}" type="pres">
      <dgm:prSet presAssocID="{E70D6EC0-28C8-42A4-BE5C-E9D7EB6226D6}" presName="Accent" presStyleLbl="node1" presStyleIdx="2" presStyleCnt="3"/>
      <dgm:spPr/>
    </dgm:pt>
    <dgm:pt modelId="{A5B26F8E-EC91-4EBB-9FA8-308555324CDD}" type="pres">
      <dgm:prSet presAssocID="{E70D6EC0-28C8-42A4-BE5C-E9D7EB6226D6}" presName="Child3" presStyleLbl="revTx" presStyleIdx="3" presStyleCnt="5">
        <dgm:presLayoutVars>
          <dgm:chMax val="0"/>
          <dgm:chPref val="0"/>
          <dgm:bulletEnabled val="1"/>
        </dgm:presLayoutVars>
      </dgm:prSet>
      <dgm:spPr/>
      <dgm:t>
        <a:bodyPr/>
        <a:lstStyle/>
        <a:p>
          <a:endParaRPr lang="zh-CN" altLang="en-US"/>
        </a:p>
      </dgm:t>
    </dgm:pt>
    <dgm:pt modelId="{895CD622-45AC-466A-9F34-7EA31B411A01}" type="pres">
      <dgm:prSet presAssocID="{E70D6EC0-28C8-42A4-BE5C-E9D7EB6226D6}" presName="Parent3" presStyleLbl="revTx" presStyleIdx="4" presStyleCnt="5">
        <dgm:presLayoutVars>
          <dgm:chMax val="1"/>
          <dgm:chPref val="1"/>
          <dgm:bulletEnabled val="1"/>
        </dgm:presLayoutVars>
      </dgm:prSet>
      <dgm:spPr/>
      <dgm:t>
        <a:bodyPr/>
        <a:lstStyle/>
        <a:p>
          <a:endParaRPr lang="zh-CN" altLang="en-US"/>
        </a:p>
      </dgm:t>
    </dgm:pt>
  </dgm:ptLst>
  <dgm:cxnLst>
    <dgm:cxn modelId="{41EFC0F9-F920-46BF-9FF1-CDE739D36F3F}" type="presOf" srcId="{CAD50DCA-7736-485C-B5CD-38F2C6D347A0}" destId="{A5B26F8E-EC91-4EBB-9FA8-308555324CDD}" srcOrd="0" destOrd="0" presId="urn:microsoft.com/office/officeart/2009/layout/CircleArrowProcess"/>
    <dgm:cxn modelId="{B71C9899-7BC6-44A8-B0AD-C8D3E2D17B11}" type="presOf" srcId="{68F155E4-17AD-473B-9B87-D9D093D697B5}" destId="{D453D2DC-3249-49F5-823C-8763B479D361}" srcOrd="0" destOrd="0" presId="urn:microsoft.com/office/officeart/2009/layout/CircleArrowProcess"/>
    <dgm:cxn modelId="{5405614C-A6C7-4645-AC7A-EC7EC0F35361}" srcId="{716B0465-B9B7-4B2E-A8E4-0F0C4C95D79D}" destId="{E70D6EC0-28C8-42A4-BE5C-E9D7EB6226D6}" srcOrd="2" destOrd="0" parTransId="{AC2601F1-95A3-4B3E-BDAF-963E2FA75033}" sibTransId="{081FC4F5-129D-4005-97D3-610F12CF04E9}"/>
    <dgm:cxn modelId="{7E44E220-FEF2-4786-8009-0580DA3C9BBB}" srcId="{68F155E4-17AD-473B-9B87-D9D093D697B5}" destId="{62F3CCCE-096B-4AD6-B389-A60722671D3E}" srcOrd="0" destOrd="0" parTransId="{D5C9CCA4-5C04-42EB-9E20-78611D9ABCDC}" sibTransId="{259F0C96-0957-4DA0-AE32-F55F30BD2970}"/>
    <dgm:cxn modelId="{A6B3270B-559E-4FA3-924D-A5F18E485697}" srcId="{E70D6EC0-28C8-42A4-BE5C-E9D7EB6226D6}" destId="{4E9731A0-ABBC-4D62-8C2B-5AD9DE23A428}" srcOrd="3" destOrd="0" parTransId="{8E66B879-5784-42F1-B760-2B97644F4196}" sibTransId="{82327E32-9010-4967-9098-3C708D5F4E0C}"/>
    <dgm:cxn modelId="{5EE39E7F-5782-4AC2-8995-91EED7C866FB}" type="presOf" srcId="{E70D6EC0-28C8-42A4-BE5C-E9D7EB6226D6}" destId="{895CD622-45AC-466A-9F34-7EA31B411A01}" srcOrd="0" destOrd="0" presId="urn:microsoft.com/office/officeart/2009/layout/CircleArrowProcess"/>
    <dgm:cxn modelId="{30A3EA29-F88A-4683-9836-1A0AB5C2CD0D}" srcId="{E70D6EC0-28C8-42A4-BE5C-E9D7EB6226D6}" destId="{CAD50DCA-7736-485C-B5CD-38F2C6D347A0}" srcOrd="0" destOrd="0" parTransId="{DF4D399D-7A75-4D6B-A7DE-EF65B7F88DA9}" sibTransId="{5F467E26-D959-4046-BACC-5B440814D9FA}"/>
    <dgm:cxn modelId="{D6CA73CC-0FDC-4966-AB6B-9C2827E3D427}" srcId="{E70D6EC0-28C8-42A4-BE5C-E9D7EB6226D6}" destId="{7AE25768-C29F-4750-AAE9-AD2A579DCA4F}" srcOrd="2" destOrd="0" parTransId="{BB3584E6-F9D7-423D-92DA-AB7BB7B0B1D6}" sibTransId="{6194B875-0855-46F3-B508-979AC6F9B86B}"/>
    <dgm:cxn modelId="{F4C2F02D-94BD-4F81-9635-591531ED2115}" type="presOf" srcId="{7AE25768-C29F-4750-AAE9-AD2A579DCA4F}" destId="{A5B26F8E-EC91-4EBB-9FA8-308555324CDD}" srcOrd="0" destOrd="2" presId="urn:microsoft.com/office/officeart/2009/layout/CircleArrowProcess"/>
    <dgm:cxn modelId="{81B49E5E-A0DF-4DB5-922A-F13C9599B619}" srcId="{68F155E4-17AD-473B-9B87-D9D093D697B5}" destId="{50F89588-24F7-470A-913B-A5B8F02AEFE7}" srcOrd="1" destOrd="0" parTransId="{784694AC-F38C-4176-8994-D8E9491263F4}" sibTransId="{B70FCCA0-3270-479D-8E28-88DC2D36609B}"/>
    <dgm:cxn modelId="{601E2EA5-60A7-4800-A8DF-421C7A9CE54E}" type="presOf" srcId="{716B0465-B9B7-4B2E-A8E4-0F0C4C95D79D}" destId="{D475A3F0-7836-42A9-AFD5-B6F967DA4C3F}" srcOrd="0" destOrd="0" presId="urn:microsoft.com/office/officeart/2009/layout/CircleArrowProcess"/>
    <dgm:cxn modelId="{F343C018-2B10-46D7-99DA-0B211F18003E}" srcId="{716B0465-B9B7-4B2E-A8E4-0F0C4C95D79D}" destId="{059193DF-97FF-4C91-B23F-A83DBC9A8157}" srcOrd="0" destOrd="0" parTransId="{5BA9EECC-CF8B-4285-AF50-B9F2F71FB55C}" sibTransId="{EE5CDE11-A42E-484D-B17F-EB90460B042C}"/>
    <dgm:cxn modelId="{BA9A2C2B-9E66-454D-A265-5768156DB43B}" type="presOf" srcId="{4E9731A0-ABBC-4D62-8C2B-5AD9DE23A428}" destId="{A5B26F8E-EC91-4EBB-9FA8-308555324CDD}" srcOrd="0" destOrd="3" presId="urn:microsoft.com/office/officeart/2009/layout/CircleArrowProcess"/>
    <dgm:cxn modelId="{62A7D6E6-FC78-4126-8632-B51917DA5539}" type="presOf" srcId="{50F89588-24F7-470A-913B-A5B8F02AEFE7}" destId="{AF2175BB-8B66-40EB-805D-E1DD02197CDF}" srcOrd="0" destOrd="1" presId="urn:microsoft.com/office/officeart/2009/layout/CircleArrowProcess"/>
    <dgm:cxn modelId="{D74DAC48-DFF3-482D-8A84-FC0E27B84D3D}" type="presOf" srcId="{7215AE10-0352-43EE-8E8E-46D6F31D9C51}" destId="{A5B26F8E-EC91-4EBB-9FA8-308555324CDD}" srcOrd="0" destOrd="1" presId="urn:microsoft.com/office/officeart/2009/layout/CircleArrowProcess"/>
    <dgm:cxn modelId="{D6B4287A-D673-4CFD-BFAA-C43F38B8C650}" type="presOf" srcId="{62F3CCCE-096B-4AD6-B389-A60722671D3E}" destId="{AF2175BB-8B66-40EB-805D-E1DD02197CDF}" srcOrd="0" destOrd="0" presId="urn:microsoft.com/office/officeart/2009/layout/CircleArrowProcess"/>
    <dgm:cxn modelId="{BB9E84B2-3ACE-4D3B-B73A-C70F7D3CD105}" srcId="{E70D6EC0-28C8-42A4-BE5C-E9D7EB6226D6}" destId="{7215AE10-0352-43EE-8E8E-46D6F31D9C51}" srcOrd="1" destOrd="0" parTransId="{D490147B-39F3-40FB-97BD-8F6F486E2DE3}" sibTransId="{4DA52212-A64D-4E44-A972-4A89B1AFD453}"/>
    <dgm:cxn modelId="{A5EC05AA-3E36-4466-97ED-A272EC1A559A}" type="presOf" srcId="{059193DF-97FF-4C91-B23F-A83DBC9A8157}" destId="{1734CBF1-CE4D-463A-BFCF-4B84EAEB9C6D}" srcOrd="0" destOrd="0" presId="urn:microsoft.com/office/officeart/2009/layout/CircleArrowProcess"/>
    <dgm:cxn modelId="{F13690C1-9C2C-4FF7-93B8-794B74C4F5FB}" srcId="{716B0465-B9B7-4B2E-A8E4-0F0C4C95D79D}" destId="{68F155E4-17AD-473B-9B87-D9D093D697B5}" srcOrd="1" destOrd="0" parTransId="{F2BAFDA2-0C84-4455-BA2D-BD0A19FF975F}" sibTransId="{656B7E61-64D8-4533-9878-1218E0D064DE}"/>
    <dgm:cxn modelId="{2C28BD77-6426-4CCF-AC06-E50FE6866734}" type="presParOf" srcId="{D475A3F0-7836-42A9-AFD5-B6F967DA4C3F}" destId="{FB997E18-392D-453D-81B7-FB7947C7D3F1}" srcOrd="0" destOrd="0" presId="urn:microsoft.com/office/officeart/2009/layout/CircleArrowProcess"/>
    <dgm:cxn modelId="{8C4BCBF5-9F11-4ED2-9F22-FAE3C841A80C}" type="presParOf" srcId="{FB997E18-392D-453D-81B7-FB7947C7D3F1}" destId="{6A2727DF-5196-42D0-B7CB-90C7639413CA}" srcOrd="0" destOrd="0" presId="urn:microsoft.com/office/officeart/2009/layout/CircleArrowProcess"/>
    <dgm:cxn modelId="{56771165-D385-4B91-B571-D74D5827EA98}" type="presParOf" srcId="{D475A3F0-7836-42A9-AFD5-B6F967DA4C3F}" destId="{1734CBF1-CE4D-463A-BFCF-4B84EAEB9C6D}" srcOrd="1" destOrd="0" presId="urn:microsoft.com/office/officeart/2009/layout/CircleArrowProcess"/>
    <dgm:cxn modelId="{4D642D82-29ED-452E-B4E5-7C596AD35E0A}" type="presParOf" srcId="{D475A3F0-7836-42A9-AFD5-B6F967DA4C3F}" destId="{1659FCD7-6821-4158-BACB-CBA83B745174}" srcOrd="2" destOrd="0" presId="urn:microsoft.com/office/officeart/2009/layout/CircleArrowProcess"/>
    <dgm:cxn modelId="{60F364AE-32F2-420F-9DEC-FA06625FABF5}" type="presParOf" srcId="{1659FCD7-6821-4158-BACB-CBA83B745174}" destId="{41D5B40E-5AD0-4A7B-9259-5AC13411D2B4}" srcOrd="0" destOrd="0" presId="urn:microsoft.com/office/officeart/2009/layout/CircleArrowProcess"/>
    <dgm:cxn modelId="{BFA99E2E-9A16-41B4-AEA7-F4F445A54124}" type="presParOf" srcId="{D475A3F0-7836-42A9-AFD5-B6F967DA4C3F}" destId="{AF2175BB-8B66-40EB-805D-E1DD02197CDF}" srcOrd="3" destOrd="0" presId="urn:microsoft.com/office/officeart/2009/layout/CircleArrowProcess"/>
    <dgm:cxn modelId="{EA8D36AB-9185-46E9-B8AC-CB541BF2FEC2}" type="presParOf" srcId="{D475A3F0-7836-42A9-AFD5-B6F967DA4C3F}" destId="{D453D2DC-3249-49F5-823C-8763B479D361}" srcOrd="4" destOrd="0" presId="urn:microsoft.com/office/officeart/2009/layout/CircleArrowProcess"/>
    <dgm:cxn modelId="{061E9367-8C57-4573-ACC5-41F0C2A30794}" type="presParOf" srcId="{D475A3F0-7836-42A9-AFD5-B6F967DA4C3F}" destId="{738F625D-D9A8-4FA2-9F4B-882EE37879BD}" srcOrd="5" destOrd="0" presId="urn:microsoft.com/office/officeart/2009/layout/CircleArrowProcess"/>
    <dgm:cxn modelId="{4FEA4724-9AE8-4D1C-A6EE-A0F0050251A1}" type="presParOf" srcId="{738F625D-D9A8-4FA2-9F4B-882EE37879BD}" destId="{909F6659-88BA-47C6-A5AF-CB8176A3306B}" srcOrd="0" destOrd="0" presId="urn:microsoft.com/office/officeart/2009/layout/CircleArrowProcess"/>
    <dgm:cxn modelId="{75AD2FC6-7F35-416F-9042-06426D95EEB8}" type="presParOf" srcId="{D475A3F0-7836-42A9-AFD5-B6F967DA4C3F}" destId="{A5B26F8E-EC91-4EBB-9FA8-308555324CDD}" srcOrd="6" destOrd="0" presId="urn:microsoft.com/office/officeart/2009/layout/CircleArrowProcess"/>
    <dgm:cxn modelId="{DD8CA788-E6A0-4C67-B796-74AC549D8C21}" type="presParOf" srcId="{D475A3F0-7836-42A9-AFD5-B6F967DA4C3F}" destId="{895CD622-45AC-466A-9F34-7EA31B411A01}" srcOrd="7"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543C8F7-5973-45CF-8ABC-A362398DB07B}" type="doc">
      <dgm:prSet loTypeId="urn:microsoft.com/office/officeart/2009/3/layout/PhasedProcess" loCatId="process" qsTypeId="urn:microsoft.com/office/officeart/2005/8/quickstyle/simple1" qsCatId="simple" csTypeId="urn:microsoft.com/office/officeart/2005/8/colors/accent1_2" csCatId="accent1" phldr="1"/>
      <dgm:spPr/>
      <dgm:t>
        <a:bodyPr/>
        <a:lstStyle/>
        <a:p>
          <a:endParaRPr lang="zh-CN" altLang="en-US"/>
        </a:p>
      </dgm:t>
    </dgm:pt>
    <dgm:pt modelId="{52C4DCF1-7440-448B-BF5D-6995438770DB}">
      <dgm:prSet phldrT="[文本]"/>
      <dgm:spPr/>
      <dgm:t>
        <a:bodyPr/>
        <a:lstStyle/>
        <a:p>
          <a:r>
            <a:rPr lang="zh-CN" altLang="en-US" dirty="0" smtClean="0">
              <a:solidFill>
                <a:schemeClr val="tx1"/>
              </a:solidFill>
            </a:rPr>
            <a:t>企图</a:t>
          </a:r>
          <a:endParaRPr lang="zh-CN" altLang="en-US" dirty="0">
            <a:solidFill>
              <a:schemeClr val="tx1"/>
            </a:solidFill>
          </a:endParaRPr>
        </a:p>
      </dgm:t>
    </dgm:pt>
    <dgm:pt modelId="{671B0FDB-6439-42D4-81DB-857262748D9A}" type="parTrans" cxnId="{2231C9B2-5950-46EF-8083-71F16B73C7BD}">
      <dgm:prSet/>
      <dgm:spPr/>
      <dgm:t>
        <a:bodyPr/>
        <a:lstStyle/>
        <a:p>
          <a:endParaRPr lang="zh-CN" altLang="en-US">
            <a:solidFill>
              <a:schemeClr val="tx1"/>
            </a:solidFill>
          </a:endParaRPr>
        </a:p>
      </dgm:t>
    </dgm:pt>
    <dgm:pt modelId="{A7E91171-2C08-48EC-99B1-F4609AB6E277}" type="sibTrans" cxnId="{2231C9B2-5950-46EF-8083-71F16B73C7BD}">
      <dgm:prSet/>
      <dgm:spPr/>
      <dgm:t>
        <a:bodyPr/>
        <a:lstStyle/>
        <a:p>
          <a:endParaRPr lang="zh-CN" altLang="en-US">
            <a:solidFill>
              <a:schemeClr val="tx1"/>
            </a:solidFill>
          </a:endParaRPr>
        </a:p>
      </dgm:t>
    </dgm:pt>
    <dgm:pt modelId="{D9F7E5D3-F10F-468F-9613-22A2E7E4CB3E}">
      <dgm:prSet phldrT="[文本]"/>
      <dgm:spPr/>
      <dgm:t>
        <a:bodyPr/>
        <a:lstStyle/>
        <a:p>
          <a:r>
            <a:rPr lang="zh-CN" altLang="en-US" dirty="0" smtClean="0">
              <a:solidFill>
                <a:schemeClr val="tx1"/>
              </a:solidFill>
            </a:rPr>
            <a:t>资金</a:t>
          </a:r>
          <a:endParaRPr lang="zh-CN" altLang="en-US" dirty="0">
            <a:solidFill>
              <a:schemeClr val="tx1"/>
            </a:solidFill>
          </a:endParaRPr>
        </a:p>
      </dgm:t>
    </dgm:pt>
    <dgm:pt modelId="{447EEBBE-9E46-4DE8-88C1-9918BE4F4669}" type="parTrans" cxnId="{D9CF6E8B-2917-4AE4-9D6A-703FC975D5B5}">
      <dgm:prSet/>
      <dgm:spPr/>
      <dgm:t>
        <a:bodyPr/>
        <a:lstStyle/>
        <a:p>
          <a:endParaRPr lang="zh-CN" altLang="en-US">
            <a:solidFill>
              <a:schemeClr val="tx1"/>
            </a:solidFill>
          </a:endParaRPr>
        </a:p>
      </dgm:t>
    </dgm:pt>
    <dgm:pt modelId="{EDFE76D6-490C-44D9-8BB9-8EA7E68BD082}" type="sibTrans" cxnId="{D9CF6E8B-2917-4AE4-9D6A-703FC975D5B5}">
      <dgm:prSet/>
      <dgm:spPr/>
      <dgm:t>
        <a:bodyPr/>
        <a:lstStyle/>
        <a:p>
          <a:endParaRPr lang="zh-CN" altLang="en-US">
            <a:solidFill>
              <a:schemeClr val="tx1"/>
            </a:solidFill>
          </a:endParaRPr>
        </a:p>
      </dgm:t>
    </dgm:pt>
    <dgm:pt modelId="{54299B19-07B8-4B02-9A4A-0253F9905658}">
      <dgm:prSet phldrT="[文本]"/>
      <dgm:spPr/>
      <dgm:t>
        <a:bodyPr/>
        <a:lstStyle/>
        <a:p>
          <a:r>
            <a:rPr lang="zh-CN" altLang="en-US" dirty="0" smtClean="0">
              <a:solidFill>
                <a:schemeClr val="tx1"/>
              </a:solidFill>
            </a:rPr>
            <a:t>方式</a:t>
          </a:r>
          <a:endParaRPr lang="zh-CN" altLang="en-US" dirty="0">
            <a:solidFill>
              <a:schemeClr val="tx1"/>
            </a:solidFill>
          </a:endParaRPr>
        </a:p>
      </dgm:t>
    </dgm:pt>
    <dgm:pt modelId="{0A621FA8-2D32-4EA2-8A9E-D12393B03C6F}" type="parTrans" cxnId="{543980C6-3219-4521-BEFD-8860CE5963BE}">
      <dgm:prSet/>
      <dgm:spPr/>
      <dgm:t>
        <a:bodyPr/>
        <a:lstStyle/>
        <a:p>
          <a:endParaRPr lang="zh-CN" altLang="en-US">
            <a:solidFill>
              <a:schemeClr val="tx1"/>
            </a:solidFill>
          </a:endParaRPr>
        </a:p>
      </dgm:t>
    </dgm:pt>
    <dgm:pt modelId="{BB3F3E93-8018-4A13-8CB7-F60204EE9D49}" type="sibTrans" cxnId="{543980C6-3219-4521-BEFD-8860CE5963BE}">
      <dgm:prSet/>
      <dgm:spPr/>
      <dgm:t>
        <a:bodyPr/>
        <a:lstStyle/>
        <a:p>
          <a:endParaRPr lang="zh-CN" altLang="en-US">
            <a:solidFill>
              <a:schemeClr val="tx1"/>
            </a:solidFill>
          </a:endParaRPr>
        </a:p>
      </dgm:t>
    </dgm:pt>
    <dgm:pt modelId="{7D4642E6-96D3-46DF-B7A6-87A52F2734E4}">
      <dgm:prSet phldrT="[文本]"/>
      <dgm:spPr/>
      <dgm:t>
        <a:bodyPr/>
        <a:lstStyle/>
        <a:p>
          <a:r>
            <a:rPr lang="zh-CN" altLang="en-US" dirty="0" smtClean="0">
              <a:solidFill>
                <a:schemeClr val="tx1"/>
              </a:solidFill>
            </a:rPr>
            <a:t>盗套</a:t>
          </a:r>
          <a:endParaRPr lang="zh-CN" altLang="en-US" dirty="0">
            <a:solidFill>
              <a:schemeClr val="tx1"/>
            </a:solidFill>
          </a:endParaRPr>
        </a:p>
      </dgm:t>
    </dgm:pt>
    <dgm:pt modelId="{740C42AD-DF41-4F56-B40D-8DA9155A3B22}" type="parTrans" cxnId="{0B137AB5-CA74-4FF7-A690-9FE507618B67}">
      <dgm:prSet/>
      <dgm:spPr/>
      <dgm:t>
        <a:bodyPr/>
        <a:lstStyle/>
        <a:p>
          <a:endParaRPr lang="zh-CN" altLang="en-US">
            <a:solidFill>
              <a:schemeClr val="tx1"/>
            </a:solidFill>
          </a:endParaRPr>
        </a:p>
      </dgm:t>
    </dgm:pt>
    <dgm:pt modelId="{FA466203-505A-47DC-8C5F-B296992BEEE0}" type="sibTrans" cxnId="{0B137AB5-CA74-4FF7-A690-9FE507618B67}">
      <dgm:prSet/>
      <dgm:spPr/>
      <dgm:t>
        <a:bodyPr/>
        <a:lstStyle/>
        <a:p>
          <a:endParaRPr lang="zh-CN" altLang="en-US">
            <a:solidFill>
              <a:schemeClr val="tx1"/>
            </a:solidFill>
          </a:endParaRPr>
        </a:p>
      </dgm:t>
    </dgm:pt>
    <dgm:pt modelId="{53BF568E-97BE-461E-B83F-EC5F8634DF84}">
      <dgm:prSet phldrT="[文本]"/>
      <dgm:spPr/>
      <dgm:t>
        <a:bodyPr/>
        <a:lstStyle/>
        <a:p>
          <a:r>
            <a:rPr lang="zh-CN" altLang="en-US" dirty="0" smtClean="0">
              <a:solidFill>
                <a:schemeClr val="tx1"/>
              </a:solidFill>
            </a:rPr>
            <a:t>破坏</a:t>
          </a:r>
          <a:endParaRPr lang="zh-CN" altLang="en-US" dirty="0">
            <a:solidFill>
              <a:schemeClr val="tx1"/>
            </a:solidFill>
          </a:endParaRPr>
        </a:p>
      </dgm:t>
    </dgm:pt>
    <dgm:pt modelId="{21C06843-F146-43BD-8B4F-6AFDF344EA6F}" type="parTrans" cxnId="{023FC6AF-7B3C-4133-BD68-9192D802D5FC}">
      <dgm:prSet/>
      <dgm:spPr/>
      <dgm:t>
        <a:bodyPr/>
        <a:lstStyle/>
        <a:p>
          <a:endParaRPr lang="zh-CN" altLang="en-US">
            <a:solidFill>
              <a:schemeClr val="tx1"/>
            </a:solidFill>
          </a:endParaRPr>
        </a:p>
      </dgm:t>
    </dgm:pt>
    <dgm:pt modelId="{E89808FE-BD6D-4408-B4C2-BE1FABB34AB9}" type="sibTrans" cxnId="{023FC6AF-7B3C-4133-BD68-9192D802D5FC}">
      <dgm:prSet/>
      <dgm:spPr/>
      <dgm:t>
        <a:bodyPr/>
        <a:lstStyle/>
        <a:p>
          <a:endParaRPr lang="zh-CN" altLang="en-US">
            <a:solidFill>
              <a:schemeClr val="tx1"/>
            </a:solidFill>
          </a:endParaRPr>
        </a:p>
      </dgm:t>
    </dgm:pt>
    <dgm:pt modelId="{FC59DCAB-80D7-4514-ABE9-CEB6E1623FD2}">
      <dgm:prSet phldrT="[文本]"/>
      <dgm:spPr/>
      <dgm:t>
        <a:bodyPr/>
        <a:lstStyle/>
        <a:p>
          <a:r>
            <a:rPr lang="zh-CN" altLang="en-US" dirty="0" smtClean="0">
              <a:solidFill>
                <a:schemeClr val="tx1"/>
              </a:solidFill>
            </a:rPr>
            <a:t>对象</a:t>
          </a:r>
          <a:endParaRPr lang="zh-CN" altLang="en-US" dirty="0">
            <a:solidFill>
              <a:schemeClr val="tx1"/>
            </a:solidFill>
          </a:endParaRPr>
        </a:p>
      </dgm:t>
    </dgm:pt>
    <dgm:pt modelId="{4AEA0572-3418-4DE6-BF45-9294D10B8C70}" type="parTrans" cxnId="{DF1665B1-34CB-437F-A2DD-4061ED56ACD4}">
      <dgm:prSet/>
      <dgm:spPr/>
      <dgm:t>
        <a:bodyPr/>
        <a:lstStyle/>
        <a:p>
          <a:endParaRPr lang="zh-CN" altLang="en-US">
            <a:solidFill>
              <a:schemeClr val="tx1"/>
            </a:solidFill>
          </a:endParaRPr>
        </a:p>
      </dgm:t>
    </dgm:pt>
    <dgm:pt modelId="{48A2933B-05AF-46D5-BC87-F5640224A138}" type="sibTrans" cxnId="{DF1665B1-34CB-437F-A2DD-4061ED56ACD4}">
      <dgm:prSet/>
      <dgm:spPr/>
      <dgm:t>
        <a:bodyPr/>
        <a:lstStyle/>
        <a:p>
          <a:endParaRPr lang="zh-CN" altLang="en-US">
            <a:solidFill>
              <a:schemeClr val="tx1"/>
            </a:solidFill>
          </a:endParaRPr>
        </a:p>
      </dgm:t>
    </dgm:pt>
    <dgm:pt modelId="{14786316-688E-4DF9-9557-79DA2EEA448E}">
      <dgm:prSet phldrT="[文本]"/>
      <dgm:spPr/>
      <dgm:t>
        <a:bodyPr/>
        <a:lstStyle/>
        <a:p>
          <a:r>
            <a:rPr lang="zh-CN" altLang="en-US" dirty="0" smtClean="0">
              <a:solidFill>
                <a:schemeClr val="tx1"/>
              </a:solidFill>
            </a:rPr>
            <a:t>帐户</a:t>
          </a:r>
          <a:endParaRPr lang="zh-CN" altLang="en-US" dirty="0">
            <a:solidFill>
              <a:schemeClr val="tx1"/>
            </a:solidFill>
          </a:endParaRPr>
        </a:p>
      </dgm:t>
    </dgm:pt>
    <dgm:pt modelId="{19581D38-DF3E-4962-8ABE-BA4C8ADC4853}" type="parTrans" cxnId="{04AEA339-C083-4F0B-8876-1A77421B784F}">
      <dgm:prSet/>
      <dgm:spPr/>
      <dgm:t>
        <a:bodyPr/>
        <a:lstStyle/>
        <a:p>
          <a:endParaRPr lang="zh-CN" altLang="en-US">
            <a:solidFill>
              <a:schemeClr val="tx1"/>
            </a:solidFill>
          </a:endParaRPr>
        </a:p>
      </dgm:t>
    </dgm:pt>
    <dgm:pt modelId="{B05F5941-587D-4E17-96AA-C67B1BF24DB0}" type="sibTrans" cxnId="{04AEA339-C083-4F0B-8876-1A77421B784F}">
      <dgm:prSet/>
      <dgm:spPr/>
      <dgm:t>
        <a:bodyPr/>
        <a:lstStyle/>
        <a:p>
          <a:endParaRPr lang="zh-CN" altLang="en-US">
            <a:solidFill>
              <a:schemeClr val="tx1"/>
            </a:solidFill>
          </a:endParaRPr>
        </a:p>
      </dgm:t>
    </dgm:pt>
    <dgm:pt modelId="{863D8A3D-A192-43A3-ADD2-5D1A44FC1943}">
      <dgm:prSet phldrT="[文本]"/>
      <dgm:spPr/>
      <dgm:t>
        <a:bodyPr/>
        <a:lstStyle/>
        <a:p>
          <a:r>
            <a:rPr lang="zh-CN" altLang="en-US" dirty="0" smtClean="0">
              <a:solidFill>
                <a:schemeClr val="tx1"/>
              </a:solidFill>
            </a:rPr>
            <a:t>物品</a:t>
          </a:r>
          <a:endParaRPr lang="zh-CN" altLang="en-US" dirty="0">
            <a:solidFill>
              <a:schemeClr val="tx1"/>
            </a:solidFill>
          </a:endParaRPr>
        </a:p>
      </dgm:t>
    </dgm:pt>
    <dgm:pt modelId="{B1F1BA17-E01A-4D2A-BA46-4ED9C500ECA0}" type="parTrans" cxnId="{4125DFDA-CC20-4566-A78A-DEA4D19FF392}">
      <dgm:prSet/>
      <dgm:spPr/>
      <dgm:t>
        <a:bodyPr/>
        <a:lstStyle/>
        <a:p>
          <a:endParaRPr lang="zh-CN" altLang="en-US">
            <a:solidFill>
              <a:schemeClr val="tx1"/>
            </a:solidFill>
          </a:endParaRPr>
        </a:p>
      </dgm:t>
    </dgm:pt>
    <dgm:pt modelId="{B935046B-4015-4BC4-8544-A8C4BFF3F06B}" type="sibTrans" cxnId="{4125DFDA-CC20-4566-A78A-DEA4D19FF392}">
      <dgm:prSet/>
      <dgm:spPr/>
      <dgm:t>
        <a:bodyPr/>
        <a:lstStyle/>
        <a:p>
          <a:endParaRPr lang="zh-CN" altLang="en-US">
            <a:solidFill>
              <a:schemeClr val="tx1"/>
            </a:solidFill>
          </a:endParaRPr>
        </a:p>
      </dgm:t>
    </dgm:pt>
    <dgm:pt modelId="{C709B4C3-1AAB-4397-A9C0-3EBE223B704D}">
      <dgm:prSet phldrT="[文本]"/>
      <dgm:spPr/>
      <dgm:t>
        <a:bodyPr/>
        <a:lstStyle/>
        <a:p>
          <a:r>
            <a:rPr lang="zh-CN" altLang="en-US" dirty="0" smtClean="0">
              <a:solidFill>
                <a:schemeClr val="tx1"/>
              </a:solidFill>
            </a:rPr>
            <a:t>信息</a:t>
          </a:r>
          <a:endParaRPr lang="zh-CN" altLang="en-US" dirty="0">
            <a:solidFill>
              <a:schemeClr val="tx1"/>
            </a:solidFill>
          </a:endParaRPr>
        </a:p>
      </dgm:t>
    </dgm:pt>
    <dgm:pt modelId="{3557DDED-C975-439C-A1EA-AAB1FEF9781D}" type="parTrans" cxnId="{EE7BC432-2094-4ADF-9559-5B2006B64688}">
      <dgm:prSet/>
      <dgm:spPr/>
      <dgm:t>
        <a:bodyPr/>
        <a:lstStyle/>
        <a:p>
          <a:endParaRPr lang="zh-CN" altLang="en-US">
            <a:solidFill>
              <a:schemeClr val="tx1"/>
            </a:solidFill>
          </a:endParaRPr>
        </a:p>
      </dgm:t>
    </dgm:pt>
    <dgm:pt modelId="{97519867-5E4E-4F59-90AC-8B2B9942E41F}" type="sibTrans" cxnId="{EE7BC432-2094-4ADF-9559-5B2006B64688}">
      <dgm:prSet/>
      <dgm:spPr/>
      <dgm:t>
        <a:bodyPr/>
        <a:lstStyle/>
        <a:p>
          <a:endParaRPr lang="zh-CN" altLang="en-US">
            <a:solidFill>
              <a:schemeClr val="tx1"/>
            </a:solidFill>
          </a:endParaRPr>
        </a:p>
      </dgm:t>
    </dgm:pt>
    <dgm:pt modelId="{E98846E6-08F0-4456-A8FB-40EDA36AB1B1}">
      <dgm:prSet phldrT="[文本]"/>
      <dgm:spPr/>
      <dgm:t>
        <a:bodyPr/>
        <a:lstStyle/>
        <a:p>
          <a:r>
            <a:rPr lang="zh-CN" altLang="en-US" dirty="0" smtClean="0">
              <a:solidFill>
                <a:schemeClr val="tx1"/>
              </a:solidFill>
            </a:rPr>
            <a:t>报复</a:t>
          </a:r>
          <a:endParaRPr lang="zh-CN" altLang="en-US" dirty="0">
            <a:solidFill>
              <a:schemeClr val="tx1"/>
            </a:solidFill>
          </a:endParaRPr>
        </a:p>
      </dgm:t>
    </dgm:pt>
    <dgm:pt modelId="{9FC2C1CB-371C-485F-B52C-BC19BA19DF46}" type="parTrans" cxnId="{2CBC30B4-2192-45E2-8CC9-A5544E2334F0}">
      <dgm:prSet/>
      <dgm:spPr/>
      <dgm:t>
        <a:bodyPr/>
        <a:lstStyle/>
        <a:p>
          <a:endParaRPr lang="zh-CN" altLang="en-US">
            <a:solidFill>
              <a:schemeClr val="tx1"/>
            </a:solidFill>
          </a:endParaRPr>
        </a:p>
      </dgm:t>
    </dgm:pt>
    <dgm:pt modelId="{9478555B-792C-4698-81CC-14E5B1AD0852}" type="sibTrans" cxnId="{2CBC30B4-2192-45E2-8CC9-A5544E2334F0}">
      <dgm:prSet/>
      <dgm:spPr/>
      <dgm:t>
        <a:bodyPr/>
        <a:lstStyle/>
        <a:p>
          <a:endParaRPr lang="zh-CN" altLang="en-US">
            <a:solidFill>
              <a:schemeClr val="tx1"/>
            </a:solidFill>
          </a:endParaRPr>
        </a:p>
      </dgm:t>
    </dgm:pt>
    <dgm:pt modelId="{BF8FDFF1-CF94-4F53-9570-5FBCFCC2D5C2}">
      <dgm:prSet phldrT="[文本]"/>
      <dgm:spPr/>
      <dgm:t>
        <a:bodyPr/>
        <a:lstStyle/>
        <a:p>
          <a:r>
            <a:rPr lang="zh-CN" altLang="en-US" dirty="0" smtClean="0">
              <a:solidFill>
                <a:schemeClr val="tx1"/>
              </a:solidFill>
            </a:rPr>
            <a:t>系统</a:t>
          </a:r>
          <a:endParaRPr lang="zh-CN" altLang="en-US" dirty="0">
            <a:solidFill>
              <a:schemeClr val="tx1"/>
            </a:solidFill>
          </a:endParaRPr>
        </a:p>
      </dgm:t>
    </dgm:pt>
    <dgm:pt modelId="{2556B645-93FD-4AFC-ACFB-4A3079B8DFEF}" type="parTrans" cxnId="{53274F39-7110-43A4-B609-AA5A05C0F424}">
      <dgm:prSet/>
      <dgm:spPr/>
      <dgm:t>
        <a:bodyPr/>
        <a:lstStyle/>
        <a:p>
          <a:endParaRPr lang="zh-CN" altLang="en-US">
            <a:solidFill>
              <a:schemeClr val="tx1"/>
            </a:solidFill>
          </a:endParaRPr>
        </a:p>
      </dgm:t>
    </dgm:pt>
    <dgm:pt modelId="{53EC6DF6-0846-444E-9D81-799E1FA3138A}" type="sibTrans" cxnId="{53274F39-7110-43A4-B609-AA5A05C0F424}">
      <dgm:prSet/>
      <dgm:spPr/>
      <dgm:t>
        <a:bodyPr/>
        <a:lstStyle/>
        <a:p>
          <a:endParaRPr lang="zh-CN" altLang="en-US">
            <a:solidFill>
              <a:schemeClr val="tx1"/>
            </a:solidFill>
          </a:endParaRPr>
        </a:p>
      </dgm:t>
    </dgm:pt>
    <dgm:pt modelId="{9305B11B-6FCB-4813-9C5D-174CD34355F5}">
      <dgm:prSet phldrT="[文本]"/>
      <dgm:spPr/>
      <dgm:t>
        <a:bodyPr/>
        <a:lstStyle/>
        <a:p>
          <a:r>
            <a:rPr lang="zh-CN" altLang="en-US" dirty="0" smtClean="0">
              <a:solidFill>
                <a:schemeClr val="tx1"/>
              </a:solidFill>
            </a:rPr>
            <a:t>信息</a:t>
          </a:r>
          <a:endParaRPr lang="zh-CN" altLang="en-US" dirty="0">
            <a:solidFill>
              <a:schemeClr val="tx1"/>
            </a:solidFill>
          </a:endParaRPr>
        </a:p>
      </dgm:t>
    </dgm:pt>
    <dgm:pt modelId="{2DDAB008-9B61-4477-B9AC-3D064B9EB325}" type="parTrans" cxnId="{79D5CB48-D438-4412-B391-96B2F1A0C419}">
      <dgm:prSet/>
      <dgm:spPr/>
      <dgm:t>
        <a:bodyPr/>
        <a:lstStyle/>
        <a:p>
          <a:endParaRPr lang="zh-CN" altLang="en-US">
            <a:solidFill>
              <a:schemeClr val="tx1"/>
            </a:solidFill>
          </a:endParaRPr>
        </a:p>
      </dgm:t>
    </dgm:pt>
    <dgm:pt modelId="{B11A821F-AF05-4B7E-A43E-74CE3C11514F}" type="sibTrans" cxnId="{79D5CB48-D438-4412-B391-96B2F1A0C419}">
      <dgm:prSet/>
      <dgm:spPr/>
      <dgm:t>
        <a:bodyPr/>
        <a:lstStyle/>
        <a:p>
          <a:endParaRPr lang="zh-CN" altLang="en-US">
            <a:solidFill>
              <a:schemeClr val="tx1"/>
            </a:solidFill>
          </a:endParaRPr>
        </a:p>
      </dgm:t>
    </dgm:pt>
    <dgm:pt modelId="{46075F94-0098-4CDF-9BB0-0B93A133C5C3}" type="pres">
      <dgm:prSet presAssocID="{B543C8F7-5973-45CF-8ABC-A362398DB07B}" presName="Name0" presStyleCnt="0">
        <dgm:presLayoutVars>
          <dgm:chMax val="3"/>
          <dgm:chPref val="3"/>
          <dgm:bulletEnabled val="1"/>
          <dgm:dir/>
          <dgm:animLvl val="lvl"/>
        </dgm:presLayoutVars>
      </dgm:prSet>
      <dgm:spPr/>
      <dgm:t>
        <a:bodyPr/>
        <a:lstStyle/>
        <a:p>
          <a:endParaRPr lang="zh-CN" altLang="en-US"/>
        </a:p>
      </dgm:t>
    </dgm:pt>
    <dgm:pt modelId="{1DF43AC6-07AE-4D21-83FD-F7B383120212}" type="pres">
      <dgm:prSet presAssocID="{B543C8F7-5973-45CF-8ABC-A362398DB07B}" presName="arc1" presStyleLbl="node1" presStyleIdx="0" presStyleCnt="4"/>
      <dgm:spPr/>
    </dgm:pt>
    <dgm:pt modelId="{C84DDF15-82F2-4448-85FC-814DB356E6B2}" type="pres">
      <dgm:prSet presAssocID="{B543C8F7-5973-45CF-8ABC-A362398DB07B}" presName="arc3" presStyleLbl="node1" presStyleIdx="1" presStyleCnt="4"/>
      <dgm:spPr/>
    </dgm:pt>
    <dgm:pt modelId="{A819F190-5538-4E8F-9A84-4779D5B86E01}" type="pres">
      <dgm:prSet presAssocID="{B543C8F7-5973-45CF-8ABC-A362398DB07B}" presName="parentText2" presStyleLbl="revTx" presStyleIdx="0" presStyleCnt="3">
        <dgm:presLayoutVars>
          <dgm:chMax val="4"/>
          <dgm:chPref val="3"/>
          <dgm:bulletEnabled val="1"/>
        </dgm:presLayoutVars>
      </dgm:prSet>
      <dgm:spPr/>
      <dgm:t>
        <a:bodyPr/>
        <a:lstStyle/>
        <a:p>
          <a:endParaRPr lang="zh-CN" altLang="en-US"/>
        </a:p>
      </dgm:t>
    </dgm:pt>
    <dgm:pt modelId="{CBABE19C-A6C2-4C96-A4C9-B42863350571}" type="pres">
      <dgm:prSet presAssocID="{B543C8F7-5973-45CF-8ABC-A362398DB07B}" presName="arc2" presStyleLbl="node1" presStyleIdx="2" presStyleCnt="4"/>
      <dgm:spPr/>
    </dgm:pt>
    <dgm:pt modelId="{36E962C3-6D8F-4D1A-A7FC-2A0A1968F6C0}" type="pres">
      <dgm:prSet presAssocID="{B543C8F7-5973-45CF-8ABC-A362398DB07B}" presName="arc4" presStyleLbl="node1" presStyleIdx="3" presStyleCnt="4"/>
      <dgm:spPr/>
    </dgm:pt>
    <dgm:pt modelId="{4D71AAFC-BBBC-40FE-904F-6EA60F241ABB}" type="pres">
      <dgm:prSet presAssocID="{B543C8F7-5973-45CF-8ABC-A362398DB07B}" presName="parentText3" presStyleLbl="revTx" presStyleIdx="1" presStyleCnt="3">
        <dgm:presLayoutVars>
          <dgm:chMax val="1"/>
          <dgm:chPref val="1"/>
          <dgm:bulletEnabled val="1"/>
        </dgm:presLayoutVars>
      </dgm:prSet>
      <dgm:spPr/>
      <dgm:t>
        <a:bodyPr/>
        <a:lstStyle/>
        <a:p>
          <a:endParaRPr lang="zh-CN" altLang="en-US"/>
        </a:p>
      </dgm:t>
    </dgm:pt>
    <dgm:pt modelId="{22DF5731-971B-4956-B863-108C05507B04}" type="pres">
      <dgm:prSet presAssocID="{B543C8F7-5973-45CF-8ABC-A362398DB07B}" presName="middleComposite" presStyleCnt="0"/>
      <dgm:spPr/>
    </dgm:pt>
    <dgm:pt modelId="{C911E996-0C68-4E3B-A0B8-CFC1F6FAC2B7}" type="pres">
      <dgm:prSet presAssocID="{7D4642E6-96D3-46DF-B7A6-87A52F2734E4}" presName="circ1" presStyleLbl="vennNode1" presStyleIdx="0" presStyleCnt="11"/>
      <dgm:spPr/>
      <dgm:t>
        <a:bodyPr/>
        <a:lstStyle/>
        <a:p>
          <a:endParaRPr lang="zh-CN" altLang="en-US"/>
        </a:p>
      </dgm:t>
    </dgm:pt>
    <dgm:pt modelId="{F6370DD6-C7A7-4BFD-BCAA-FCFE7F98389C}" type="pres">
      <dgm:prSet presAssocID="{7D4642E6-96D3-46DF-B7A6-87A52F2734E4}" presName="circ1Tx" presStyleLbl="revTx" presStyleIdx="1" presStyleCnt="3">
        <dgm:presLayoutVars>
          <dgm:chMax val="0"/>
          <dgm:chPref val="0"/>
        </dgm:presLayoutVars>
      </dgm:prSet>
      <dgm:spPr/>
      <dgm:t>
        <a:bodyPr/>
        <a:lstStyle/>
        <a:p>
          <a:endParaRPr lang="zh-CN" altLang="en-US"/>
        </a:p>
      </dgm:t>
    </dgm:pt>
    <dgm:pt modelId="{B51FFE9D-C920-4EBF-A7B7-8CCEF809A75B}" type="pres">
      <dgm:prSet presAssocID="{53BF568E-97BE-461E-B83F-EC5F8634DF84}" presName="circ2" presStyleLbl="vennNode1" presStyleIdx="1" presStyleCnt="11"/>
      <dgm:spPr/>
      <dgm:t>
        <a:bodyPr/>
        <a:lstStyle/>
        <a:p>
          <a:endParaRPr lang="zh-CN" altLang="en-US"/>
        </a:p>
      </dgm:t>
    </dgm:pt>
    <dgm:pt modelId="{E10971FC-FB07-4746-A01D-C5323ADD88C1}" type="pres">
      <dgm:prSet presAssocID="{53BF568E-97BE-461E-B83F-EC5F8634DF84}" presName="circ2Tx" presStyleLbl="revTx" presStyleIdx="1" presStyleCnt="3">
        <dgm:presLayoutVars>
          <dgm:chMax val="0"/>
          <dgm:chPref val="0"/>
        </dgm:presLayoutVars>
      </dgm:prSet>
      <dgm:spPr/>
      <dgm:t>
        <a:bodyPr/>
        <a:lstStyle/>
        <a:p>
          <a:endParaRPr lang="zh-CN" altLang="en-US"/>
        </a:p>
      </dgm:t>
    </dgm:pt>
    <dgm:pt modelId="{2D537698-E037-4E4C-960D-E1FE18445D05}" type="pres">
      <dgm:prSet presAssocID="{B543C8F7-5973-45CF-8ABC-A362398DB07B}" presName="leftComposite" presStyleCnt="0"/>
      <dgm:spPr/>
    </dgm:pt>
    <dgm:pt modelId="{3B5E6F47-697B-4A1B-9E3D-D4275226269A}" type="pres">
      <dgm:prSet presAssocID="{D9F7E5D3-F10F-468F-9613-22A2E7E4CB3E}" presName="childText1_1" presStyleLbl="vennNode1" presStyleIdx="2" presStyleCnt="11">
        <dgm:presLayoutVars>
          <dgm:chMax val="0"/>
          <dgm:chPref val="0"/>
        </dgm:presLayoutVars>
      </dgm:prSet>
      <dgm:spPr/>
      <dgm:t>
        <a:bodyPr/>
        <a:lstStyle/>
        <a:p>
          <a:endParaRPr lang="zh-CN" altLang="en-US"/>
        </a:p>
      </dgm:t>
    </dgm:pt>
    <dgm:pt modelId="{B24CFC9F-1F19-4160-B488-2A561DED562D}" type="pres">
      <dgm:prSet presAssocID="{D9F7E5D3-F10F-468F-9613-22A2E7E4CB3E}" presName="ellipse1" presStyleLbl="vennNode1" presStyleIdx="3" presStyleCnt="11"/>
      <dgm:spPr/>
    </dgm:pt>
    <dgm:pt modelId="{43F319FF-0AC1-4399-B4BD-9C389639E118}" type="pres">
      <dgm:prSet presAssocID="{D9F7E5D3-F10F-468F-9613-22A2E7E4CB3E}" presName="ellipse2" presStyleLbl="vennNode1" presStyleIdx="4" presStyleCnt="11"/>
      <dgm:spPr/>
    </dgm:pt>
    <dgm:pt modelId="{3308B589-93C2-463C-87D0-373620793222}" type="pres">
      <dgm:prSet presAssocID="{863D8A3D-A192-43A3-ADD2-5D1A44FC1943}" presName="childText1_2" presStyleLbl="vennNode1" presStyleIdx="5" presStyleCnt="11">
        <dgm:presLayoutVars>
          <dgm:chMax val="0"/>
          <dgm:chPref val="0"/>
        </dgm:presLayoutVars>
      </dgm:prSet>
      <dgm:spPr/>
      <dgm:t>
        <a:bodyPr/>
        <a:lstStyle/>
        <a:p>
          <a:endParaRPr lang="zh-CN" altLang="en-US"/>
        </a:p>
      </dgm:t>
    </dgm:pt>
    <dgm:pt modelId="{44A47259-BC7D-4EC8-B6A2-64BECDB07461}" type="pres">
      <dgm:prSet presAssocID="{863D8A3D-A192-43A3-ADD2-5D1A44FC1943}" presName="ellipse3" presStyleLbl="vennNode1" presStyleIdx="6" presStyleCnt="11"/>
      <dgm:spPr/>
    </dgm:pt>
    <dgm:pt modelId="{804AC48E-46B1-4DA1-8A7F-171A28115F8D}" type="pres">
      <dgm:prSet presAssocID="{C709B4C3-1AAB-4397-A9C0-3EBE223B704D}" presName="childText1_3" presStyleLbl="vennNode1" presStyleIdx="7" presStyleCnt="11">
        <dgm:presLayoutVars>
          <dgm:chMax val="0"/>
          <dgm:chPref val="0"/>
        </dgm:presLayoutVars>
      </dgm:prSet>
      <dgm:spPr/>
      <dgm:t>
        <a:bodyPr/>
        <a:lstStyle/>
        <a:p>
          <a:endParaRPr lang="zh-CN" altLang="en-US"/>
        </a:p>
      </dgm:t>
    </dgm:pt>
    <dgm:pt modelId="{46A0405E-4FAA-47F6-95F9-84EAF9B0ACF9}" type="pres">
      <dgm:prSet presAssocID="{E98846E6-08F0-4456-A8FB-40EDA36AB1B1}" presName="childText1_4" presStyleLbl="vennNode1" presStyleIdx="8" presStyleCnt="11">
        <dgm:presLayoutVars>
          <dgm:chMax val="0"/>
          <dgm:chPref val="0"/>
        </dgm:presLayoutVars>
      </dgm:prSet>
      <dgm:spPr/>
      <dgm:t>
        <a:bodyPr/>
        <a:lstStyle/>
        <a:p>
          <a:endParaRPr lang="zh-CN" altLang="en-US"/>
        </a:p>
      </dgm:t>
    </dgm:pt>
    <dgm:pt modelId="{100B6E82-4B73-496E-9B78-860B7DF4C648}" type="pres">
      <dgm:prSet presAssocID="{E98846E6-08F0-4456-A8FB-40EDA36AB1B1}" presName="ellipse4" presStyleLbl="vennNode1" presStyleIdx="9" presStyleCnt="11"/>
      <dgm:spPr/>
    </dgm:pt>
    <dgm:pt modelId="{A3326734-46DF-4945-8713-26ADF2DEFC70}" type="pres">
      <dgm:prSet presAssocID="{E98846E6-08F0-4456-A8FB-40EDA36AB1B1}" presName="ellipse5" presStyleLbl="vennNode1" presStyleIdx="10" presStyleCnt="11"/>
      <dgm:spPr/>
    </dgm:pt>
    <dgm:pt modelId="{BBA77A7F-9472-4568-BA71-54563CAF9EF4}" type="pres">
      <dgm:prSet presAssocID="{B543C8F7-5973-45CF-8ABC-A362398DB07B}" presName="rightChild" presStyleLbl="node2" presStyleIdx="0" presStyleCnt="1">
        <dgm:presLayoutVars>
          <dgm:chMax val="0"/>
          <dgm:chPref val="0"/>
        </dgm:presLayoutVars>
      </dgm:prSet>
      <dgm:spPr/>
      <dgm:t>
        <a:bodyPr/>
        <a:lstStyle/>
        <a:p>
          <a:endParaRPr lang="zh-CN" altLang="en-US"/>
        </a:p>
      </dgm:t>
    </dgm:pt>
    <dgm:pt modelId="{7504DAC8-8CC3-4201-9761-D4C273C19226}" type="pres">
      <dgm:prSet presAssocID="{B543C8F7-5973-45CF-8ABC-A362398DB07B}" presName="parentText1" presStyleLbl="revTx" presStyleIdx="2" presStyleCnt="3">
        <dgm:presLayoutVars>
          <dgm:chMax val="4"/>
          <dgm:chPref val="3"/>
          <dgm:bulletEnabled val="1"/>
        </dgm:presLayoutVars>
      </dgm:prSet>
      <dgm:spPr/>
      <dgm:t>
        <a:bodyPr/>
        <a:lstStyle/>
        <a:p>
          <a:endParaRPr lang="zh-CN" altLang="en-US"/>
        </a:p>
      </dgm:t>
    </dgm:pt>
  </dgm:ptLst>
  <dgm:cxnLst>
    <dgm:cxn modelId="{48200158-0411-4B32-92EE-E0147B0CB939}" type="presOf" srcId="{BF8FDFF1-CF94-4F53-9570-5FBCFCC2D5C2}" destId="{BBA77A7F-9472-4568-BA71-54563CAF9EF4}" srcOrd="0" destOrd="1" presId="urn:microsoft.com/office/officeart/2009/3/layout/PhasedProcess"/>
    <dgm:cxn modelId="{EE7BC432-2094-4ADF-9559-5B2006B64688}" srcId="{52C4DCF1-7440-448B-BF5D-6995438770DB}" destId="{C709B4C3-1AAB-4397-A9C0-3EBE223B704D}" srcOrd="2" destOrd="0" parTransId="{3557DDED-C975-439C-A1EA-AAB1FEF9781D}" sibTransId="{97519867-5E4E-4F59-90AC-8B2B9942E41F}"/>
    <dgm:cxn modelId="{4D7605DD-69FD-4DB8-B430-C2D360F751A8}" type="presOf" srcId="{9305B11B-6FCB-4813-9C5D-174CD34355F5}" destId="{BBA77A7F-9472-4568-BA71-54563CAF9EF4}" srcOrd="0" destOrd="2" presId="urn:microsoft.com/office/officeart/2009/3/layout/PhasedProcess"/>
    <dgm:cxn modelId="{EA6765F1-0330-4FB7-86FD-BB7A21EC12AB}" type="presOf" srcId="{E98846E6-08F0-4456-A8FB-40EDA36AB1B1}" destId="{46A0405E-4FAA-47F6-95F9-84EAF9B0ACF9}" srcOrd="0" destOrd="0" presId="urn:microsoft.com/office/officeart/2009/3/layout/PhasedProcess"/>
    <dgm:cxn modelId="{2231C9B2-5950-46EF-8083-71F16B73C7BD}" srcId="{B543C8F7-5973-45CF-8ABC-A362398DB07B}" destId="{52C4DCF1-7440-448B-BF5D-6995438770DB}" srcOrd="0" destOrd="0" parTransId="{671B0FDB-6439-42D4-81DB-857262748D9A}" sibTransId="{A7E91171-2C08-48EC-99B1-F4609AB6E277}"/>
    <dgm:cxn modelId="{0196C191-834D-4FE1-8EBA-6A2218BA732D}" type="presOf" srcId="{53BF568E-97BE-461E-B83F-EC5F8634DF84}" destId="{E10971FC-FB07-4746-A01D-C5323ADD88C1}" srcOrd="1" destOrd="0" presId="urn:microsoft.com/office/officeart/2009/3/layout/PhasedProcess"/>
    <dgm:cxn modelId="{53274F39-7110-43A4-B609-AA5A05C0F424}" srcId="{FC59DCAB-80D7-4514-ABE9-CEB6E1623FD2}" destId="{BF8FDFF1-CF94-4F53-9570-5FBCFCC2D5C2}" srcOrd="1" destOrd="0" parTransId="{2556B645-93FD-4AFC-ACFB-4A3079B8DFEF}" sibTransId="{53EC6DF6-0846-444E-9D81-799E1FA3138A}"/>
    <dgm:cxn modelId="{05411071-3C91-4137-BFD5-992298E7A989}" type="presOf" srcId="{863D8A3D-A192-43A3-ADD2-5D1A44FC1943}" destId="{3308B589-93C2-463C-87D0-373620793222}" srcOrd="0" destOrd="0" presId="urn:microsoft.com/office/officeart/2009/3/layout/PhasedProcess"/>
    <dgm:cxn modelId="{04AEA339-C083-4F0B-8876-1A77421B784F}" srcId="{FC59DCAB-80D7-4514-ABE9-CEB6E1623FD2}" destId="{14786316-688E-4DF9-9557-79DA2EEA448E}" srcOrd="0" destOrd="0" parTransId="{19581D38-DF3E-4962-8ABE-BA4C8ADC4853}" sibTransId="{B05F5941-587D-4E17-96AA-C67B1BF24DB0}"/>
    <dgm:cxn modelId="{0B137AB5-CA74-4FF7-A690-9FE507618B67}" srcId="{54299B19-07B8-4B02-9A4A-0253F9905658}" destId="{7D4642E6-96D3-46DF-B7A6-87A52F2734E4}" srcOrd="0" destOrd="0" parTransId="{740C42AD-DF41-4F56-B40D-8DA9155A3B22}" sibTransId="{FA466203-505A-47DC-8C5F-B296992BEEE0}"/>
    <dgm:cxn modelId="{543980C6-3219-4521-BEFD-8860CE5963BE}" srcId="{B543C8F7-5973-45CF-8ABC-A362398DB07B}" destId="{54299B19-07B8-4B02-9A4A-0253F9905658}" srcOrd="1" destOrd="0" parTransId="{0A621FA8-2D32-4EA2-8A9E-D12393B03C6F}" sibTransId="{BB3F3E93-8018-4A13-8CB7-F60204EE9D49}"/>
    <dgm:cxn modelId="{7416854F-14CD-4F92-AF66-98D45304207B}" type="presOf" srcId="{C709B4C3-1AAB-4397-A9C0-3EBE223B704D}" destId="{804AC48E-46B1-4DA1-8A7F-171A28115F8D}" srcOrd="0" destOrd="0" presId="urn:microsoft.com/office/officeart/2009/3/layout/PhasedProcess"/>
    <dgm:cxn modelId="{880C3B02-05AA-4601-9DD2-791BD68569BC}" type="presOf" srcId="{53BF568E-97BE-461E-B83F-EC5F8634DF84}" destId="{B51FFE9D-C920-4EBF-A7B7-8CCEF809A75B}" srcOrd="0" destOrd="0" presId="urn:microsoft.com/office/officeart/2009/3/layout/PhasedProcess"/>
    <dgm:cxn modelId="{2CBC30B4-2192-45E2-8CC9-A5544E2334F0}" srcId="{52C4DCF1-7440-448B-BF5D-6995438770DB}" destId="{E98846E6-08F0-4456-A8FB-40EDA36AB1B1}" srcOrd="3" destOrd="0" parTransId="{9FC2C1CB-371C-485F-B52C-BC19BA19DF46}" sibTransId="{9478555B-792C-4698-81CC-14E5B1AD0852}"/>
    <dgm:cxn modelId="{EBCD49BC-7770-4605-A8FB-98A4283A5BC6}" type="presOf" srcId="{B543C8F7-5973-45CF-8ABC-A362398DB07B}" destId="{46075F94-0098-4CDF-9BB0-0B93A133C5C3}" srcOrd="0" destOrd="0" presId="urn:microsoft.com/office/officeart/2009/3/layout/PhasedProcess"/>
    <dgm:cxn modelId="{D69838F1-20F2-4A6F-80F1-648B34EFCB89}" type="presOf" srcId="{D9F7E5D3-F10F-468F-9613-22A2E7E4CB3E}" destId="{3B5E6F47-697B-4A1B-9E3D-D4275226269A}" srcOrd="0" destOrd="0" presId="urn:microsoft.com/office/officeart/2009/3/layout/PhasedProcess"/>
    <dgm:cxn modelId="{F8C45291-1FE9-42B0-9F42-8FFE2694BA9F}" type="presOf" srcId="{7D4642E6-96D3-46DF-B7A6-87A52F2734E4}" destId="{C911E996-0C68-4E3B-A0B8-CFC1F6FAC2B7}" srcOrd="0" destOrd="0" presId="urn:microsoft.com/office/officeart/2009/3/layout/PhasedProcess"/>
    <dgm:cxn modelId="{D9CF6E8B-2917-4AE4-9D6A-703FC975D5B5}" srcId="{52C4DCF1-7440-448B-BF5D-6995438770DB}" destId="{D9F7E5D3-F10F-468F-9613-22A2E7E4CB3E}" srcOrd="0" destOrd="0" parTransId="{447EEBBE-9E46-4DE8-88C1-9918BE4F4669}" sibTransId="{EDFE76D6-490C-44D9-8BB9-8EA7E68BD082}"/>
    <dgm:cxn modelId="{BC1242EB-28BE-4B07-9DD2-38451E084ABA}" type="presOf" srcId="{14786316-688E-4DF9-9557-79DA2EEA448E}" destId="{BBA77A7F-9472-4568-BA71-54563CAF9EF4}" srcOrd="0" destOrd="0" presId="urn:microsoft.com/office/officeart/2009/3/layout/PhasedProcess"/>
    <dgm:cxn modelId="{023FC6AF-7B3C-4133-BD68-9192D802D5FC}" srcId="{54299B19-07B8-4B02-9A4A-0253F9905658}" destId="{53BF568E-97BE-461E-B83F-EC5F8634DF84}" srcOrd="1" destOrd="0" parTransId="{21C06843-F146-43BD-8B4F-6AFDF344EA6F}" sibTransId="{E89808FE-BD6D-4408-B4C2-BE1FABB34AB9}"/>
    <dgm:cxn modelId="{9B16E990-F7E1-4AA2-8C61-E5883B6D38BF}" type="presOf" srcId="{7D4642E6-96D3-46DF-B7A6-87A52F2734E4}" destId="{F6370DD6-C7A7-4BFD-BCAA-FCFE7F98389C}" srcOrd="1" destOrd="0" presId="urn:microsoft.com/office/officeart/2009/3/layout/PhasedProcess"/>
    <dgm:cxn modelId="{9373D158-3264-4745-98D0-6E6854AD36F1}" type="presOf" srcId="{FC59DCAB-80D7-4514-ABE9-CEB6E1623FD2}" destId="{4D71AAFC-BBBC-40FE-904F-6EA60F241ABB}" srcOrd="0" destOrd="0" presId="urn:microsoft.com/office/officeart/2009/3/layout/PhasedProcess"/>
    <dgm:cxn modelId="{DF1665B1-34CB-437F-A2DD-4061ED56ACD4}" srcId="{B543C8F7-5973-45CF-8ABC-A362398DB07B}" destId="{FC59DCAB-80D7-4514-ABE9-CEB6E1623FD2}" srcOrd="2" destOrd="0" parTransId="{4AEA0572-3418-4DE6-BF45-9294D10B8C70}" sibTransId="{48A2933B-05AF-46D5-BC87-F5640224A138}"/>
    <dgm:cxn modelId="{4125DFDA-CC20-4566-A78A-DEA4D19FF392}" srcId="{52C4DCF1-7440-448B-BF5D-6995438770DB}" destId="{863D8A3D-A192-43A3-ADD2-5D1A44FC1943}" srcOrd="1" destOrd="0" parTransId="{B1F1BA17-E01A-4D2A-BA46-4ED9C500ECA0}" sibTransId="{B935046B-4015-4BC4-8544-A8C4BFF3F06B}"/>
    <dgm:cxn modelId="{79D5CB48-D438-4412-B391-96B2F1A0C419}" srcId="{FC59DCAB-80D7-4514-ABE9-CEB6E1623FD2}" destId="{9305B11B-6FCB-4813-9C5D-174CD34355F5}" srcOrd="2" destOrd="0" parTransId="{2DDAB008-9B61-4477-B9AC-3D064B9EB325}" sibTransId="{B11A821F-AF05-4B7E-A43E-74CE3C11514F}"/>
    <dgm:cxn modelId="{E1C1EF4F-48BE-433C-A82D-472FFF025C84}" type="presOf" srcId="{54299B19-07B8-4B02-9A4A-0253F9905658}" destId="{A819F190-5538-4E8F-9A84-4779D5B86E01}" srcOrd="0" destOrd="0" presId="urn:microsoft.com/office/officeart/2009/3/layout/PhasedProcess"/>
    <dgm:cxn modelId="{387AF383-1BB3-4C4F-BF6A-DFDD273EE039}" type="presOf" srcId="{52C4DCF1-7440-448B-BF5D-6995438770DB}" destId="{7504DAC8-8CC3-4201-9761-D4C273C19226}" srcOrd="0" destOrd="0" presId="urn:microsoft.com/office/officeart/2009/3/layout/PhasedProcess"/>
    <dgm:cxn modelId="{EFED7308-3AFD-4A37-858D-CD1FEA19380C}" type="presParOf" srcId="{46075F94-0098-4CDF-9BB0-0B93A133C5C3}" destId="{1DF43AC6-07AE-4D21-83FD-F7B383120212}" srcOrd="0" destOrd="0" presId="urn:microsoft.com/office/officeart/2009/3/layout/PhasedProcess"/>
    <dgm:cxn modelId="{2C11B3BC-FBEF-4EB9-8D96-FA3084E7AF9F}" type="presParOf" srcId="{46075F94-0098-4CDF-9BB0-0B93A133C5C3}" destId="{C84DDF15-82F2-4448-85FC-814DB356E6B2}" srcOrd="1" destOrd="0" presId="urn:microsoft.com/office/officeart/2009/3/layout/PhasedProcess"/>
    <dgm:cxn modelId="{F7359648-A194-4D16-B4A2-110D591186A6}" type="presParOf" srcId="{46075F94-0098-4CDF-9BB0-0B93A133C5C3}" destId="{A819F190-5538-4E8F-9A84-4779D5B86E01}" srcOrd="2" destOrd="0" presId="urn:microsoft.com/office/officeart/2009/3/layout/PhasedProcess"/>
    <dgm:cxn modelId="{1CAB1F97-2839-481C-A430-808E87DC42D1}" type="presParOf" srcId="{46075F94-0098-4CDF-9BB0-0B93A133C5C3}" destId="{CBABE19C-A6C2-4C96-A4C9-B42863350571}" srcOrd="3" destOrd="0" presId="urn:microsoft.com/office/officeart/2009/3/layout/PhasedProcess"/>
    <dgm:cxn modelId="{05698DC1-06AB-4A37-BB5C-4E44D7C68D30}" type="presParOf" srcId="{46075F94-0098-4CDF-9BB0-0B93A133C5C3}" destId="{36E962C3-6D8F-4D1A-A7FC-2A0A1968F6C0}" srcOrd="4" destOrd="0" presId="urn:microsoft.com/office/officeart/2009/3/layout/PhasedProcess"/>
    <dgm:cxn modelId="{B44ED095-5956-49D2-891D-F32588C5E44A}" type="presParOf" srcId="{46075F94-0098-4CDF-9BB0-0B93A133C5C3}" destId="{4D71AAFC-BBBC-40FE-904F-6EA60F241ABB}" srcOrd="5" destOrd="0" presId="urn:microsoft.com/office/officeart/2009/3/layout/PhasedProcess"/>
    <dgm:cxn modelId="{85B7E7BD-F10B-4D74-BE81-7FE033508BB1}" type="presParOf" srcId="{46075F94-0098-4CDF-9BB0-0B93A133C5C3}" destId="{22DF5731-971B-4956-B863-108C05507B04}" srcOrd="6" destOrd="0" presId="urn:microsoft.com/office/officeart/2009/3/layout/PhasedProcess"/>
    <dgm:cxn modelId="{C73854AB-196B-4FDF-8FDE-F31D977F1E20}" type="presParOf" srcId="{22DF5731-971B-4956-B863-108C05507B04}" destId="{C911E996-0C68-4E3B-A0B8-CFC1F6FAC2B7}" srcOrd="0" destOrd="0" presId="urn:microsoft.com/office/officeart/2009/3/layout/PhasedProcess"/>
    <dgm:cxn modelId="{9D7EE3D8-2DB1-409C-B2D4-BAD9D6793D45}" type="presParOf" srcId="{22DF5731-971B-4956-B863-108C05507B04}" destId="{F6370DD6-C7A7-4BFD-BCAA-FCFE7F98389C}" srcOrd="1" destOrd="0" presId="urn:microsoft.com/office/officeart/2009/3/layout/PhasedProcess"/>
    <dgm:cxn modelId="{609033C6-C4F4-4471-9A29-1FE42471B374}" type="presParOf" srcId="{22DF5731-971B-4956-B863-108C05507B04}" destId="{B51FFE9D-C920-4EBF-A7B7-8CCEF809A75B}" srcOrd="2" destOrd="0" presId="urn:microsoft.com/office/officeart/2009/3/layout/PhasedProcess"/>
    <dgm:cxn modelId="{27530A40-E973-411D-A9D1-F8DFC207C8F4}" type="presParOf" srcId="{22DF5731-971B-4956-B863-108C05507B04}" destId="{E10971FC-FB07-4746-A01D-C5323ADD88C1}" srcOrd="3" destOrd="0" presId="urn:microsoft.com/office/officeart/2009/3/layout/PhasedProcess"/>
    <dgm:cxn modelId="{B2C07939-D85A-4C60-9076-17EA1D2C2F2F}" type="presParOf" srcId="{46075F94-0098-4CDF-9BB0-0B93A133C5C3}" destId="{2D537698-E037-4E4C-960D-E1FE18445D05}" srcOrd="7" destOrd="0" presId="urn:microsoft.com/office/officeart/2009/3/layout/PhasedProcess"/>
    <dgm:cxn modelId="{2E68998C-7CAE-46E2-B980-BFB88FB565FA}" type="presParOf" srcId="{2D537698-E037-4E4C-960D-E1FE18445D05}" destId="{3B5E6F47-697B-4A1B-9E3D-D4275226269A}" srcOrd="0" destOrd="0" presId="urn:microsoft.com/office/officeart/2009/3/layout/PhasedProcess"/>
    <dgm:cxn modelId="{57E3C9B2-B06C-4DB1-B6D5-FD2CFDBD4621}" type="presParOf" srcId="{2D537698-E037-4E4C-960D-E1FE18445D05}" destId="{B24CFC9F-1F19-4160-B488-2A561DED562D}" srcOrd="1" destOrd="0" presId="urn:microsoft.com/office/officeart/2009/3/layout/PhasedProcess"/>
    <dgm:cxn modelId="{D878E8A1-F249-4E7C-BD14-89F885D9BC0A}" type="presParOf" srcId="{2D537698-E037-4E4C-960D-E1FE18445D05}" destId="{43F319FF-0AC1-4399-B4BD-9C389639E118}" srcOrd="2" destOrd="0" presId="urn:microsoft.com/office/officeart/2009/3/layout/PhasedProcess"/>
    <dgm:cxn modelId="{F9BCE858-B901-4836-B737-505F43F3ACB6}" type="presParOf" srcId="{2D537698-E037-4E4C-960D-E1FE18445D05}" destId="{3308B589-93C2-463C-87D0-373620793222}" srcOrd="3" destOrd="0" presId="urn:microsoft.com/office/officeart/2009/3/layout/PhasedProcess"/>
    <dgm:cxn modelId="{AFB9C472-96E5-45D5-ACD8-4076473F3ADB}" type="presParOf" srcId="{2D537698-E037-4E4C-960D-E1FE18445D05}" destId="{44A47259-BC7D-4EC8-B6A2-64BECDB07461}" srcOrd="4" destOrd="0" presId="urn:microsoft.com/office/officeart/2009/3/layout/PhasedProcess"/>
    <dgm:cxn modelId="{5B441B32-9598-4474-BCA1-A82DE9B8C8BF}" type="presParOf" srcId="{2D537698-E037-4E4C-960D-E1FE18445D05}" destId="{804AC48E-46B1-4DA1-8A7F-171A28115F8D}" srcOrd="5" destOrd="0" presId="urn:microsoft.com/office/officeart/2009/3/layout/PhasedProcess"/>
    <dgm:cxn modelId="{3A294C0C-671D-4FE0-B485-828AA43B94F6}" type="presParOf" srcId="{2D537698-E037-4E4C-960D-E1FE18445D05}" destId="{46A0405E-4FAA-47F6-95F9-84EAF9B0ACF9}" srcOrd="6" destOrd="0" presId="urn:microsoft.com/office/officeart/2009/3/layout/PhasedProcess"/>
    <dgm:cxn modelId="{9B79D41F-5F4A-4391-B196-F9417D56A0CE}" type="presParOf" srcId="{2D537698-E037-4E4C-960D-E1FE18445D05}" destId="{100B6E82-4B73-496E-9B78-860B7DF4C648}" srcOrd="7" destOrd="0" presId="urn:microsoft.com/office/officeart/2009/3/layout/PhasedProcess"/>
    <dgm:cxn modelId="{3B69789B-A0FA-416A-A96A-05A18C8CF8E9}" type="presParOf" srcId="{2D537698-E037-4E4C-960D-E1FE18445D05}" destId="{A3326734-46DF-4945-8713-26ADF2DEFC70}" srcOrd="8" destOrd="0" presId="urn:microsoft.com/office/officeart/2009/3/layout/PhasedProcess"/>
    <dgm:cxn modelId="{D1496B21-FDE0-4A18-BC7F-D628B7621574}" type="presParOf" srcId="{46075F94-0098-4CDF-9BB0-0B93A133C5C3}" destId="{BBA77A7F-9472-4568-BA71-54563CAF9EF4}" srcOrd="8" destOrd="0" presId="urn:microsoft.com/office/officeart/2009/3/layout/PhasedProcess"/>
    <dgm:cxn modelId="{14EB405C-5206-4BD0-8D0D-3C1E8F18C684}" type="presParOf" srcId="{46075F94-0098-4CDF-9BB0-0B93A133C5C3}" destId="{7504DAC8-8CC3-4201-9761-D4C273C19226}" srcOrd="9" destOrd="0" presId="urn:microsoft.com/office/officeart/2009/3/layout/Phased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347BEF6A-4AED-4DFE-9175-4C11DAF97597}"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zh-CN" altLang="en-US"/>
        </a:p>
      </dgm:t>
    </dgm:pt>
    <dgm:pt modelId="{B746C130-B255-426F-AD71-A5CD52B136D9}">
      <dgm:prSet phldrT="[文本]"/>
      <dgm:spPr/>
      <dgm:t>
        <a:bodyPr/>
        <a:lstStyle/>
        <a:p>
          <a:r>
            <a:rPr lang="zh-CN" altLang="en-US" dirty="0" smtClean="0"/>
            <a:t>嗅探踩点</a:t>
          </a:r>
          <a:endParaRPr lang="zh-CN" altLang="en-US" dirty="0"/>
        </a:p>
      </dgm:t>
    </dgm:pt>
    <dgm:pt modelId="{2C606531-4A42-4EA3-9BDE-3CE930133883}" type="parTrans" cxnId="{2E781670-EB73-4CB0-8F78-5E85D8356595}">
      <dgm:prSet/>
      <dgm:spPr/>
      <dgm:t>
        <a:bodyPr/>
        <a:lstStyle/>
        <a:p>
          <a:endParaRPr lang="zh-CN" altLang="en-US"/>
        </a:p>
      </dgm:t>
    </dgm:pt>
    <dgm:pt modelId="{2573586B-B757-449C-9B23-2C81B12BF25F}" type="sibTrans" cxnId="{2E781670-EB73-4CB0-8F78-5E85D8356595}">
      <dgm:prSet/>
      <dgm:spPr/>
      <dgm:t>
        <a:bodyPr/>
        <a:lstStyle/>
        <a:p>
          <a:endParaRPr lang="zh-CN" altLang="en-US"/>
        </a:p>
      </dgm:t>
    </dgm:pt>
    <dgm:pt modelId="{AD9D0A42-D3C6-4061-ADEC-0E6173770368}">
      <dgm:prSet phldrT="[文本]"/>
      <dgm:spPr/>
      <dgm:t>
        <a:bodyPr/>
        <a:lstStyle/>
        <a:p>
          <a:r>
            <a:rPr lang="zh-CN" altLang="en-US" dirty="0" smtClean="0"/>
            <a:t>实现可以实施精准定位的条件</a:t>
          </a:r>
          <a:endParaRPr lang="zh-CN" altLang="en-US" dirty="0"/>
        </a:p>
      </dgm:t>
    </dgm:pt>
    <dgm:pt modelId="{79D30F52-AD6C-491A-B20C-BAF21D8D9324}" type="parTrans" cxnId="{C6D1EFC1-FA42-4B53-A6EE-C25873E09DCE}">
      <dgm:prSet/>
      <dgm:spPr/>
      <dgm:t>
        <a:bodyPr/>
        <a:lstStyle/>
        <a:p>
          <a:endParaRPr lang="zh-CN" altLang="en-US"/>
        </a:p>
      </dgm:t>
    </dgm:pt>
    <dgm:pt modelId="{B9650508-4E9A-4137-890E-3422D9D533F5}" type="sibTrans" cxnId="{C6D1EFC1-FA42-4B53-A6EE-C25873E09DCE}">
      <dgm:prSet/>
      <dgm:spPr/>
      <dgm:t>
        <a:bodyPr/>
        <a:lstStyle/>
        <a:p>
          <a:endParaRPr lang="zh-CN" altLang="en-US"/>
        </a:p>
      </dgm:t>
    </dgm:pt>
    <dgm:pt modelId="{4D8D281D-C98F-4154-BF14-2D21BBDF5D67}">
      <dgm:prSet phldrT="[文本]"/>
      <dgm:spPr/>
      <dgm:t>
        <a:bodyPr/>
        <a:lstStyle/>
        <a:p>
          <a:r>
            <a:rPr lang="zh-CN" altLang="en-US" dirty="0" smtClean="0"/>
            <a:t>精准定位</a:t>
          </a:r>
          <a:endParaRPr lang="zh-CN" altLang="en-US" dirty="0"/>
        </a:p>
      </dgm:t>
    </dgm:pt>
    <dgm:pt modelId="{5E73CB3E-8A2E-49B7-B082-04121B84F509}" type="parTrans" cxnId="{2EA360F8-4946-41A3-AFC4-9BF3BE8FE026}">
      <dgm:prSet/>
      <dgm:spPr/>
      <dgm:t>
        <a:bodyPr/>
        <a:lstStyle/>
        <a:p>
          <a:endParaRPr lang="zh-CN" altLang="en-US"/>
        </a:p>
      </dgm:t>
    </dgm:pt>
    <dgm:pt modelId="{8DC6C570-6D92-477F-B29F-F4D18D372F91}" type="sibTrans" cxnId="{2EA360F8-4946-41A3-AFC4-9BF3BE8FE026}">
      <dgm:prSet/>
      <dgm:spPr/>
      <dgm:t>
        <a:bodyPr/>
        <a:lstStyle/>
        <a:p>
          <a:endParaRPr lang="zh-CN" altLang="en-US"/>
        </a:p>
      </dgm:t>
    </dgm:pt>
    <dgm:pt modelId="{56D7D992-8D70-4485-83E3-9C09EE256C44}">
      <dgm:prSet phldrT="[文本]"/>
      <dgm:spPr/>
      <dgm:t>
        <a:bodyPr/>
        <a:lstStyle/>
        <a:p>
          <a:r>
            <a:rPr lang="zh-CN" altLang="en-US" dirty="0" smtClean="0"/>
            <a:t>实现可以精确打击的条件和基础</a:t>
          </a:r>
          <a:endParaRPr lang="zh-CN" altLang="en-US" dirty="0"/>
        </a:p>
      </dgm:t>
    </dgm:pt>
    <dgm:pt modelId="{3005F6E6-BF12-4D6A-991A-46716A5033D6}" type="parTrans" cxnId="{CE0918FB-CA8C-482E-8D64-EAC581DFDF9B}">
      <dgm:prSet/>
      <dgm:spPr/>
      <dgm:t>
        <a:bodyPr/>
        <a:lstStyle/>
        <a:p>
          <a:endParaRPr lang="zh-CN" altLang="en-US"/>
        </a:p>
      </dgm:t>
    </dgm:pt>
    <dgm:pt modelId="{3900C82F-5EC5-4624-8F3C-B6700ED46127}" type="sibTrans" cxnId="{CE0918FB-CA8C-482E-8D64-EAC581DFDF9B}">
      <dgm:prSet/>
      <dgm:spPr/>
      <dgm:t>
        <a:bodyPr/>
        <a:lstStyle/>
        <a:p>
          <a:endParaRPr lang="zh-CN" altLang="en-US"/>
        </a:p>
      </dgm:t>
    </dgm:pt>
    <dgm:pt modelId="{B1CA421B-A52D-455A-9829-6F1C36D83266}">
      <dgm:prSet phldrT="[文本]"/>
      <dgm:spPr/>
      <dgm:t>
        <a:bodyPr/>
        <a:lstStyle/>
        <a:p>
          <a:r>
            <a:rPr lang="zh-CN" altLang="en-US" dirty="0" smtClean="0"/>
            <a:t>精确打击</a:t>
          </a:r>
          <a:endParaRPr lang="zh-CN" altLang="en-US" dirty="0"/>
        </a:p>
      </dgm:t>
    </dgm:pt>
    <dgm:pt modelId="{F774A6D1-EAFB-4116-8F1B-7950157F911A}" type="parTrans" cxnId="{B3739AE5-9B98-4B8C-B7FF-EC8B9723ADB6}">
      <dgm:prSet/>
      <dgm:spPr/>
      <dgm:t>
        <a:bodyPr/>
        <a:lstStyle/>
        <a:p>
          <a:endParaRPr lang="zh-CN" altLang="en-US"/>
        </a:p>
      </dgm:t>
    </dgm:pt>
    <dgm:pt modelId="{DC1BC383-B97E-4F13-9089-279AABC7C943}" type="sibTrans" cxnId="{B3739AE5-9B98-4B8C-B7FF-EC8B9723ADB6}">
      <dgm:prSet/>
      <dgm:spPr/>
      <dgm:t>
        <a:bodyPr/>
        <a:lstStyle/>
        <a:p>
          <a:endParaRPr lang="zh-CN" altLang="en-US"/>
        </a:p>
      </dgm:t>
    </dgm:pt>
    <dgm:pt modelId="{A7530DD0-6929-4969-BACC-6392843E9F44}">
      <dgm:prSet phldrT="[文本]"/>
      <dgm:spPr/>
      <dgm:t>
        <a:bodyPr/>
        <a:lstStyle/>
        <a:p>
          <a:r>
            <a:rPr lang="zh-CN" altLang="en-US" dirty="0" smtClean="0"/>
            <a:t>实现对目标的控制</a:t>
          </a:r>
          <a:endParaRPr lang="zh-CN" altLang="en-US" dirty="0"/>
        </a:p>
      </dgm:t>
    </dgm:pt>
    <dgm:pt modelId="{4E2C1845-F5A6-4A5C-90B8-67B621E2AEB4}" type="parTrans" cxnId="{8997B083-5050-4ABC-A20D-60A3B2D5119E}">
      <dgm:prSet/>
      <dgm:spPr/>
      <dgm:t>
        <a:bodyPr/>
        <a:lstStyle/>
        <a:p>
          <a:endParaRPr lang="zh-CN" altLang="en-US"/>
        </a:p>
      </dgm:t>
    </dgm:pt>
    <dgm:pt modelId="{0453126E-A174-4C7C-A235-82C4F046BF4E}" type="sibTrans" cxnId="{8997B083-5050-4ABC-A20D-60A3B2D5119E}">
      <dgm:prSet/>
      <dgm:spPr/>
      <dgm:t>
        <a:bodyPr/>
        <a:lstStyle/>
        <a:p>
          <a:endParaRPr lang="zh-CN" altLang="en-US"/>
        </a:p>
      </dgm:t>
    </dgm:pt>
    <dgm:pt modelId="{0F9CCFA7-2EEA-4B0C-8F10-2ED575889507}" type="pres">
      <dgm:prSet presAssocID="{347BEF6A-4AED-4DFE-9175-4C11DAF97597}" presName="Name0" presStyleCnt="0">
        <dgm:presLayoutVars>
          <dgm:dir/>
          <dgm:resizeHandles val="exact"/>
        </dgm:presLayoutVars>
      </dgm:prSet>
      <dgm:spPr/>
      <dgm:t>
        <a:bodyPr/>
        <a:lstStyle/>
        <a:p>
          <a:endParaRPr lang="zh-CN" altLang="en-US"/>
        </a:p>
      </dgm:t>
    </dgm:pt>
    <dgm:pt modelId="{254C61A8-8C3B-4AE8-9F3B-B03517097244}" type="pres">
      <dgm:prSet presAssocID="{347BEF6A-4AED-4DFE-9175-4C11DAF97597}" presName="arrow" presStyleLbl="bgShp" presStyleIdx="0" presStyleCnt="1"/>
      <dgm:spPr/>
    </dgm:pt>
    <dgm:pt modelId="{420CF0D1-8DBD-485D-B4F7-B1C6F782FBEB}" type="pres">
      <dgm:prSet presAssocID="{347BEF6A-4AED-4DFE-9175-4C11DAF97597}" presName="points" presStyleCnt="0"/>
      <dgm:spPr/>
    </dgm:pt>
    <dgm:pt modelId="{28143C03-291F-4295-83F0-74CED7360D89}" type="pres">
      <dgm:prSet presAssocID="{B746C130-B255-426F-AD71-A5CD52B136D9}" presName="compositeA" presStyleCnt="0"/>
      <dgm:spPr/>
    </dgm:pt>
    <dgm:pt modelId="{81396D4A-D066-4FD1-91E7-193BEDEB9E20}" type="pres">
      <dgm:prSet presAssocID="{B746C130-B255-426F-AD71-A5CD52B136D9}" presName="textA" presStyleLbl="revTx" presStyleIdx="0" presStyleCnt="3">
        <dgm:presLayoutVars>
          <dgm:bulletEnabled val="1"/>
        </dgm:presLayoutVars>
      </dgm:prSet>
      <dgm:spPr/>
      <dgm:t>
        <a:bodyPr/>
        <a:lstStyle/>
        <a:p>
          <a:endParaRPr lang="zh-CN" altLang="en-US"/>
        </a:p>
      </dgm:t>
    </dgm:pt>
    <dgm:pt modelId="{666ACBFC-2765-4EC5-BDD8-E82DEAAD15C3}" type="pres">
      <dgm:prSet presAssocID="{B746C130-B255-426F-AD71-A5CD52B136D9}" presName="circleA" presStyleLbl="node1" presStyleIdx="0" presStyleCnt="3"/>
      <dgm:spPr/>
    </dgm:pt>
    <dgm:pt modelId="{B23D57C7-E593-426F-A0CA-5D92959EC62E}" type="pres">
      <dgm:prSet presAssocID="{B746C130-B255-426F-AD71-A5CD52B136D9}" presName="spaceA" presStyleCnt="0"/>
      <dgm:spPr/>
    </dgm:pt>
    <dgm:pt modelId="{798BB332-EDB4-41F8-8B50-1515532AF130}" type="pres">
      <dgm:prSet presAssocID="{2573586B-B757-449C-9B23-2C81B12BF25F}" presName="space" presStyleCnt="0"/>
      <dgm:spPr/>
    </dgm:pt>
    <dgm:pt modelId="{F1EE496D-8398-4AFE-8F1A-B2F1B90D8392}" type="pres">
      <dgm:prSet presAssocID="{4D8D281D-C98F-4154-BF14-2D21BBDF5D67}" presName="compositeB" presStyleCnt="0"/>
      <dgm:spPr/>
    </dgm:pt>
    <dgm:pt modelId="{09FE1636-5553-4F5D-B5D7-81A705B1F93A}" type="pres">
      <dgm:prSet presAssocID="{4D8D281D-C98F-4154-BF14-2D21BBDF5D67}" presName="textB" presStyleLbl="revTx" presStyleIdx="1" presStyleCnt="3">
        <dgm:presLayoutVars>
          <dgm:bulletEnabled val="1"/>
        </dgm:presLayoutVars>
      </dgm:prSet>
      <dgm:spPr/>
      <dgm:t>
        <a:bodyPr/>
        <a:lstStyle/>
        <a:p>
          <a:endParaRPr lang="zh-CN" altLang="en-US"/>
        </a:p>
      </dgm:t>
    </dgm:pt>
    <dgm:pt modelId="{E631A5B7-65EC-49D5-81C1-8BD4F5550C37}" type="pres">
      <dgm:prSet presAssocID="{4D8D281D-C98F-4154-BF14-2D21BBDF5D67}" presName="circleB" presStyleLbl="node1" presStyleIdx="1" presStyleCnt="3"/>
      <dgm:spPr/>
    </dgm:pt>
    <dgm:pt modelId="{4D77DE48-B20E-45DC-8078-7DAC9DFE95DE}" type="pres">
      <dgm:prSet presAssocID="{4D8D281D-C98F-4154-BF14-2D21BBDF5D67}" presName="spaceB" presStyleCnt="0"/>
      <dgm:spPr/>
    </dgm:pt>
    <dgm:pt modelId="{4211A32F-0763-41C1-A3EF-48E1F8002306}" type="pres">
      <dgm:prSet presAssocID="{8DC6C570-6D92-477F-B29F-F4D18D372F91}" presName="space" presStyleCnt="0"/>
      <dgm:spPr/>
    </dgm:pt>
    <dgm:pt modelId="{D80FAE6A-5A5C-4734-A8A3-FA68D44C5DC4}" type="pres">
      <dgm:prSet presAssocID="{B1CA421B-A52D-455A-9829-6F1C36D83266}" presName="compositeA" presStyleCnt="0"/>
      <dgm:spPr/>
    </dgm:pt>
    <dgm:pt modelId="{EAB0B8AA-E780-41D5-8F11-853E74C3B535}" type="pres">
      <dgm:prSet presAssocID="{B1CA421B-A52D-455A-9829-6F1C36D83266}" presName="textA" presStyleLbl="revTx" presStyleIdx="2" presStyleCnt="3">
        <dgm:presLayoutVars>
          <dgm:bulletEnabled val="1"/>
        </dgm:presLayoutVars>
      </dgm:prSet>
      <dgm:spPr/>
      <dgm:t>
        <a:bodyPr/>
        <a:lstStyle/>
        <a:p>
          <a:endParaRPr lang="zh-CN" altLang="en-US"/>
        </a:p>
      </dgm:t>
    </dgm:pt>
    <dgm:pt modelId="{B579D798-F721-4D42-BDA1-DBF51CF35ABE}" type="pres">
      <dgm:prSet presAssocID="{B1CA421B-A52D-455A-9829-6F1C36D83266}" presName="circleA" presStyleLbl="node1" presStyleIdx="2" presStyleCnt="3"/>
      <dgm:spPr/>
    </dgm:pt>
    <dgm:pt modelId="{EEEE3505-F9A0-403E-89FC-482F0496BEF1}" type="pres">
      <dgm:prSet presAssocID="{B1CA421B-A52D-455A-9829-6F1C36D83266}" presName="spaceA" presStyleCnt="0"/>
      <dgm:spPr/>
    </dgm:pt>
  </dgm:ptLst>
  <dgm:cxnLst>
    <dgm:cxn modelId="{796C53BA-F13C-4039-A9C3-D1A62D8B81F2}" type="presOf" srcId="{B746C130-B255-426F-AD71-A5CD52B136D9}" destId="{81396D4A-D066-4FD1-91E7-193BEDEB9E20}" srcOrd="0" destOrd="0" presId="urn:microsoft.com/office/officeart/2005/8/layout/hProcess11"/>
    <dgm:cxn modelId="{728297E0-80AB-46A4-A24D-7D2746AA2273}" type="presOf" srcId="{B1CA421B-A52D-455A-9829-6F1C36D83266}" destId="{EAB0B8AA-E780-41D5-8F11-853E74C3B535}" srcOrd="0" destOrd="0" presId="urn:microsoft.com/office/officeart/2005/8/layout/hProcess11"/>
    <dgm:cxn modelId="{2E781670-EB73-4CB0-8F78-5E85D8356595}" srcId="{347BEF6A-4AED-4DFE-9175-4C11DAF97597}" destId="{B746C130-B255-426F-AD71-A5CD52B136D9}" srcOrd="0" destOrd="0" parTransId="{2C606531-4A42-4EA3-9BDE-3CE930133883}" sibTransId="{2573586B-B757-449C-9B23-2C81B12BF25F}"/>
    <dgm:cxn modelId="{CE0918FB-CA8C-482E-8D64-EAC581DFDF9B}" srcId="{4D8D281D-C98F-4154-BF14-2D21BBDF5D67}" destId="{56D7D992-8D70-4485-83E3-9C09EE256C44}" srcOrd="0" destOrd="0" parTransId="{3005F6E6-BF12-4D6A-991A-46716A5033D6}" sibTransId="{3900C82F-5EC5-4624-8F3C-B6700ED46127}"/>
    <dgm:cxn modelId="{F4E94DC3-4858-413C-8A92-F8DE67A07EB1}" type="presOf" srcId="{AD9D0A42-D3C6-4061-ADEC-0E6173770368}" destId="{81396D4A-D066-4FD1-91E7-193BEDEB9E20}" srcOrd="0" destOrd="1" presId="urn:microsoft.com/office/officeart/2005/8/layout/hProcess11"/>
    <dgm:cxn modelId="{3E84AE1D-0F68-4E1D-B4E7-248147F699BE}" type="presOf" srcId="{56D7D992-8D70-4485-83E3-9C09EE256C44}" destId="{09FE1636-5553-4F5D-B5D7-81A705B1F93A}" srcOrd="0" destOrd="1" presId="urn:microsoft.com/office/officeart/2005/8/layout/hProcess11"/>
    <dgm:cxn modelId="{8AD1E50A-AB8E-4B7C-97AD-291389109169}" type="presOf" srcId="{4D8D281D-C98F-4154-BF14-2D21BBDF5D67}" destId="{09FE1636-5553-4F5D-B5D7-81A705B1F93A}" srcOrd="0" destOrd="0" presId="urn:microsoft.com/office/officeart/2005/8/layout/hProcess11"/>
    <dgm:cxn modelId="{8997B083-5050-4ABC-A20D-60A3B2D5119E}" srcId="{B1CA421B-A52D-455A-9829-6F1C36D83266}" destId="{A7530DD0-6929-4969-BACC-6392843E9F44}" srcOrd="0" destOrd="0" parTransId="{4E2C1845-F5A6-4A5C-90B8-67B621E2AEB4}" sibTransId="{0453126E-A174-4C7C-A235-82C4F046BF4E}"/>
    <dgm:cxn modelId="{CA7824C4-6344-4C47-9709-B48B00F825F0}" type="presOf" srcId="{347BEF6A-4AED-4DFE-9175-4C11DAF97597}" destId="{0F9CCFA7-2EEA-4B0C-8F10-2ED575889507}" srcOrd="0" destOrd="0" presId="urn:microsoft.com/office/officeart/2005/8/layout/hProcess11"/>
    <dgm:cxn modelId="{B3739AE5-9B98-4B8C-B7FF-EC8B9723ADB6}" srcId="{347BEF6A-4AED-4DFE-9175-4C11DAF97597}" destId="{B1CA421B-A52D-455A-9829-6F1C36D83266}" srcOrd="2" destOrd="0" parTransId="{F774A6D1-EAFB-4116-8F1B-7950157F911A}" sibTransId="{DC1BC383-B97E-4F13-9089-279AABC7C943}"/>
    <dgm:cxn modelId="{2EA360F8-4946-41A3-AFC4-9BF3BE8FE026}" srcId="{347BEF6A-4AED-4DFE-9175-4C11DAF97597}" destId="{4D8D281D-C98F-4154-BF14-2D21BBDF5D67}" srcOrd="1" destOrd="0" parTransId="{5E73CB3E-8A2E-49B7-B082-04121B84F509}" sibTransId="{8DC6C570-6D92-477F-B29F-F4D18D372F91}"/>
    <dgm:cxn modelId="{C6D1EFC1-FA42-4B53-A6EE-C25873E09DCE}" srcId="{B746C130-B255-426F-AD71-A5CD52B136D9}" destId="{AD9D0A42-D3C6-4061-ADEC-0E6173770368}" srcOrd="0" destOrd="0" parTransId="{79D30F52-AD6C-491A-B20C-BAF21D8D9324}" sibTransId="{B9650508-4E9A-4137-890E-3422D9D533F5}"/>
    <dgm:cxn modelId="{DBA6876E-09AA-43EE-9BF9-ACE1E97FEFAF}" type="presOf" srcId="{A7530DD0-6929-4969-BACC-6392843E9F44}" destId="{EAB0B8AA-E780-41D5-8F11-853E74C3B535}" srcOrd="0" destOrd="1" presId="urn:microsoft.com/office/officeart/2005/8/layout/hProcess11"/>
    <dgm:cxn modelId="{8C6BBF2F-31FD-4BAC-B896-5E41EB48BA7C}" type="presParOf" srcId="{0F9CCFA7-2EEA-4B0C-8F10-2ED575889507}" destId="{254C61A8-8C3B-4AE8-9F3B-B03517097244}" srcOrd="0" destOrd="0" presId="urn:microsoft.com/office/officeart/2005/8/layout/hProcess11"/>
    <dgm:cxn modelId="{8445FD72-3907-4188-B74A-7A60AA862F5C}" type="presParOf" srcId="{0F9CCFA7-2EEA-4B0C-8F10-2ED575889507}" destId="{420CF0D1-8DBD-485D-B4F7-B1C6F782FBEB}" srcOrd="1" destOrd="0" presId="urn:microsoft.com/office/officeart/2005/8/layout/hProcess11"/>
    <dgm:cxn modelId="{E1A149CA-D940-4B4E-AF56-2D8DCE7775D3}" type="presParOf" srcId="{420CF0D1-8DBD-485D-B4F7-B1C6F782FBEB}" destId="{28143C03-291F-4295-83F0-74CED7360D89}" srcOrd="0" destOrd="0" presId="urn:microsoft.com/office/officeart/2005/8/layout/hProcess11"/>
    <dgm:cxn modelId="{A3353751-A08A-411E-BC0A-6A7F49094CE4}" type="presParOf" srcId="{28143C03-291F-4295-83F0-74CED7360D89}" destId="{81396D4A-D066-4FD1-91E7-193BEDEB9E20}" srcOrd="0" destOrd="0" presId="urn:microsoft.com/office/officeart/2005/8/layout/hProcess11"/>
    <dgm:cxn modelId="{17E5A4A4-FD20-4673-A39B-984E8E24ABD3}" type="presParOf" srcId="{28143C03-291F-4295-83F0-74CED7360D89}" destId="{666ACBFC-2765-4EC5-BDD8-E82DEAAD15C3}" srcOrd="1" destOrd="0" presId="urn:microsoft.com/office/officeart/2005/8/layout/hProcess11"/>
    <dgm:cxn modelId="{B4F42B8D-6003-4F8A-BFCB-715B77099288}" type="presParOf" srcId="{28143C03-291F-4295-83F0-74CED7360D89}" destId="{B23D57C7-E593-426F-A0CA-5D92959EC62E}" srcOrd="2" destOrd="0" presId="urn:microsoft.com/office/officeart/2005/8/layout/hProcess11"/>
    <dgm:cxn modelId="{07A8447E-2152-4FE9-9BD3-2B47EAE67C05}" type="presParOf" srcId="{420CF0D1-8DBD-485D-B4F7-B1C6F782FBEB}" destId="{798BB332-EDB4-41F8-8B50-1515532AF130}" srcOrd="1" destOrd="0" presId="urn:microsoft.com/office/officeart/2005/8/layout/hProcess11"/>
    <dgm:cxn modelId="{57E7E7A4-397A-4807-A695-E6821ED3BF2F}" type="presParOf" srcId="{420CF0D1-8DBD-485D-B4F7-B1C6F782FBEB}" destId="{F1EE496D-8398-4AFE-8F1A-B2F1B90D8392}" srcOrd="2" destOrd="0" presId="urn:microsoft.com/office/officeart/2005/8/layout/hProcess11"/>
    <dgm:cxn modelId="{24770922-E726-40FC-9907-EF05E4FD0494}" type="presParOf" srcId="{F1EE496D-8398-4AFE-8F1A-B2F1B90D8392}" destId="{09FE1636-5553-4F5D-B5D7-81A705B1F93A}" srcOrd="0" destOrd="0" presId="urn:microsoft.com/office/officeart/2005/8/layout/hProcess11"/>
    <dgm:cxn modelId="{510B55F7-F46D-4F95-8B77-A81549B4694C}" type="presParOf" srcId="{F1EE496D-8398-4AFE-8F1A-B2F1B90D8392}" destId="{E631A5B7-65EC-49D5-81C1-8BD4F5550C37}" srcOrd="1" destOrd="0" presId="urn:microsoft.com/office/officeart/2005/8/layout/hProcess11"/>
    <dgm:cxn modelId="{DD472889-DC7E-40B3-9675-C40AE2CA7CD7}" type="presParOf" srcId="{F1EE496D-8398-4AFE-8F1A-B2F1B90D8392}" destId="{4D77DE48-B20E-45DC-8078-7DAC9DFE95DE}" srcOrd="2" destOrd="0" presId="urn:microsoft.com/office/officeart/2005/8/layout/hProcess11"/>
    <dgm:cxn modelId="{20670EAA-C058-43C4-9DBD-6CEB25479068}" type="presParOf" srcId="{420CF0D1-8DBD-485D-B4F7-B1C6F782FBEB}" destId="{4211A32F-0763-41C1-A3EF-48E1F8002306}" srcOrd="3" destOrd="0" presId="urn:microsoft.com/office/officeart/2005/8/layout/hProcess11"/>
    <dgm:cxn modelId="{E21A916C-F9B0-47F4-BEBD-580670957276}" type="presParOf" srcId="{420CF0D1-8DBD-485D-B4F7-B1C6F782FBEB}" destId="{D80FAE6A-5A5C-4734-A8A3-FA68D44C5DC4}" srcOrd="4" destOrd="0" presId="urn:microsoft.com/office/officeart/2005/8/layout/hProcess11"/>
    <dgm:cxn modelId="{E127F8BE-76D8-440E-A45E-401261865C72}" type="presParOf" srcId="{D80FAE6A-5A5C-4734-A8A3-FA68D44C5DC4}" destId="{EAB0B8AA-E780-41D5-8F11-853E74C3B535}" srcOrd="0" destOrd="0" presId="urn:microsoft.com/office/officeart/2005/8/layout/hProcess11"/>
    <dgm:cxn modelId="{32E6A54D-350E-4DAF-B072-E6DD16928A32}" type="presParOf" srcId="{D80FAE6A-5A5C-4734-A8A3-FA68D44C5DC4}" destId="{B579D798-F721-4D42-BDA1-DBF51CF35ABE}" srcOrd="1" destOrd="0" presId="urn:microsoft.com/office/officeart/2005/8/layout/hProcess11"/>
    <dgm:cxn modelId="{DA855A35-7946-4D70-BE66-C50150C85929}" type="presParOf" srcId="{D80FAE6A-5A5C-4734-A8A3-FA68D44C5DC4}" destId="{EEEE3505-F9A0-403E-89FC-482F0496BEF1}"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DE32BB-E0B2-402D-A745-25F691816A56}"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zh-CN" altLang="en-US"/>
        </a:p>
      </dgm:t>
    </dgm:pt>
    <dgm:pt modelId="{4B24BFF9-A4E7-4CA1-A1D4-DAAA21F4B081}">
      <dgm:prSet/>
      <dgm:spPr/>
      <dgm:t>
        <a:bodyPr/>
        <a:lstStyle/>
        <a:p>
          <a:pPr rtl="0"/>
          <a:r>
            <a:rPr lang="zh-CN" b="1" dirty="0" smtClean="0"/>
            <a:t>白盒</a:t>
          </a:r>
          <a:endParaRPr lang="en-US" altLang="zh-CN" b="1" dirty="0" smtClean="0"/>
        </a:p>
        <a:p>
          <a:pPr rtl="0"/>
          <a:r>
            <a:rPr lang="zh-CN" b="1" dirty="0" smtClean="0"/>
            <a:t>测试</a:t>
          </a:r>
          <a:endParaRPr lang="zh-CN" dirty="0"/>
        </a:p>
      </dgm:t>
    </dgm:pt>
    <dgm:pt modelId="{F003886C-920D-42FA-B961-AE076BD933B9}" type="parTrans" cxnId="{595ED48E-FBF6-4B50-8E7E-12189B5689B0}">
      <dgm:prSet/>
      <dgm:spPr/>
      <dgm:t>
        <a:bodyPr/>
        <a:lstStyle/>
        <a:p>
          <a:endParaRPr lang="zh-CN" altLang="en-US"/>
        </a:p>
      </dgm:t>
    </dgm:pt>
    <dgm:pt modelId="{E166B0EB-3591-4C00-8DBA-0C4C37CCFE50}" type="sibTrans" cxnId="{595ED48E-FBF6-4B50-8E7E-12189B5689B0}">
      <dgm:prSet/>
      <dgm:spPr/>
      <dgm:t>
        <a:bodyPr/>
        <a:lstStyle/>
        <a:p>
          <a:endParaRPr lang="zh-CN" altLang="en-US"/>
        </a:p>
      </dgm:t>
    </dgm:pt>
    <dgm:pt modelId="{5BA12F73-3AAA-4E2F-B3F2-EBBB2DC8AC95}">
      <dgm:prSet/>
      <dgm:spPr/>
      <dgm:t>
        <a:bodyPr/>
        <a:lstStyle/>
        <a:p>
          <a:pPr rtl="0"/>
          <a:r>
            <a:rPr lang="zh-CN" altLang="en-US" b="1" dirty="0" smtClean="0"/>
            <a:t>灰</a:t>
          </a:r>
          <a:r>
            <a:rPr lang="zh-CN" b="1" dirty="0" smtClean="0"/>
            <a:t>盒</a:t>
          </a:r>
          <a:endParaRPr lang="en-US" altLang="zh-CN" b="1" dirty="0" smtClean="0"/>
        </a:p>
        <a:p>
          <a:pPr rtl="0"/>
          <a:r>
            <a:rPr lang="zh-CN" b="1" dirty="0" smtClean="0"/>
            <a:t>测试</a:t>
          </a:r>
          <a:endParaRPr lang="zh-CN" dirty="0"/>
        </a:p>
      </dgm:t>
    </dgm:pt>
    <dgm:pt modelId="{28A648BB-22D0-40A8-8609-89941C39D545}" type="parTrans" cxnId="{C4CC4335-5F2B-46D1-8580-F385E42243B0}">
      <dgm:prSet/>
      <dgm:spPr/>
      <dgm:t>
        <a:bodyPr/>
        <a:lstStyle/>
        <a:p>
          <a:endParaRPr lang="zh-CN" altLang="en-US"/>
        </a:p>
      </dgm:t>
    </dgm:pt>
    <dgm:pt modelId="{A20EE2B9-5817-46DF-90B5-9BF6475B8B14}" type="sibTrans" cxnId="{C4CC4335-5F2B-46D1-8580-F385E42243B0}">
      <dgm:prSet/>
      <dgm:spPr/>
      <dgm:t>
        <a:bodyPr/>
        <a:lstStyle/>
        <a:p>
          <a:endParaRPr lang="zh-CN" altLang="en-US"/>
        </a:p>
      </dgm:t>
    </dgm:pt>
    <dgm:pt modelId="{5598688F-A802-4A7F-B068-405669F44A28}">
      <dgm:prSet/>
      <dgm:spPr/>
      <dgm:t>
        <a:bodyPr/>
        <a:lstStyle/>
        <a:p>
          <a:pPr rtl="0"/>
          <a:r>
            <a:rPr lang="zh-CN" altLang="en-US" b="1" dirty="0" smtClean="0"/>
            <a:t>黑</a:t>
          </a:r>
          <a:r>
            <a:rPr lang="zh-CN" b="1" dirty="0" smtClean="0"/>
            <a:t>盒</a:t>
          </a:r>
          <a:endParaRPr lang="en-US" altLang="zh-CN" b="1" dirty="0" smtClean="0"/>
        </a:p>
        <a:p>
          <a:pPr rtl="0"/>
          <a:r>
            <a:rPr lang="zh-CN" b="1" dirty="0" smtClean="0"/>
            <a:t>测试</a:t>
          </a:r>
          <a:endParaRPr lang="zh-CN" dirty="0"/>
        </a:p>
      </dgm:t>
    </dgm:pt>
    <dgm:pt modelId="{26677C6C-8159-4EB7-A4D9-D349892644FF}" type="parTrans" cxnId="{0298766A-B72A-4D83-8E44-56B9A71F2108}">
      <dgm:prSet/>
      <dgm:spPr/>
      <dgm:t>
        <a:bodyPr/>
        <a:lstStyle/>
        <a:p>
          <a:endParaRPr lang="zh-CN" altLang="en-US"/>
        </a:p>
      </dgm:t>
    </dgm:pt>
    <dgm:pt modelId="{FB99DD0B-EFB5-4B47-AD5A-0CA8D0CD125C}" type="sibTrans" cxnId="{0298766A-B72A-4D83-8E44-56B9A71F2108}">
      <dgm:prSet/>
      <dgm:spPr/>
      <dgm:t>
        <a:bodyPr/>
        <a:lstStyle/>
        <a:p>
          <a:endParaRPr lang="zh-CN" altLang="en-US"/>
        </a:p>
      </dgm:t>
    </dgm:pt>
    <dgm:pt modelId="{948249AB-0DDB-4261-AF5F-B8C4BD883466}" type="pres">
      <dgm:prSet presAssocID="{D8DE32BB-E0B2-402D-A745-25F691816A56}" presName="Name0" presStyleCnt="0">
        <dgm:presLayoutVars>
          <dgm:dir/>
          <dgm:resizeHandles val="exact"/>
        </dgm:presLayoutVars>
      </dgm:prSet>
      <dgm:spPr/>
      <dgm:t>
        <a:bodyPr/>
        <a:lstStyle/>
        <a:p>
          <a:endParaRPr lang="zh-CN" altLang="en-US"/>
        </a:p>
      </dgm:t>
    </dgm:pt>
    <dgm:pt modelId="{87374B41-F9CA-423B-AF79-BE9B15B706F7}" type="pres">
      <dgm:prSet presAssocID="{4B24BFF9-A4E7-4CA1-A1D4-DAAA21F4B081}" presName="Name5" presStyleLbl="vennNode1" presStyleIdx="0" presStyleCnt="3">
        <dgm:presLayoutVars>
          <dgm:bulletEnabled val="1"/>
        </dgm:presLayoutVars>
      </dgm:prSet>
      <dgm:spPr/>
      <dgm:t>
        <a:bodyPr/>
        <a:lstStyle/>
        <a:p>
          <a:endParaRPr lang="zh-CN" altLang="en-US"/>
        </a:p>
      </dgm:t>
    </dgm:pt>
    <dgm:pt modelId="{E07BA579-1C8D-4C7A-AA8E-097AFFB8039D}" type="pres">
      <dgm:prSet presAssocID="{E166B0EB-3591-4C00-8DBA-0C4C37CCFE50}" presName="space" presStyleCnt="0"/>
      <dgm:spPr/>
    </dgm:pt>
    <dgm:pt modelId="{103F0BA3-E928-4E49-BC1F-C136331DB1B5}" type="pres">
      <dgm:prSet presAssocID="{5BA12F73-3AAA-4E2F-B3F2-EBBB2DC8AC95}" presName="Name5" presStyleLbl="vennNode1" presStyleIdx="1" presStyleCnt="3">
        <dgm:presLayoutVars>
          <dgm:bulletEnabled val="1"/>
        </dgm:presLayoutVars>
      </dgm:prSet>
      <dgm:spPr/>
      <dgm:t>
        <a:bodyPr/>
        <a:lstStyle/>
        <a:p>
          <a:endParaRPr lang="zh-CN" altLang="en-US"/>
        </a:p>
      </dgm:t>
    </dgm:pt>
    <dgm:pt modelId="{7F10B35B-7A0D-4853-9BC1-85CA4D273BD7}" type="pres">
      <dgm:prSet presAssocID="{A20EE2B9-5817-46DF-90B5-9BF6475B8B14}" presName="space" presStyleCnt="0"/>
      <dgm:spPr/>
    </dgm:pt>
    <dgm:pt modelId="{A5F3E6E9-0CDF-4EAF-8C06-C1D6FD1F82FD}" type="pres">
      <dgm:prSet presAssocID="{5598688F-A802-4A7F-B068-405669F44A28}" presName="Name5" presStyleLbl="vennNode1" presStyleIdx="2" presStyleCnt="3">
        <dgm:presLayoutVars>
          <dgm:bulletEnabled val="1"/>
        </dgm:presLayoutVars>
      </dgm:prSet>
      <dgm:spPr/>
      <dgm:t>
        <a:bodyPr/>
        <a:lstStyle/>
        <a:p>
          <a:endParaRPr lang="zh-CN" altLang="en-US"/>
        </a:p>
      </dgm:t>
    </dgm:pt>
  </dgm:ptLst>
  <dgm:cxnLst>
    <dgm:cxn modelId="{98E78D4A-7C36-4660-BD37-E97B658867D5}" type="presOf" srcId="{5598688F-A802-4A7F-B068-405669F44A28}" destId="{A5F3E6E9-0CDF-4EAF-8C06-C1D6FD1F82FD}" srcOrd="0" destOrd="0" presId="urn:microsoft.com/office/officeart/2005/8/layout/venn3"/>
    <dgm:cxn modelId="{85134E11-D5B2-48ED-87AD-87E47DE096F1}" type="presOf" srcId="{4B24BFF9-A4E7-4CA1-A1D4-DAAA21F4B081}" destId="{87374B41-F9CA-423B-AF79-BE9B15B706F7}" srcOrd="0" destOrd="0" presId="urn:microsoft.com/office/officeart/2005/8/layout/venn3"/>
    <dgm:cxn modelId="{C4CC4335-5F2B-46D1-8580-F385E42243B0}" srcId="{D8DE32BB-E0B2-402D-A745-25F691816A56}" destId="{5BA12F73-3AAA-4E2F-B3F2-EBBB2DC8AC95}" srcOrd="1" destOrd="0" parTransId="{28A648BB-22D0-40A8-8609-89941C39D545}" sibTransId="{A20EE2B9-5817-46DF-90B5-9BF6475B8B14}"/>
    <dgm:cxn modelId="{B08399FE-8185-43D2-A686-7287811229DF}" type="presOf" srcId="{5BA12F73-3AAA-4E2F-B3F2-EBBB2DC8AC95}" destId="{103F0BA3-E928-4E49-BC1F-C136331DB1B5}" srcOrd="0" destOrd="0" presId="urn:microsoft.com/office/officeart/2005/8/layout/venn3"/>
    <dgm:cxn modelId="{0298766A-B72A-4D83-8E44-56B9A71F2108}" srcId="{D8DE32BB-E0B2-402D-A745-25F691816A56}" destId="{5598688F-A802-4A7F-B068-405669F44A28}" srcOrd="2" destOrd="0" parTransId="{26677C6C-8159-4EB7-A4D9-D349892644FF}" sibTransId="{FB99DD0B-EFB5-4B47-AD5A-0CA8D0CD125C}"/>
    <dgm:cxn modelId="{595ED48E-FBF6-4B50-8E7E-12189B5689B0}" srcId="{D8DE32BB-E0B2-402D-A745-25F691816A56}" destId="{4B24BFF9-A4E7-4CA1-A1D4-DAAA21F4B081}" srcOrd="0" destOrd="0" parTransId="{F003886C-920D-42FA-B961-AE076BD933B9}" sibTransId="{E166B0EB-3591-4C00-8DBA-0C4C37CCFE50}"/>
    <dgm:cxn modelId="{549EBBAF-8BD6-4EDB-BF72-AD8622239773}" type="presOf" srcId="{D8DE32BB-E0B2-402D-A745-25F691816A56}" destId="{948249AB-0DDB-4261-AF5F-B8C4BD883466}" srcOrd="0" destOrd="0" presId="urn:microsoft.com/office/officeart/2005/8/layout/venn3"/>
    <dgm:cxn modelId="{5911D23D-D7D5-4CE1-9111-55580F2D6677}" type="presParOf" srcId="{948249AB-0DDB-4261-AF5F-B8C4BD883466}" destId="{87374B41-F9CA-423B-AF79-BE9B15B706F7}" srcOrd="0" destOrd="0" presId="urn:microsoft.com/office/officeart/2005/8/layout/venn3"/>
    <dgm:cxn modelId="{01628216-8E15-4BA0-848E-8A4DD33FD2F6}" type="presParOf" srcId="{948249AB-0DDB-4261-AF5F-B8C4BD883466}" destId="{E07BA579-1C8D-4C7A-AA8E-097AFFB8039D}" srcOrd="1" destOrd="0" presId="urn:microsoft.com/office/officeart/2005/8/layout/venn3"/>
    <dgm:cxn modelId="{0088E2BD-98F0-404B-83C6-B45072C62596}" type="presParOf" srcId="{948249AB-0DDB-4261-AF5F-B8C4BD883466}" destId="{103F0BA3-E928-4E49-BC1F-C136331DB1B5}" srcOrd="2" destOrd="0" presId="urn:microsoft.com/office/officeart/2005/8/layout/venn3"/>
    <dgm:cxn modelId="{C162D47D-34BC-49DB-80C5-C49F8565D7B0}" type="presParOf" srcId="{948249AB-0DDB-4261-AF5F-B8C4BD883466}" destId="{7F10B35B-7A0D-4853-9BC1-85CA4D273BD7}" srcOrd="3" destOrd="0" presId="urn:microsoft.com/office/officeart/2005/8/layout/venn3"/>
    <dgm:cxn modelId="{535DA0A1-5DEF-4697-BFE3-FB1A2F44A1AB}" type="presParOf" srcId="{948249AB-0DDB-4261-AF5F-B8C4BD883466}" destId="{A5F3E6E9-0CDF-4EAF-8C06-C1D6FD1F82FD}" srcOrd="4"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90951AE9-997B-4DED-8C17-52563A770965}" type="doc">
      <dgm:prSet loTypeId="urn:microsoft.com/office/officeart/2009/3/layout/SubStepProcess" loCatId="process" qsTypeId="urn:microsoft.com/office/officeart/2005/8/quickstyle/simple1" qsCatId="simple" csTypeId="urn:microsoft.com/office/officeart/2005/8/colors/accent1_2" csCatId="accent1" phldr="1"/>
      <dgm:spPr/>
      <dgm:t>
        <a:bodyPr/>
        <a:lstStyle/>
        <a:p>
          <a:endParaRPr lang="zh-CN" altLang="en-US"/>
        </a:p>
      </dgm:t>
    </dgm:pt>
    <dgm:pt modelId="{FA2775C0-2023-49F2-AAF2-D4232B142145}">
      <dgm:prSet phldrT="[文本]"/>
      <dgm:spPr/>
      <dgm:t>
        <a:bodyPr/>
        <a:lstStyle/>
        <a:p>
          <a:r>
            <a:rPr lang="zh-CN" altLang="en-US" dirty="0" smtClean="0">
              <a:solidFill>
                <a:schemeClr val="tx1"/>
              </a:solidFill>
            </a:rPr>
            <a:t>嗅探信息</a:t>
          </a:r>
          <a:endParaRPr lang="zh-CN" altLang="en-US" dirty="0">
            <a:solidFill>
              <a:schemeClr val="tx1"/>
            </a:solidFill>
          </a:endParaRPr>
        </a:p>
      </dgm:t>
    </dgm:pt>
    <dgm:pt modelId="{09DB5E77-C69D-40F0-B0C8-F756486C775F}" type="parTrans" cxnId="{F3E58819-846C-446D-B0E5-429A8829CA82}">
      <dgm:prSet/>
      <dgm:spPr/>
      <dgm:t>
        <a:bodyPr/>
        <a:lstStyle/>
        <a:p>
          <a:endParaRPr lang="zh-CN" altLang="en-US">
            <a:solidFill>
              <a:schemeClr val="tx1"/>
            </a:solidFill>
          </a:endParaRPr>
        </a:p>
      </dgm:t>
    </dgm:pt>
    <dgm:pt modelId="{4AD1A3CF-D057-4BEB-A550-C91E50CB3848}" type="sibTrans" cxnId="{F3E58819-846C-446D-B0E5-429A8829CA82}">
      <dgm:prSet/>
      <dgm:spPr/>
      <dgm:t>
        <a:bodyPr/>
        <a:lstStyle/>
        <a:p>
          <a:endParaRPr lang="zh-CN" altLang="en-US">
            <a:solidFill>
              <a:schemeClr val="tx1"/>
            </a:solidFill>
          </a:endParaRPr>
        </a:p>
      </dgm:t>
    </dgm:pt>
    <dgm:pt modelId="{BBC68B30-10D4-4579-8982-B68C80D49062}">
      <dgm:prSet phldrT="[文本]"/>
      <dgm:spPr/>
      <dgm:t>
        <a:bodyPr/>
        <a:lstStyle/>
        <a:p>
          <a:r>
            <a:rPr lang="zh-CN" altLang="en-US" dirty="0" smtClean="0">
              <a:solidFill>
                <a:schemeClr val="tx1"/>
              </a:solidFill>
            </a:rPr>
            <a:t>网络范围</a:t>
          </a:r>
          <a:endParaRPr lang="zh-CN" altLang="en-US" dirty="0">
            <a:solidFill>
              <a:schemeClr val="tx1"/>
            </a:solidFill>
          </a:endParaRPr>
        </a:p>
      </dgm:t>
    </dgm:pt>
    <dgm:pt modelId="{2468A499-1FD9-4397-98AA-BA1C98C75B77}" type="parTrans" cxnId="{98BA535B-9F5C-45FC-950D-312A6E079F49}">
      <dgm:prSet/>
      <dgm:spPr/>
      <dgm:t>
        <a:bodyPr/>
        <a:lstStyle/>
        <a:p>
          <a:endParaRPr lang="zh-CN" altLang="en-US">
            <a:solidFill>
              <a:schemeClr val="tx1"/>
            </a:solidFill>
          </a:endParaRPr>
        </a:p>
      </dgm:t>
    </dgm:pt>
    <dgm:pt modelId="{9CF45C86-388B-4A3F-9B96-E19E5148BE61}" type="sibTrans" cxnId="{98BA535B-9F5C-45FC-950D-312A6E079F49}">
      <dgm:prSet/>
      <dgm:spPr/>
      <dgm:t>
        <a:bodyPr/>
        <a:lstStyle/>
        <a:p>
          <a:endParaRPr lang="zh-CN" altLang="en-US">
            <a:solidFill>
              <a:schemeClr val="tx1"/>
            </a:solidFill>
          </a:endParaRPr>
        </a:p>
      </dgm:t>
    </dgm:pt>
    <dgm:pt modelId="{FD9F3CEF-4B04-4A09-99FA-4C95DCFD2C81}">
      <dgm:prSet phldrT="[文本]"/>
      <dgm:spPr/>
      <dgm:t>
        <a:bodyPr/>
        <a:lstStyle/>
        <a:p>
          <a:r>
            <a:rPr lang="zh-CN" altLang="en-US" dirty="0" smtClean="0">
              <a:solidFill>
                <a:schemeClr val="tx1"/>
              </a:solidFill>
            </a:rPr>
            <a:t>信息系统</a:t>
          </a:r>
          <a:endParaRPr lang="zh-CN" altLang="en-US" dirty="0">
            <a:solidFill>
              <a:schemeClr val="tx1"/>
            </a:solidFill>
          </a:endParaRPr>
        </a:p>
      </dgm:t>
    </dgm:pt>
    <dgm:pt modelId="{14C39910-2ABE-4877-9358-6E4CAA11EF33}" type="parTrans" cxnId="{84A18D3A-66E6-4713-86B2-9CF503930CF3}">
      <dgm:prSet/>
      <dgm:spPr/>
      <dgm:t>
        <a:bodyPr/>
        <a:lstStyle/>
        <a:p>
          <a:endParaRPr lang="zh-CN" altLang="en-US">
            <a:solidFill>
              <a:schemeClr val="tx1"/>
            </a:solidFill>
          </a:endParaRPr>
        </a:p>
      </dgm:t>
    </dgm:pt>
    <dgm:pt modelId="{725E8D3E-7DA0-4C0A-913D-E78CA4293F8A}" type="sibTrans" cxnId="{84A18D3A-66E6-4713-86B2-9CF503930CF3}">
      <dgm:prSet/>
      <dgm:spPr/>
      <dgm:t>
        <a:bodyPr/>
        <a:lstStyle/>
        <a:p>
          <a:endParaRPr lang="zh-CN" altLang="en-US">
            <a:solidFill>
              <a:schemeClr val="tx1"/>
            </a:solidFill>
          </a:endParaRPr>
        </a:p>
      </dgm:t>
    </dgm:pt>
    <dgm:pt modelId="{EB62F8F7-E30D-43D2-B333-27ED5111D55A}">
      <dgm:prSet phldrT="[文本]"/>
      <dgm:spPr/>
      <dgm:t>
        <a:bodyPr/>
        <a:lstStyle/>
        <a:p>
          <a:r>
            <a:rPr lang="zh-CN" altLang="en-US" dirty="0" smtClean="0">
              <a:solidFill>
                <a:schemeClr val="tx1"/>
              </a:solidFill>
            </a:rPr>
            <a:t>踩点定位</a:t>
          </a:r>
          <a:endParaRPr lang="zh-CN" altLang="en-US" dirty="0">
            <a:solidFill>
              <a:schemeClr val="tx1"/>
            </a:solidFill>
          </a:endParaRPr>
        </a:p>
      </dgm:t>
    </dgm:pt>
    <dgm:pt modelId="{66954485-1EAB-4046-BF90-D7753861E7D4}" type="parTrans" cxnId="{ACA78DB8-40AB-4740-9BC2-BD81743B97E7}">
      <dgm:prSet/>
      <dgm:spPr/>
      <dgm:t>
        <a:bodyPr/>
        <a:lstStyle/>
        <a:p>
          <a:endParaRPr lang="zh-CN" altLang="en-US">
            <a:solidFill>
              <a:schemeClr val="tx1"/>
            </a:solidFill>
          </a:endParaRPr>
        </a:p>
      </dgm:t>
    </dgm:pt>
    <dgm:pt modelId="{B8C7933A-ED6A-4415-B7A5-643C060C8372}" type="sibTrans" cxnId="{ACA78DB8-40AB-4740-9BC2-BD81743B97E7}">
      <dgm:prSet/>
      <dgm:spPr/>
      <dgm:t>
        <a:bodyPr/>
        <a:lstStyle/>
        <a:p>
          <a:endParaRPr lang="zh-CN" altLang="en-US">
            <a:solidFill>
              <a:schemeClr val="tx1"/>
            </a:solidFill>
          </a:endParaRPr>
        </a:p>
      </dgm:t>
    </dgm:pt>
    <dgm:pt modelId="{E87D9893-3D52-49D5-B910-DA1F62469CF6}">
      <dgm:prSet phldrT="[文本]"/>
      <dgm:spPr/>
      <dgm:t>
        <a:bodyPr/>
        <a:lstStyle/>
        <a:p>
          <a:r>
            <a:rPr lang="zh-CN" altLang="en-US" dirty="0" smtClean="0">
              <a:solidFill>
                <a:schemeClr val="tx1"/>
              </a:solidFill>
            </a:rPr>
            <a:t>主机终端</a:t>
          </a:r>
          <a:endParaRPr lang="zh-CN" altLang="en-US" dirty="0">
            <a:solidFill>
              <a:schemeClr val="tx1"/>
            </a:solidFill>
          </a:endParaRPr>
        </a:p>
      </dgm:t>
    </dgm:pt>
    <dgm:pt modelId="{8552C4D6-644E-444E-8529-E49EC33AFD5C}" type="parTrans" cxnId="{197623B0-EA15-4188-872B-605AFE8928BD}">
      <dgm:prSet/>
      <dgm:spPr/>
      <dgm:t>
        <a:bodyPr/>
        <a:lstStyle/>
        <a:p>
          <a:endParaRPr lang="zh-CN" altLang="en-US">
            <a:solidFill>
              <a:schemeClr val="tx1"/>
            </a:solidFill>
          </a:endParaRPr>
        </a:p>
      </dgm:t>
    </dgm:pt>
    <dgm:pt modelId="{B05AB974-51B2-47F6-BAE3-F6A3D550B60F}" type="sibTrans" cxnId="{197623B0-EA15-4188-872B-605AFE8928BD}">
      <dgm:prSet/>
      <dgm:spPr/>
      <dgm:t>
        <a:bodyPr/>
        <a:lstStyle/>
        <a:p>
          <a:endParaRPr lang="zh-CN" altLang="en-US">
            <a:solidFill>
              <a:schemeClr val="tx1"/>
            </a:solidFill>
          </a:endParaRPr>
        </a:p>
      </dgm:t>
    </dgm:pt>
    <dgm:pt modelId="{1C5724A4-211C-4C71-9FA3-49AD2BD8B324}">
      <dgm:prSet phldrT="[文本]"/>
      <dgm:spPr/>
      <dgm:t>
        <a:bodyPr/>
        <a:lstStyle/>
        <a:p>
          <a:r>
            <a:rPr lang="zh-CN" altLang="en-US" dirty="0" smtClean="0">
              <a:solidFill>
                <a:schemeClr val="tx1"/>
              </a:solidFill>
            </a:rPr>
            <a:t>网络拓扑</a:t>
          </a:r>
          <a:endParaRPr lang="zh-CN" altLang="en-US" dirty="0">
            <a:solidFill>
              <a:schemeClr val="tx1"/>
            </a:solidFill>
          </a:endParaRPr>
        </a:p>
      </dgm:t>
    </dgm:pt>
    <dgm:pt modelId="{384E15AE-E2C4-4A79-BE01-43BF4BED37A0}" type="parTrans" cxnId="{A972CB17-5C32-4CCA-B301-F4E7E1A9E57E}">
      <dgm:prSet/>
      <dgm:spPr/>
      <dgm:t>
        <a:bodyPr/>
        <a:lstStyle/>
        <a:p>
          <a:endParaRPr lang="zh-CN" altLang="en-US">
            <a:solidFill>
              <a:schemeClr val="tx1"/>
            </a:solidFill>
          </a:endParaRPr>
        </a:p>
      </dgm:t>
    </dgm:pt>
    <dgm:pt modelId="{D8DADAC0-150E-4DC9-8E39-A121263FF7A2}" type="sibTrans" cxnId="{A972CB17-5C32-4CCA-B301-F4E7E1A9E57E}">
      <dgm:prSet/>
      <dgm:spPr/>
      <dgm:t>
        <a:bodyPr/>
        <a:lstStyle/>
        <a:p>
          <a:endParaRPr lang="zh-CN" altLang="en-US">
            <a:solidFill>
              <a:schemeClr val="tx1"/>
            </a:solidFill>
          </a:endParaRPr>
        </a:p>
      </dgm:t>
    </dgm:pt>
    <dgm:pt modelId="{A9335965-8394-4C78-9376-71DDDDBAE38A}">
      <dgm:prSet phldrT="[文本]"/>
      <dgm:spPr/>
      <dgm:t>
        <a:bodyPr/>
        <a:lstStyle/>
        <a:p>
          <a:r>
            <a:rPr lang="zh-CN" altLang="en-US" dirty="0" smtClean="0">
              <a:solidFill>
                <a:schemeClr val="tx1"/>
              </a:solidFill>
            </a:rPr>
            <a:t>用户信息</a:t>
          </a:r>
          <a:endParaRPr lang="zh-CN" altLang="en-US" dirty="0">
            <a:solidFill>
              <a:schemeClr val="tx1"/>
            </a:solidFill>
          </a:endParaRPr>
        </a:p>
      </dgm:t>
    </dgm:pt>
    <dgm:pt modelId="{61737D02-39DA-43F9-B5CF-374E617444CB}" type="parTrans" cxnId="{A22C9D47-C038-48FC-AD91-9BF7C0271077}">
      <dgm:prSet/>
      <dgm:spPr/>
      <dgm:t>
        <a:bodyPr/>
        <a:lstStyle/>
        <a:p>
          <a:endParaRPr lang="zh-CN" altLang="en-US">
            <a:solidFill>
              <a:schemeClr val="tx1"/>
            </a:solidFill>
          </a:endParaRPr>
        </a:p>
      </dgm:t>
    </dgm:pt>
    <dgm:pt modelId="{0B53B1E5-EB41-40FA-96B1-89D750C279E0}" type="sibTrans" cxnId="{A22C9D47-C038-48FC-AD91-9BF7C0271077}">
      <dgm:prSet/>
      <dgm:spPr/>
      <dgm:t>
        <a:bodyPr/>
        <a:lstStyle/>
        <a:p>
          <a:endParaRPr lang="zh-CN" altLang="en-US">
            <a:solidFill>
              <a:schemeClr val="tx1"/>
            </a:solidFill>
          </a:endParaRPr>
        </a:p>
      </dgm:t>
    </dgm:pt>
    <dgm:pt modelId="{3E7EE7DA-C3C6-4924-ABAD-AD8BC29BEED8}">
      <dgm:prSet phldrT="[文本]"/>
      <dgm:spPr/>
      <dgm:t>
        <a:bodyPr/>
        <a:lstStyle/>
        <a:p>
          <a:r>
            <a:rPr lang="zh-CN" altLang="en-US" dirty="0" smtClean="0">
              <a:solidFill>
                <a:schemeClr val="tx1"/>
              </a:solidFill>
            </a:rPr>
            <a:t>文档信息</a:t>
          </a:r>
          <a:endParaRPr lang="en-US" altLang="zh-CN" dirty="0" smtClean="0">
            <a:solidFill>
              <a:schemeClr val="tx1"/>
            </a:solidFill>
          </a:endParaRPr>
        </a:p>
      </dgm:t>
    </dgm:pt>
    <dgm:pt modelId="{F6200F07-D5D5-4BBB-BC01-49E9B9F1B80D}" type="parTrans" cxnId="{8CB9CCB6-069F-4B98-AFDB-202A7F75B24E}">
      <dgm:prSet/>
      <dgm:spPr/>
      <dgm:t>
        <a:bodyPr/>
        <a:lstStyle/>
        <a:p>
          <a:endParaRPr lang="zh-CN" altLang="en-US">
            <a:solidFill>
              <a:schemeClr val="tx1"/>
            </a:solidFill>
          </a:endParaRPr>
        </a:p>
      </dgm:t>
    </dgm:pt>
    <dgm:pt modelId="{57CF7E25-AEF1-4357-B772-4A99C3DD8F77}" type="sibTrans" cxnId="{8CB9CCB6-069F-4B98-AFDB-202A7F75B24E}">
      <dgm:prSet/>
      <dgm:spPr/>
      <dgm:t>
        <a:bodyPr/>
        <a:lstStyle/>
        <a:p>
          <a:endParaRPr lang="zh-CN" altLang="en-US">
            <a:solidFill>
              <a:schemeClr val="tx1"/>
            </a:solidFill>
          </a:endParaRPr>
        </a:p>
      </dgm:t>
    </dgm:pt>
    <dgm:pt modelId="{F9ADFD1C-CDAD-4406-89DA-6C8116D05D08}">
      <dgm:prSet phldrT="[文本]"/>
      <dgm:spPr/>
      <dgm:t>
        <a:bodyPr/>
        <a:lstStyle/>
        <a:p>
          <a:r>
            <a:rPr lang="zh-CN" altLang="en-US" dirty="0" smtClean="0">
              <a:solidFill>
                <a:schemeClr val="tx1"/>
              </a:solidFill>
            </a:rPr>
            <a:t>设备范围</a:t>
          </a:r>
          <a:endParaRPr lang="zh-CN" altLang="en-US" dirty="0">
            <a:solidFill>
              <a:schemeClr val="tx1"/>
            </a:solidFill>
          </a:endParaRPr>
        </a:p>
      </dgm:t>
    </dgm:pt>
    <dgm:pt modelId="{AD4976BD-7792-4F29-9D48-87B1F73A12B6}" type="parTrans" cxnId="{0AEF74FC-52B4-4453-9037-A438FA9A3669}">
      <dgm:prSet/>
      <dgm:spPr/>
      <dgm:t>
        <a:bodyPr/>
        <a:lstStyle/>
        <a:p>
          <a:endParaRPr lang="zh-CN" altLang="en-US">
            <a:solidFill>
              <a:schemeClr val="tx1"/>
            </a:solidFill>
          </a:endParaRPr>
        </a:p>
      </dgm:t>
    </dgm:pt>
    <dgm:pt modelId="{AFEC2796-FA72-41A5-8828-0AF76D9CDCE8}" type="sibTrans" cxnId="{0AEF74FC-52B4-4453-9037-A438FA9A3669}">
      <dgm:prSet/>
      <dgm:spPr/>
      <dgm:t>
        <a:bodyPr/>
        <a:lstStyle/>
        <a:p>
          <a:endParaRPr lang="zh-CN" altLang="en-US">
            <a:solidFill>
              <a:schemeClr val="tx1"/>
            </a:solidFill>
          </a:endParaRPr>
        </a:p>
      </dgm:t>
    </dgm:pt>
    <dgm:pt modelId="{3607E3A6-4A18-4852-B270-606EFF12B5AB}">
      <dgm:prSet phldrT="[文本]"/>
      <dgm:spPr/>
      <dgm:t>
        <a:bodyPr/>
        <a:lstStyle/>
        <a:p>
          <a:r>
            <a:rPr lang="zh-CN" altLang="en-US" dirty="0" smtClean="0">
              <a:solidFill>
                <a:schemeClr val="tx1"/>
              </a:solidFill>
            </a:rPr>
            <a:t>系统范围</a:t>
          </a:r>
          <a:endParaRPr lang="zh-CN" altLang="en-US" dirty="0">
            <a:solidFill>
              <a:schemeClr val="tx1"/>
            </a:solidFill>
          </a:endParaRPr>
        </a:p>
      </dgm:t>
    </dgm:pt>
    <dgm:pt modelId="{164D7DC2-6DEB-4FC7-8607-668621572C8F}" type="parTrans" cxnId="{771967B4-548C-44AC-85EE-A858F1EF0166}">
      <dgm:prSet/>
      <dgm:spPr/>
      <dgm:t>
        <a:bodyPr/>
        <a:lstStyle/>
        <a:p>
          <a:endParaRPr lang="zh-CN" altLang="en-US">
            <a:solidFill>
              <a:schemeClr val="tx1"/>
            </a:solidFill>
          </a:endParaRPr>
        </a:p>
      </dgm:t>
    </dgm:pt>
    <dgm:pt modelId="{E37AB5F3-2EC3-46FB-AFB0-2DAC73FC0723}" type="sibTrans" cxnId="{771967B4-548C-44AC-85EE-A858F1EF0166}">
      <dgm:prSet/>
      <dgm:spPr/>
      <dgm:t>
        <a:bodyPr/>
        <a:lstStyle/>
        <a:p>
          <a:endParaRPr lang="zh-CN" altLang="en-US">
            <a:solidFill>
              <a:schemeClr val="tx1"/>
            </a:solidFill>
          </a:endParaRPr>
        </a:p>
      </dgm:t>
    </dgm:pt>
    <dgm:pt modelId="{A4581807-F30B-46D1-BE47-01C88269FBA1}">
      <dgm:prSet phldrT="[文本]"/>
      <dgm:spPr/>
      <dgm:t>
        <a:bodyPr/>
        <a:lstStyle/>
        <a:p>
          <a:r>
            <a:rPr lang="zh-CN" altLang="en-US" dirty="0" smtClean="0">
              <a:solidFill>
                <a:schemeClr val="tx1"/>
              </a:solidFill>
            </a:rPr>
            <a:t>用户范围</a:t>
          </a:r>
          <a:endParaRPr lang="zh-CN" altLang="en-US" dirty="0">
            <a:solidFill>
              <a:schemeClr val="tx1"/>
            </a:solidFill>
          </a:endParaRPr>
        </a:p>
      </dgm:t>
    </dgm:pt>
    <dgm:pt modelId="{D26C2F9E-A3AC-4A55-A1FB-FAA6181D7C6D}" type="parTrans" cxnId="{D2D3723B-E25D-40BE-897F-CF7C9499F2F1}">
      <dgm:prSet/>
      <dgm:spPr/>
      <dgm:t>
        <a:bodyPr/>
        <a:lstStyle/>
        <a:p>
          <a:endParaRPr lang="zh-CN" altLang="en-US">
            <a:solidFill>
              <a:schemeClr val="tx1"/>
            </a:solidFill>
          </a:endParaRPr>
        </a:p>
      </dgm:t>
    </dgm:pt>
    <dgm:pt modelId="{F89EBBF3-361E-4E2D-8798-DE423520C61E}" type="sibTrans" cxnId="{D2D3723B-E25D-40BE-897F-CF7C9499F2F1}">
      <dgm:prSet/>
      <dgm:spPr/>
      <dgm:t>
        <a:bodyPr/>
        <a:lstStyle/>
        <a:p>
          <a:endParaRPr lang="zh-CN" altLang="en-US">
            <a:solidFill>
              <a:schemeClr val="tx1"/>
            </a:solidFill>
          </a:endParaRPr>
        </a:p>
      </dgm:t>
    </dgm:pt>
    <dgm:pt modelId="{133DAD32-2315-4F48-AE73-1AF7A9424CEA}">
      <dgm:prSet phldrT="[文本]"/>
      <dgm:spPr/>
      <dgm:t>
        <a:bodyPr/>
        <a:lstStyle/>
        <a:p>
          <a:r>
            <a:rPr lang="zh-CN" altLang="en-US" dirty="0" smtClean="0">
              <a:solidFill>
                <a:schemeClr val="tx1"/>
              </a:solidFill>
            </a:rPr>
            <a:t>物理范围</a:t>
          </a:r>
          <a:endParaRPr lang="zh-CN" altLang="en-US" dirty="0">
            <a:solidFill>
              <a:schemeClr val="tx1"/>
            </a:solidFill>
          </a:endParaRPr>
        </a:p>
      </dgm:t>
    </dgm:pt>
    <dgm:pt modelId="{46269D1E-7834-4B54-97A2-CFB67B9C5922}" type="parTrans" cxnId="{70F88FBA-15B7-4BB6-B734-262C9A5386C7}">
      <dgm:prSet/>
      <dgm:spPr/>
      <dgm:t>
        <a:bodyPr/>
        <a:lstStyle/>
        <a:p>
          <a:endParaRPr lang="zh-CN" altLang="en-US">
            <a:solidFill>
              <a:schemeClr val="tx1"/>
            </a:solidFill>
          </a:endParaRPr>
        </a:p>
      </dgm:t>
    </dgm:pt>
    <dgm:pt modelId="{706A1F05-4CC1-47B8-B9E8-EB4D391BB6AB}" type="sibTrans" cxnId="{70F88FBA-15B7-4BB6-B734-262C9A5386C7}">
      <dgm:prSet/>
      <dgm:spPr/>
      <dgm:t>
        <a:bodyPr/>
        <a:lstStyle/>
        <a:p>
          <a:endParaRPr lang="zh-CN" altLang="en-US">
            <a:solidFill>
              <a:schemeClr val="tx1"/>
            </a:solidFill>
          </a:endParaRPr>
        </a:p>
      </dgm:t>
    </dgm:pt>
    <dgm:pt modelId="{3D07030A-668E-4019-89BE-08448EB206DA}" type="pres">
      <dgm:prSet presAssocID="{90951AE9-997B-4DED-8C17-52563A770965}" presName="Name0" presStyleCnt="0">
        <dgm:presLayoutVars>
          <dgm:chMax val="7"/>
          <dgm:dir/>
          <dgm:animOne val="branch"/>
        </dgm:presLayoutVars>
      </dgm:prSet>
      <dgm:spPr/>
      <dgm:t>
        <a:bodyPr/>
        <a:lstStyle/>
        <a:p>
          <a:endParaRPr lang="zh-CN" altLang="en-US"/>
        </a:p>
      </dgm:t>
    </dgm:pt>
    <dgm:pt modelId="{3D3F4704-42BF-4EE3-A9F8-CE29122132A9}" type="pres">
      <dgm:prSet presAssocID="{FA2775C0-2023-49F2-AAF2-D4232B142145}" presName="parTx1" presStyleLbl="node1" presStyleIdx="0" presStyleCnt="2"/>
      <dgm:spPr/>
      <dgm:t>
        <a:bodyPr/>
        <a:lstStyle/>
        <a:p>
          <a:endParaRPr lang="zh-CN" altLang="en-US"/>
        </a:p>
      </dgm:t>
    </dgm:pt>
    <dgm:pt modelId="{DBDB6FC2-17E2-4FE5-AF1E-8706E41D1071}" type="pres">
      <dgm:prSet presAssocID="{FA2775C0-2023-49F2-AAF2-D4232B142145}" presName="spPre1" presStyleCnt="0"/>
      <dgm:spPr/>
    </dgm:pt>
    <dgm:pt modelId="{D7F820B0-8A24-4BA2-8B5E-710F46BA6BEF}" type="pres">
      <dgm:prSet presAssocID="{FA2775C0-2023-49F2-AAF2-D4232B142145}" presName="chLin1" presStyleCnt="0"/>
      <dgm:spPr/>
    </dgm:pt>
    <dgm:pt modelId="{61A9D039-7909-4836-B971-6E1B010FEF1A}" type="pres">
      <dgm:prSet presAssocID="{14C39910-2ABE-4877-9358-6E4CAA11EF33}" presName="Name11" presStyleLbl="parChTrans1D1" presStyleIdx="0" presStyleCnt="30"/>
      <dgm:spPr/>
    </dgm:pt>
    <dgm:pt modelId="{CC0C9164-ABB1-404B-A134-71AAD9510D37}" type="pres">
      <dgm:prSet presAssocID="{14C39910-2ABE-4877-9358-6E4CAA11EF33}" presName="Name31" presStyleLbl="parChTrans1D1" presStyleIdx="1" presStyleCnt="30"/>
      <dgm:spPr/>
    </dgm:pt>
    <dgm:pt modelId="{B8952537-4DA7-453D-86C6-0E0718E166DF}" type="pres">
      <dgm:prSet presAssocID="{FD9F3CEF-4B04-4A09-99FA-4C95DCFD2C81}" presName="txAndLines1" presStyleCnt="0"/>
      <dgm:spPr/>
    </dgm:pt>
    <dgm:pt modelId="{CE0F0C7C-6B1D-4CFD-A96D-DC2ACE15BAB7}" type="pres">
      <dgm:prSet presAssocID="{FD9F3CEF-4B04-4A09-99FA-4C95DCFD2C81}" presName="anchor1" presStyleCnt="0"/>
      <dgm:spPr/>
    </dgm:pt>
    <dgm:pt modelId="{2BBAA3E7-DA5F-40E0-B68E-5B237BBB8774}" type="pres">
      <dgm:prSet presAssocID="{FD9F3CEF-4B04-4A09-99FA-4C95DCFD2C81}" presName="backup1" presStyleCnt="0"/>
      <dgm:spPr/>
    </dgm:pt>
    <dgm:pt modelId="{51F8F508-95CB-4AE8-8D41-E0148F715DA4}" type="pres">
      <dgm:prSet presAssocID="{FD9F3CEF-4B04-4A09-99FA-4C95DCFD2C81}" presName="preLine1" presStyleLbl="parChTrans1D1" presStyleIdx="2" presStyleCnt="30"/>
      <dgm:spPr/>
    </dgm:pt>
    <dgm:pt modelId="{8FD1A13D-18DF-417B-96D6-0D05693B08C9}" type="pres">
      <dgm:prSet presAssocID="{FD9F3CEF-4B04-4A09-99FA-4C95DCFD2C81}" presName="desTx1" presStyleLbl="revTx" presStyleIdx="0" presStyleCnt="0">
        <dgm:presLayoutVars>
          <dgm:bulletEnabled val="1"/>
        </dgm:presLayoutVars>
      </dgm:prSet>
      <dgm:spPr/>
      <dgm:t>
        <a:bodyPr/>
        <a:lstStyle/>
        <a:p>
          <a:endParaRPr lang="zh-CN" altLang="en-US"/>
        </a:p>
      </dgm:t>
    </dgm:pt>
    <dgm:pt modelId="{88649F8F-362B-4F15-BC25-08E9966BDDCD}" type="pres">
      <dgm:prSet presAssocID="{FD9F3CEF-4B04-4A09-99FA-4C95DCFD2C81}" presName="postLine1" presStyleLbl="parChTrans1D1" presStyleIdx="3" presStyleCnt="30"/>
      <dgm:spPr/>
    </dgm:pt>
    <dgm:pt modelId="{1400D22C-FAFB-4511-BFA1-55CC3A4891F8}" type="pres">
      <dgm:prSet presAssocID="{8552C4D6-644E-444E-8529-E49EC33AFD5C}" presName="Name11" presStyleLbl="parChTrans1D1" presStyleIdx="4" presStyleCnt="30"/>
      <dgm:spPr/>
    </dgm:pt>
    <dgm:pt modelId="{E916EC1B-8D10-4F53-8263-7278360704F1}" type="pres">
      <dgm:prSet presAssocID="{8552C4D6-644E-444E-8529-E49EC33AFD5C}" presName="Name31" presStyleLbl="parChTrans1D1" presStyleIdx="5" presStyleCnt="30"/>
      <dgm:spPr/>
    </dgm:pt>
    <dgm:pt modelId="{9A7D522C-A0D1-4139-A962-CE5A0F72F69B}" type="pres">
      <dgm:prSet presAssocID="{E87D9893-3D52-49D5-B910-DA1F62469CF6}" presName="txAndLines1" presStyleCnt="0"/>
      <dgm:spPr/>
    </dgm:pt>
    <dgm:pt modelId="{0935DF34-8880-4D2B-BD86-8FE99ED07DE8}" type="pres">
      <dgm:prSet presAssocID="{E87D9893-3D52-49D5-B910-DA1F62469CF6}" presName="anchor1" presStyleCnt="0"/>
      <dgm:spPr/>
    </dgm:pt>
    <dgm:pt modelId="{6569BCFC-ED2C-4ECD-9B4B-8FEC1DF1C9AA}" type="pres">
      <dgm:prSet presAssocID="{E87D9893-3D52-49D5-B910-DA1F62469CF6}" presName="backup1" presStyleCnt="0"/>
      <dgm:spPr/>
    </dgm:pt>
    <dgm:pt modelId="{96D94D0D-ADB3-4E8F-B71D-0E6E6E1A5929}" type="pres">
      <dgm:prSet presAssocID="{E87D9893-3D52-49D5-B910-DA1F62469CF6}" presName="preLine1" presStyleLbl="parChTrans1D1" presStyleIdx="6" presStyleCnt="30"/>
      <dgm:spPr/>
    </dgm:pt>
    <dgm:pt modelId="{65D9EFB2-9DA2-4D67-BFF5-E64AE3427FA3}" type="pres">
      <dgm:prSet presAssocID="{E87D9893-3D52-49D5-B910-DA1F62469CF6}" presName="desTx1" presStyleLbl="revTx" presStyleIdx="0" presStyleCnt="0">
        <dgm:presLayoutVars>
          <dgm:bulletEnabled val="1"/>
        </dgm:presLayoutVars>
      </dgm:prSet>
      <dgm:spPr/>
      <dgm:t>
        <a:bodyPr/>
        <a:lstStyle/>
        <a:p>
          <a:endParaRPr lang="zh-CN" altLang="en-US"/>
        </a:p>
      </dgm:t>
    </dgm:pt>
    <dgm:pt modelId="{8E7A366F-1385-4EDF-90C6-44705B2342C0}" type="pres">
      <dgm:prSet presAssocID="{E87D9893-3D52-49D5-B910-DA1F62469CF6}" presName="postLine1" presStyleLbl="parChTrans1D1" presStyleIdx="7" presStyleCnt="30"/>
      <dgm:spPr/>
    </dgm:pt>
    <dgm:pt modelId="{4A95D2EF-49F5-4302-98F2-3BB0A0A65E88}" type="pres">
      <dgm:prSet presAssocID="{384E15AE-E2C4-4A79-BE01-43BF4BED37A0}" presName="Name11" presStyleLbl="parChTrans1D1" presStyleIdx="8" presStyleCnt="30"/>
      <dgm:spPr/>
    </dgm:pt>
    <dgm:pt modelId="{39FF66B0-9928-4C6E-9169-9701B56EF45A}" type="pres">
      <dgm:prSet presAssocID="{384E15AE-E2C4-4A79-BE01-43BF4BED37A0}" presName="Name31" presStyleLbl="parChTrans1D1" presStyleIdx="9" presStyleCnt="30"/>
      <dgm:spPr/>
    </dgm:pt>
    <dgm:pt modelId="{F9A3BB2B-30E0-40DE-BE5F-FF30C1E425A0}" type="pres">
      <dgm:prSet presAssocID="{1C5724A4-211C-4C71-9FA3-49AD2BD8B324}" presName="txAndLines1" presStyleCnt="0"/>
      <dgm:spPr/>
    </dgm:pt>
    <dgm:pt modelId="{5A8E6010-318E-43C1-AA47-4B326E7F135F}" type="pres">
      <dgm:prSet presAssocID="{1C5724A4-211C-4C71-9FA3-49AD2BD8B324}" presName="anchor1" presStyleCnt="0"/>
      <dgm:spPr/>
    </dgm:pt>
    <dgm:pt modelId="{76DF4828-B021-49EB-BB74-D239B3BFD407}" type="pres">
      <dgm:prSet presAssocID="{1C5724A4-211C-4C71-9FA3-49AD2BD8B324}" presName="backup1" presStyleCnt="0"/>
      <dgm:spPr/>
    </dgm:pt>
    <dgm:pt modelId="{EB9CA602-8E34-45BF-A2DC-CD4675931EAB}" type="pres">
      <dgm:prSet presAssocID="{1C5724A4-211C-4C71-9FA3-49AD2BD8B324}" presName="preLine1" presStyleLbl="parChTrans1D1" presStyleIdx="10" presStyleCnt="30"/>
      <dgm:spPr/>
    </dgm:pt>
    <dgm:pt modelId="{F3A4633D-657A-4A6F-8EAE-BC057D713347}" type="pres">
      <dgm:prSet presAssocID="{1C5724A4-211C-4C71-9FA3-49AD2BD8B324}" presName="desTx1" presStyleLbl="revTx" presStyleIdx="0" presStyleCnt="0">
        <dgm:presLayoutVars>
          <dgm:bulletEnabled val="1"/>
        </dgm:presLayoutVars>
      </dgm:prSet>
      <dgm:spPr/>
      <dgm:t>
        <a:bodyPr/>
        <a:lstStyle/>
        <a:p>
          <a:endParaRPr lang="zh-CN" altLang="en-US"/>
        </a:p>
      </dgm:t>
    </dgm:pt>
    <dgm:pt modelId="{5D033513-ADD4-40DC-95A4-A6377EA0B112}" type="pres">
      <dgm:prSet presAssocID="{1C5724A4-211C-4C71-9FA3-49AD2BD8B324}" presName="postLine1" presStyleLbl="parChTrans1D1" presStyleIdx="11" presStyleCnt="30"/>
      <dgm:spPr/>
    </dgm:pt>
    <dgm:pt modelId="{8CF627EA-8A5F-4D06-9DCA-90E49CA5C1E9}" type="pres">
      <dgm:prSet presAssocID="{61737D02-39DA-43F9-B5CF-374E617444CB}" presName="Name11" presStyleLbl="parChTrans1D1" presStyleIdx="12" presStyleCnt="30"/>
      <dgm:spPr/>
    </dgm:pt>
    <dgm:pt modelId="{6FAF1449-E75F-49FF-ABC8-8E2F0D8BDE59}" type="pres">
      <dgm:prSet presAssocID="{61737D02-39DA-43F9-B5CF-374E617444CB}" presName="Name31" presStyleLbl="parChTrans1D1" presStyleIdx="13" presStyleCnt="30"/>
      <dgm:spPr/>
    </dgm:pt>
    <dgm:pt modelId="{8FA66850-FA24-436A-8C6F-19ADA9CF67DC}" type="pres">
      <dgm:prSet presAssocID="{A9335965-8394-4C78-9376-71DDDDBAE38A}" presName="txAndLines1" presStyleCnt="0"/>
      <dgm:spPr/>
    </dgm:pt>
    <dgm:pt modelId="{36CD8619-1E61-43CE-A258-04E835A278A1}" type="pres">
      <dgm:prSet presAssocID="{A9335965-8394-4C78-9376-71DDDDBAE38A}" presName="anchor1" presStyleCnt="0"/>
      <dgm:spPr/>
    </dgm:pt>
    <dgm:pt modelId="{57C6E456-D65F-4D7A-88E2-72221D171405}" type="pres">
      <dgm:prSet presAssocID="{A9335965-8394-4C78-9376-71DDDDBAE38A}" presName="backup1" presStyleCnt="0"/>
      <dgm:spPr/>
    </dgm:pt>
    <dgm:pt modelId="{8EBEF5CF-3EA9-4B6A-8E8F-BCF92BB25DDB}" type="pres">
      <dgm:prSet presAssocID="{A9335965-8394-4C78-9376-71DDDDBAE38A}" presName="preLine1" presStyleLbl="parChTrans1D1" presStyleIdx="14" presStyleCnt="30"/>
      <dgm:spPr/>
    </dgm:pt>
    <dgm:pt modelId="{E406EE06-EEA0-4B24-80AA-3952ADBF46E3}" type="pres">
      <dgm:prSet presAssocID="{A9335965-8394-4C78-9376-71DDDDBAE38A}" presName="desTx1" presStyleLbl="revTx" presStyleIdx="0" presStyleCnt="0">
        <dgm:presLayoutVars>
          <dgm:bulletEnabled val="1"/>
        </dgm:presLayoutVars>
      </dgm:prSet>
      <dgm:spPr/>
      <dgm:t>
        <a:bodyPr/>
        <a:lstStyle/>
        <a:p>
          <a:endParaRPr lang="zh-CN" altLang="en-US"/>
        </a:p>
      </dgm:t>
    </dgm:pt>
    <dgm:pt modelId="{74A6DADD-06EB-40B5-909A-E7630A8ED136}" type="pres">
      <dgm:prSet presAssocID="{A9335965-8394-4C78-9376-71DDDDBAE38A}" presName="postLine1" presStyleLbl="parChTrans1D1" presStyleIdx="15" presStyleCnt="30"/>
      <dgm:spPr/>
    </dgm:pt>
    <dgm:pt modelId="{887646BD-B58E-4F59-AB17-31FE1ABF15B6}" type="pres">
      <dgm:prSet presAssocID="{F6200F07-D5D5-4BBB-BC01-49E9B9F1B80D}" presName="Name11" presStyleLbl="parChTrans1D1" presStyleIdx="16" presStyleCnt="30"/>
      <dgm:spPr/>
    </dgm:pt>
    <dgm:pt modelId="{1C2EF046-77D4-492E-8978-8DF7B31B0F46}" type="pres">
      <dgm:prSet presAssocID="{F6200F07-D5D5-4BBB-BC01-49E9B9F1B80D}" presName="Name31" presStyleLbl="parChTrans1D1" presStyleIdx="17" presStyleCnt="30"/>
      <dgm:spPr/>
    </dgm:pt>
    <dgm:pt modelId="{7701FF0A-864B-4F94-9564-DC76A52982CD}" type="pres">
      <dgm:prSet presAssocID="{3E7EE7DA-C3C6-4924-ABAD-AD8BC29BEED8}" presName="txAndLines1" presStyleCnt="0"/>
      <dgm:spPr/>
    </dgm:pt>
    <dgm:pt modelId="{9F4DA1DB-91D7-4995-8429-04650DDF05F8}" type="pres">
      <dgm:prSet presAssocID="{3E7EE7DA-C3C6-4924-ABAD-AD8BC29BEED8}" presName="anchor1" presStyleCnt="0"/>
      <dgm:spPr/>
    </dgm:pt>
    <dgm:pt modelId="{D0C1CA8F-985B-4F28-B18D-A336900ABE9C}" type="pres">
      <dgm:prSet presAssocID="{3E7EE7DA-C3C6-4924-ABAD-AD8BC29BEED8}" presName="backup1" presStyleCnt="0"/>
      <dgm:spPr/>
    </dgm:pt>
    <dgm:pt modelId="{96C111AB-69AD-41D2-A21B-B6D3A9F980F3}" type="pres">
      <dgm:prSet presAssocID="{3E7EE7DA-C3C6-4924-ABAD-AD8BC29BEED8}" presName="preLine1" presStyleLbl="parChTrans1D1" presStyleIdx="18" presStyleCnt="30"/>
      <dgm:spPr/>
    </dgm:pt>
    <dgm:pt modelId="{538EE822-7BCB-4A73-AC60-713E26E3CB82}" type="pres">
      <dgm:prSet presAssocID="{3E7EE7DA-C3C6-4924-ABAD-AD8BC29BEED8}" presName="desTx1" presStyleLbl="revTx" presStyleIdx="0" presStyleCnt="0">
        <dgm:presLayoutVars>
          <dgm:bulletEnabled val="1"/>
        </dgm:presLayoutVars>
      </dgm:prSet>
      <dgm:spPr/>
      <dgm:t>
        <a:bodyPr/>
        <a:lstStyle/>
        <a:p>
          <a:endParaRPr lang="zh-CN" altLang="en-US"/>
        </a:p>
      </dgm:t>
    </dgm:pt>
    <dgm:pt modelId="{16A4B6C3-6D1B-4B04-A744-B62690A4FE8A}" type="pres">
      <dgm:prSet presAssocID="{3E7EE7DA-C3C6-4924-ABAD-AD8BC29BEED8}" presName="postLine1" presStyleLbl="parChTrans1D1" presStyleIdx="19" presStyleCnt="30"/>
      <dgm:spPr/>
    </dgm:pt>
    <dgm:pt modelId="{67C80F40-B88B-49A8-BB0E-818C697FA175}" type="pres">
      <dgm:prSet presAssocID="{FA2775C0-2023-49F2-AAF2-D4232B142145}" presName="spPost1" presStyleCnt="0"/>
      <dgm:spPr/>
    </dgm:pt>
    <dgm:pt modelId="{0DA5FC20-AD96-499B-824C-D092FA658122}" type="pres">
      <dgm:prSet presAssocID="{EB62F8F7-E30D-43D2-B333-27ED5111D55A}" presName="parTx2" presStyleLbl="node1" presStyleIdx="1" presStyleCnt="2"/>
      <dgm:spPr/>
      <dgm:t>
        <a:bodyPr/>
        <a:lstStyle/>
        <a:p>
          <a:endParaRPr lang="zh-CN" altLang="en-US"/>
        </a:p>
      </dgm:t>
    </dgm:pt>
    <dgm:pt modelId="{16E96DB0-0F46-40FB-A4C8-0E6B851C1F04}" type="pres">
      <dgm:prSet presAssocID="{EB62F8F7-E30D-43D2-B333-27ED5111D55A}" presName="spPre2" presStyleCnt="0"/>
      <dgm:spPr/>
    </dgm:pt>
    <dgm:pt modelId="{9D50A8A6-3FA0-429D-A5BA-9D828FC1B29A}" type="pres">
      <dgm:prSet presAssocID="{EB62F8F7-E30D-43D2-B333-27ED5111D55A}" presName="chLin2" presStyleCnt="0"/>
      <dgm:spPr/>
    </dgm:pt>
    <dgm:pt modelId="{CEB64544-8349-49CA-B06B-30C71DB92670}" type="pres">
      <dgm:prSet presAssocID="{2468A499-1FD9-4397-98AA-BA1C98C75B77}" presName="Name45" presStyleLbl="parChTrans1D1" presStyleIdx="20" presStyleCnt="30"/>
      <dgm:spPr/>
    </dgm:pt>
    <dgm:pt modelId="{4F716CD1-958C-4E6D-ACC1-2FC63B22974C}" type="pres">
      <dgm:prSet presAssocID="{BBC68B30-10D4-4579-8982-B68C80D49062}" presName="txAndLines2" presStyleCnt="0"/>
      <dgm:spPr/>
    </dgm:pt>
    <dgm:pt modelId="{FDE3CA80-2428-4B15-929F-31748FA92925}" type="pres">
      <dgm:prSet presAssocID="{BBC68B30-10D4-4579-8982-B68C80D49062}" presName="anchor2" presStyleCnt="0"/>
      <dgm:spPr/>
    </dgm:pt>
    <dgm:pt modelId="{87B4F328-2BAB-4276-BE74-A6F9550105E3}" type="pres">
      <dgm:prSet presAssocID="{BBC68B30-10D4-4579-8982-B68C80D49062}" presName="backup2" presStyleCnt="0"/>
      <dgm:spPr/>
    </dgm:pt>
    <dgm:pt modelId="{0CD3F808-240D-4224-8521-F913BA9C5CA1}" type="pres">
      <dgm:prSet presAssocID="{BBC68B30-10D4-4579-8982-B68C80D49062}" presName="preLine2" presStyleLbl="parChTrans1D1" presStyleIdx="21" presStyleCnt="30"/>
      <dgm:spPr/>
    </dgm:pt>
    <dgm:pt modelId="{9B8B6C00-0FD4-4C1B-82E0-919466D9859C}" type="pres">
      <dgm:prSet presAssocID="{BBC68B30-10D4-4579-8982-B68C80D49062}" presName="desTx2" presStyleLbl="revTx" presStyleIdx="0" presStyleCnt="0">
        <dgm:presLayoutVars>
          <dgm:bulletEnabled val="1"/>
        </dgm:presLayoutVars>
      </dgm:prSet>
      <dgm:spPr/>
      <dgm:t>
        <a:bodyPr/>
        <a:lstStyle/>
        <a:p>
          <a:endParaRPr lang="zh-CN" altLang="en-US"/>
        </a:p>
      </dgm:t>
    </dgm:pt>
    <dgm:pt modelId="{20A06945-BF8C-4011-AD41-DCC49851723F}" type="pres">
      <dgm:prSet presAssocID="{AD4976BD-7792-4F29-9D48-87B1F73A12B6}" presName="Name45" presStyleLbl="parChTrans1D1" presStyleIdx="22" presStyleCnt="30"/>
      <dgm:spPr/>
    </dgm:pt>
    <dgm:pt modelId="{FFB152B3-7517-41EB-96A8-9F39F0511270}" type="pres">
      <dgm:prSet presAssocID="{F9ADFD1C-CDAD-4406-89DA-6C8116D05D08}" presName="txAndLines2" presStyleCnt="0"/>
      <dgm:spPr/>
    </dgm:pt>
    <dgm:pt modelId="{9C244877-7A30-4381-9875-02FDCCAE53F9}" type="pres">
      <dgm:prSet presAssocID="{F9ADFD1C-CDAD-4406-89DA-6C8116D05D08}" presName="anchor2" presStyleCnt="0"/>
      <dgm:spPr/>
    </dgm:pt>
    <dgm:pt modelId="{B4F53DF2-F8E9-4BFE-95C3-AED34C6D2B2C}" type="pres">
      <dgm:prSet presAssocID="{F9ADFD1C-CDAD-4406-89DA-6C8116D05D08}" presName="backup2" presStyleCnt="0"/>
      <dgm:spPr/>
    </dgm:pt>
    <dgm:pt modelId="{D3317736-4082-4E17-BD72-8CC5E8B0A148}" type="pres">
      <dgm:prSet presAssocID="{F9ADFD1C-CDAD-4406-89DA-6C8116D05D08}" presName="preLine2" presStyleLbl="parChTrans1D1" presStyleIdx="23" presStyleCnt="30"/>
      <dgm:spPr/>
    </dgm:pt>
    <dgm:pt modelId="{129AEB14-F223-4FA2-BD21-384713CB5C39}" type="pres">
      <dgm:prSet presAssocID="{F9ADFD1C-CDAD-4406-89DA-6C8116D05D08}" presName="desTx2" presStyleLbl="revTx" presStyleIdx="0" presStyleCnt="0">
        <dgm:presLayoutVars>
          <dgm:bulletEnabled val="1"/>
        </dgm:presLayoutVars>
      </dgm:prSet>
      <dgm:spPr/>
      <dgm:t>
        <a:bodyPr/>
        <a:lstStyle/>
        <a:p>
          <a:endParaRPr lang="zh-CN" altLang="en-US"/>
        </a:p>
      </dgm:t>
    </dgm:pt>
    <dgm:pt modelId="{4ECE3A6F-EF5C-47D6-BFE3-3CA9F61E2168}" type="pres">
      <dgm:prSet presAssocID="{164D7DC2-6DEB-4FC7-8607-668621572C8F}" presName="Name45" presStyleLbl="parChTrans1D1" presStyleIdx="24" presStyleCnt="30"/>
      <dgm:spPr/>
    </dgm:pt>
    <dgm:pt modelId="{F4CFEE0D-0427-44AD-8907-B4C6A4F84CC4}" type="pres">
      <dgm:prSet presAssocID="{3607E3A6-4A18-4852-B270-606EFF12B5AB}" presName="txAndLines2" presStyleCnt="0"/>
      <dgm:spPr/>
    </dgm:pt>
    <dgm:pt modelId="{EC7EE169-57BC-4DC5-9908-D2CD0FE8F9AA}" type="pres">
      <dgm:prSet presAssocID="{3607E3A6-4A18-4852-B270-606EFF12B5AB}" presName="anchor2" presStyleCnt="0"/>
      <dgm:spPr/>
    </dgm:pt>
    <dgm:pt modelId="{2419CF22-2255-4F4F-A753-B166A6362A89}" type="pres">
      <dgm:prSet presAssocID="{3607E3A6-4A18-4852-B270-606EFF12B5AB}" presName="backup2" presStyleCnt="0"/>
      <dgm:spPr/>
    </dgm:pt>
    <dgm:pt modelId="{6C96C5DA-72F2-4EC4-BE6C-90CD4FCB7B86}" type="pres">
      <dgm:prSet presAssocID="{3607E3A6-4A18-4852-B270-606EFF12B5AB}" presName="preLine2" presStyleLbl="parChTrans1D1" presStyleIdx="25" presStyleCnt="30"/>
      <dgm:spPr/>
    </dgm:pt>
    <dgm:pt modelId="{17240ED4-0533-4278-84A5-F0062171C524}" type="pres">
      <dgm:prSet presAssocID="{3607E3A6-4A18-4852-B270-606EFF12B5AB}" presName="desTx2" presStyleLbl="revTx" presStyleIdx="0" presStyleCnt="0">
        <dgm:presLayoutVars>
          <dgm:bulletEnabled val="1"/>
        </dgm:presLayoutVars>
      </dgm:prSet>
      <dgm:spPr/>
      <dgm:t>
        <a:bodyPr/>
        <a:lstStyle/>
        <a:p>
          <a:endParaRPr lang="zh-CN" altLang="en-US"/>
        </a:p>
      </dgm:t>
    </dgm:pt>
    <dgm:pt modelId="{6F3D2D2E-FE80-41C4-BF11-FE517DC46703}" type="pres">
      <dgm:prSet presAssocID="{D26C2F9E-A3AC-4A55-A1FB-FAA6181D7C6D}" presName="Name45" presStyleLbl="parChTrans1D1" presStyleIdx="26" presStyleCnt="30"/>
      <dgm:spPr/>
    </dgm:pt>
    <dgm:pt modelId="{F9E3243A-2C0F-499F-9733-240EFF7266FE}" type="pres">
      <dgm:prSet presAssocID="{A4581807-F30B-46D1-BE47-01C88269FBA1}" presName="txAndLines2" presStyleCnt="0"/>
      <dgm:spPr/>
    </dgm:pt>
    <dgm:pt modelId="{3D76D6D8-AF5C-42AD-B6FB-43312EA0146C}" type="pres">
      <dgm:prSet presAssocID="{A4581807-F30B-46D1-BE47-01C88269FBA1}" presName="anchor2" presStyleCnt="0"/>
      <dgm:spPr/>
    </dgm:pt>
    <dgm:pt modelId="{3B82D6A6-FC79-4F13-8713-B62D8DC04AFE}" type="pres">
      <dgm:prSet presAssocID="{A4581807-F30B-46D1-BE47-01C88269FBA1}" presName="backup2" presStyleCnt="0"/>
      <dgm:spPr/>
    </dgm:pt>
    <dgm:pt modelId="{3A37BCFF-E26C-436E-8E4F-C4B9775159C6}" type="pres">
      <dgm:prSet presAssocID="{A4581807-F30B-46D1-BE47-01C88269FBA1}" presName="preLine2" presStyleLbl="parChTrans1D1" presStyleIdx="27" presStyleCnt="30"/>
      <dgm:spPr/>
    </dgm:pt>
    <dgm:pt modelId="{A4F972C5-DC6D-4850-82AC-674E739F07B9}" type="pres">
      <dgm:prSet presAssocID="{A4581807-F30B-46D1-BE47-01C88269FBA1}" presName="desTx2" presStyleLbl="revTx" presStyleIdx="0" presStyleCnt="0">
        <dgm:presLayoutVars>
          <dgm:bulletEnabled val="1"/>
        </dgm:presLayoutVars>
      </dgm:prSet>
      <dgm:spPr/>
      <dgm:t>
        <a:bodyPr/>
        <a:lstStyle/>
        <a:p>
          <a:endParaRPr lang="zh-CN" altLang="en-US"/>
        </a:p>
      </dgm:t>
    </dgm:pt>
    <dgm:pt modelId="{54E33E7F-026F-4F3F-B3BC-481F35B9EB92}" type="pres">
      <dgm:prSet presAssocID="{46269D1E-7834-4B54-97A2-CFB67B9C5922}" presName="Name45" presStyleLbl="parChTrans1D1" presStyleIdx="28" presStyleCnt="30"/>
      <dgm:spPr/>
    </dgm:pt>
    <dgm:pt modelId="{899E79DF-5E40-46E7-AF2E-00DC35779EC4}" type="pres">
      <dgm:prSet presAssocID="{133DAD32-2315-4F48-AE73-1AF7A9424CEA}" presName="txAndLines2" presStyleCnt="0"/>
      <dgm:spPr/>
    </dgm:pt>
    <dgm:pt modelId="{5B2C5540-4DAE-483B-ABE4-42D3463816D3}" type="pres">
      <dgm:prSet presAssocID="{133DAD32-2315-4F48-AE73-1AF7A9424CEA}" presName="anchor2" presStyleCnt="0"/>
      <dgm:spPr/>
    </dgm:pt>
    <dgm:pt modelId="{9BEDF86D-C131-4038-9A33-7901CF975389}" type="pres">
      <dgm:prSet presAssocID="{133DAD32-2315-4F48-AE73-1AF7A9424CEA}" presName="backup2" presStyleCnt="0"/>
      <dgm:spPr/>
    </dgm:pt>
    <dgm:pt modelId="{4C31022F-568D-43C7-8542-1D616695DEBA}" type="pres">
      <dgm:prSet presAssocID="{133DAD32-2315-4F48-AE73-1AF7A9424CEA}" presName="preLine2" presStyleLbl="parChTrans1D1" presStyleIdx="29" presStyleCnt="30"/>
      <dgm:spPr/>
    </dgm:pt>
    <dgm:pt modelId="{A18E49C7-C6E8-4FD9-948C-CD7A3AF4A89B}" type="pres">
      <dgm:prSet presAssocID="{133DAD32-2315-4F48-AE73-1AF7A9424CEA}" presName="desTx2" presStyleLbl="revTx" presStyleIdx="0" presStyleCnt="0">
        <dgm:presLayoutVars>
          <dgm:bulletEnabled val="1"/>
        </dgm:presLayoutVars>
      </dgm:prSet>
      <dgm:spPr/>
      <dgm:t>
        <a:bodyPr/>
        <a:lstStyle/>
        <a:p>
          <a:endParaRPr lang="zh-CN" altLang="en-US"/>
        </a:p>
      </dgm:t>
    </dgm:pt>
  </dgm:ptLst>
  <dgm:cxnLst>
    <dgm:cxn modelId="{A22C9D47-C038-48FC-AD91-9BF7C0271077}" srcId="{FA2775C0-2023-49F2-AAF2-D4232B142145}" destId="{A9335965-8394-4C78-9376-71DDDDBAE38A}" srcOrd="3" destOrd="0" parTransId="{61737D02-39DA-43F9-B5CF-374E617444CB}" sibTransId="{0B53B1E5-EB41-40FA-96B1-89D750C279E0}"/>
    <dgm:cxn modelId="{57B34D76-C984-45D7-A7D4-769091026665}" type="presOf" srcId="{EB62F8F7-E30D-43D2-B333-27ED5111D55A}" destId="{0DA5FC20-AD96-499B-824C-D092FA658122}" srcOrd="0" destOrd="0" presId="urn:microsoft.com/office/officeart/2009/3/layout/SubStepProcess"/>
    <dgm:cxn modelId="{87022190-1994-4A94-ABEF-108032BDC347}" type="presOf" srcId="{1C5724A4-211C-4C71-9FA3-49AD2BD8B324}" destId="{F3A4633D-657A-4A6F-8EAE-BC057D713347}" srcOrd="0" destOrd="0" presId="urn:microsoft.com/office/officeart/2009/3/layout/SubStepProcess"/>
    <dgm:cxn modelId="{ACA78DB8-40AB-4740-9BC2-BD81743B97E7}" srcId="{90951AE9-997B-4DED-8C17-52563A770965}" destId="{EB62F8F7-E30D-43D2-B333-27ED5111D55A}" srcOrd="1" destOrd="0" parTransId="{66954485-1EAB-4046-BF90-D7753861E7D4}" sibTransId="{B8C7933A-ED6A-4415-B7A5-643C060C8372}"/>
    <dgm:cxn modelId="{DEED1DEE-6955-44C8-A9D8-4B0DB4DF8B6B}" type="presOf" srcId="{90951AE9-997B-4DED-8C17-52563A770965}" destId="{3D07030A-668E-4019-89BE-08448EB206DA}" srcOrd="0" destOrd="0" presId="urn:microsoft.com/office/officeart/2009/3/layout/SubStepProcess"/>
    <dgm:cxn modelId="{A972CB17-5C32-4CCA-B301-F4E7E1A9E57E}" srcId="{FA2775C0-2023-49F2-AAF2-D4232B142145}" destId="{1C5724A4-211C-4C71-9FA3-49AD2BD8B324}" srcOrd="2" destOrd="0" parTransId="{384E15AE-E2C4-4A79-BE01-43BF4BED37A0}" sibTransId="{D8DADAC0-150E-4DC9-8E39-A121263FF7A2}"/>
    <dgm:cxn modelId="{F3E58819-846C-446D-B0E5-429A8829CA82}" srcId="{90951AE9-997B-4DED-8C17-52563A770965}" destId="{FA2775C0-2023-49F2-AAF2-D4232B142145}" srcOrd="0" destOrd="0" parTransId="{09DB5E77-C69D-40F0-B0C8-F756486C775F}" sibTransId="{4AD1A3CF-D057-4BEB-A550-C91E50CB3848}"/>
    <dgm:cxn modelId="{9F80820F-AA03-4568-8B26-56189D80A4BF}" type="presOf" srcId="{FD9F3CEF-4B04-4A09-99FA-4C95DCFD2C81}" destId="{8FD1A13D-18DF-417B-96D6-0D05693B08C9}" srcOrd="0" destOrd="0" presId="urn:microsoft.com/office/officeart/2009/3/layout/SubStepProcess"/>
    <dgm:cxn modelId="{5A4C0F61-7544-4076-BE21-171532E2219E}" type="presOf" srcId="{3607E3A6-4A18-4852-B270-606EFF12B5AB}" destId="{17240ED4-0533-4278-84A5-F0062171C524}" srcOrd="0" destOrd="0" presId="urn:microsoft.com/office/officeart/2009/3/layout/SubStepProcess"/>
    <dgm:cxn modelId="{771967B4-548C-44AC-85EE-A858F1EF0166}" srcId="{EB62F8F7-E30D-43D2-B333-27ED5111D55A}" destId="{3607E3A6-4A18-4852-B270-606EFF12B5AB}" srcOrd="2" destOrd="0" parTransId="{164D7DC2-6DEB-4FC7-8607-668621572C8F}" sibTransId="{E37AB5F3-2EC3-46FB-AFB0-2DAC73FC0723}"/>
    <dgm:cxn modelId="{0AEF74FC-52B4-4453-9037-A438FA9A3669}" srcId="{EB62F8F7-E30D-43D2-B333-27ED5111D55A}" destId="{F9ADFD1C-CDAD-4406-89DA-6C8116D05D08}" srcOrd="1" destOrd="0" parTransId="{AD4976BD-7792-4F29-9D48-87B1F73A12B6}" sibTransId="{AFEC2796-FA72-41A5-8828-0AF76D9CDCE8}"/>
    <dgm:cxn modelId="{D2D3723B-E25D-40BE-897F-CF7C9499F2F1}" srcId="{EB62F8F7-E30D-43D2-B333-27ED5111D55A}" destId="{A4581807-F30B-46D1-BE47-01C88269FBA1}" srcOrd="3" destOrd="0" parTransId="{D26C2F9E-A3AC-4A55-A1FB-FAA6181D7C6D}" sibTransId="{F89EBBF3-361E-4E2D-8798-DE423520C61E}"/>
    <dgm:cxn modelId="{98BA535B-9F5C-45FC-950D-312A6E079F49}" srcId="{EB62F8F7-E30D-43D2-B333-27ED5111D55A}" destId="{BBC68B30-10D4-4579-8982-B68C80D49062}" srcOrd="0" destOrd="0" parTransId="{2468A499-1FD9-4397-98AA-BA1C98C75B77}" sibTransId="{9CF45C86-388B-4A3F-9B96-E19E5148BE61}"/>
    <dgm:cxn modelId="{A6BA7678-6376-4BCA-BFD4-B0B59B196A8C}" type="presOf" srcId="{FA2775C0-2023-49F2-AAF2-D4232B142145}" destId="{3D3F4704-42BF-4EE3-A9F8-CE29122132A9}" srcOrd="0" destOrd="0" presId="urn:microsoft.com/office/officeart/2009/3/layout/SubStepProcess"/>
    <dgm:cxn modelId="{8CB9CCB6-069F-4B98-AFDB-202A7F75B24E}" srcId="{FA2775C0-2023-49F2-AAF2-D4232B142145}" destId="{3E7EE7DA-C3C6-4924-ABAD-AD8BC29BEED8}" srcOrd="4" destOrd="0" parTransId="{F6200F07-D5D5-4BBB-BC01-49E9B9F1B80D}" sibTransId="{57CF7E25-AEF1-4357-B772-4A99C3DD8F77}"/>
    <dgm:cxn modelId="{856BB795-2D42-4E3C-BC7D-94523B3CA535}" type="presOf" srcId="{3E7EE7DA-C3C6-4924-ABAD-AD8BC29BEED8}" destId="{538EE822-7BCB-4A73-AC60-713E26E3CB82}" srcOrd="0" destOrd="0" presId="urn:microsoft.com/office/officeart/2009/3/layout/SubStepProcess"/>
    <dgm:cxn modelId="{15AFBAAE-5545-49E7-8B52-DBE4C4ABCE72}" type="presOf" srcId="{F9ADFD1C-CDAD-4406-89DA-6C8116D05D08}" destId="{129AEB14-F223-4FA2-BD21-384713CB5C39}" srcOrd="0" destOrd="0" presId="urn:microsoft.com/office/officeart/2009/3/layout/SubStepProcess"/>
    <dgm:cxn modelId="{95121417-36AD-44BE-B55C-87FBEC464D80}" type="presOf" srcId="{A4581807-F30B-46D1-BE47-01C88269FBA1}" destId="{A4F972C5-DC6D-4850-82AC-674E739F07B9}" srcOrd="0" destOrd="0" presId="urn:microsoft.com/office/officeart/2009/3/layout/SubStepProcess"/>
    <dgm:cxn modelId="{84A18D3A-66E6-4713-86B2-9CF503930CF3}" srcId="{FA2775C0-2023-49F2-AAF2-D4232B142145}" destId="{FD9F3CEF-4B04-4A09-99FA-4C95DCFD2C81}" srcOrd="0" destOrd="0" parTransId="{14C39910-2ABE-4877-9358-6E4CAA11EF33}" sibTransId="{725E8D3E-7DA0-4C0A-913D-E78CA4293F8A}"/>
    <dgm:cxn modelId="{824D15E4-B0B6-46DB-937A-FF81A5206B29}" type="presOf" srcId="{E87D9893-3D52-49D5-B910-DA1F62469CF6}" destId="{65D9EFB2-9DA2-4D67-BFF5-E64AE3427FA3}" srcOrd="0" destOrd="0" presId="urn:microsoft.com/office/officeart/2009/3/layout/SubStepProcess"/>
    <dgm:cxn modelId="{D893234A-6A56-45BC-A617-7EA254443EF4}" type="presOf" srcId="{A9335965-8394-4C78-9376-71DDDDBAE38A}" destId="{E406EE06-EEA0-4B24-80AA-3952ADBF46E3}" srcOrd="0" destOrd="0" presId="urn:microsoft.com/office/officeart/2009/3/layout/SubStepProcess"/>
    <dgm:cxn modelId="{4ED5DD71-908F-487D-A4BB-19237985F5EF}" type="presOf" srcId="{BBC68B30-10D4-4579-8982-B68C80D49062}" destId="{9B8B6C00-0FD4-4C1B-82E0-919466D9859C}" srcOrd="0" destOrd="0" presId="urn:microsoft.com/office/officeart/2009/3/layout/SubStepProcess"/>
    <dgm:cxn modelId="{197623B0-EA15-4188-872B-605AFE8928BD}" srcId="{FA2775C0-2023-49F2-AAF2-D4232B142145}" destId="{E87D9893-3D52-49D5-B910-DA1F62469CF6}" srcOrd="1" destOrd="0" parTransId="{8552C4D6-644E-444E-8529-E49EC33AFD5C}" sibTransId="{B05AB974-51B2-47F6-BAE3-F6A3D550B60F}"/>
    <dgm:cxn modelId="{8C9DCDFF-F63B-4CD6-A887-509D1F3151B7}" type="presOf" srcId="{133DAD32-2315-4F48-AE73-1AF7A9424CEA}" destId="{A18E49C7-C6E8-4FD9-948C-CD7A3AF4A89B}" srcOrd="0" destOrd="0" presId="urn:microsoft.com/office/officeart/2009/3/layout/SubStepProcess"/>
    <dgm:cxn modelId="{70F88FBA-15B7-4BB6-B734-262C9A5386C7}" srcId="{EB62F8F7-E30D-43D2-B333-27ED5111D55A}" destId="{133DAD32-2315-4F48-AE73-1AF7A9424CEA}" srcOrd="4" destOrd="0" parTransId="{46269D1E-7834-4B54-97A2-CFB67B9C5922}" sibTransId="{706A1F05-4CC1-47B8-B9E8-EB4D391BB6AB}"/>
    <dgm:cxn modelId="{04AD8BB5-5C55-4898-BD5A-21BD0469711D}" type="presParOf" srcId="{3D07030A-668E-4019-89BE-08448EB206DA}" destId="{3D3F4704-42BF-4EE3-A9F8-CE29122132A9}" srcOrd="0" destOrd="0" presId="urn:microsoft.com/office/officeart/2009/3/layout/SubStepProcess"/>
    <dgm:cxn modelId="{523BB866-6282-4F20-88D1-04E760717F98}" type="presParOf" srcId="{3D07030A-668E-4019-89BE-08448EB206DA}" destId="{DBDB6FC2-17E2-4FE5-AF1E-8706E41D1071}" srcOrd="1" destOrd="0" presId="urn:microsoft.com/office/officeart/2009/3/layout/SubStepProcess"/>
    <dgm:cxn modelId="{0BE89768-DCB9-4095-B2BA-54AD770CD213}" type="presParOf" srcId="{3D07030A-668E-4019-89BE-08448EB206DA}" destId="{D7F820B0-8A24-4BA2-8B5E-710F46BA6BEF}" srcOrd="2" destOrd="0" presId="urn:microsoft.com/office/officeart/2009/3/layout/SubStepProcess"/>
    <dgm:cxn modelId="{D62D0CA1-6FAE-41E0-AAE5-0DB5B833B453}" type="presParOf" srcId="{D7F820B0-8A24-4BA2-8B5E-710F46BA6BEF}" destId="{61A9D039-7909-4836-B971-6E1B010FEF1A}" srcOrd="0" destOrd="0" presId="urn:microsoft.com/office/officeart/2009/3/layout/SubStepProcess"/>
    <dgm:cxn modelId="{0E15A9E9-7684-4C45-AD42-6DDE280701B1}" type="presParOf" srcId="{D7F820B0-8A24-4BA2-8B5E-710F46BA6BEF}" destId="{CC0C9164-ABB1-404B-A134-71AAD9510D37}" srcOrd="1" destOrd="0" presId="urn:microsoft.com/office/officeart/2009/3/layout/SubStepProcess"/>
    <dgm:cxn modelId="{8DC248BD-AF72-452C-BD6F-3B3F160766B2}" type="presParOf" srcId="{D7F820B0-8A24-4BA2-8B5E-710F46BA6BEF}" destId="{B8952537-4DA7-453D-86C6-0E0718E166DF}" srcOrd="2" destOrd="0" presId="urn:microsoft.com/office/officeart/2009/3/layout/SubStepProcess"/>
    <dgm:cxn modelId="{3E50E4A4-510D-4692-9C0F-D334BA48F577}" type="presParOf" srcId="{B8952537-4DA7-453D-86C6-0E0718E166DF}" destId="{CE0F0C7C-6B1D-4CFD-A96D-DC2ACE15BAB7}" srcOrd="0" destOrd="0" presId="urn:microsoft.com/office/officeart/2009/3/layout/SubStepProcess"/>
    <dgm:cxn modelId="{88E400DE-F491-428B-8AD7-F6072CBB5C06}" type="presParOf" srcId="{B8952537-4DA7-453D-86C6-0E0718E166DF}" destId="{2BBAA3E7-DA5F-40E0-B68E-5B237BBB8774}" srcOrd="1" destOrd="0" presId="urn:microsoft.com/office/officeart/2009/3/layout/SubStepProcess"/>
    <dgm:cxn modelId="{654BC8AC-F2B2-4322-9D12-1A946AF93CF1}" type="presParOf" srcId="{B8952537-4DA7-453D-86C6-0E0718E166DF}" destId="{51F8F508-95CB-4AE8-8D41-E0148F715DA4}" srcOrd="2" destOrd="0" presId="urn:microsoft.com/office/officeart/2009/3/layout/SubStepProcess"/>
    <dgm:cxn modelId="{AECF5DEB-4FE8-459A-A82F-8773BC03A5F9}" type="presParOf" srcId="{B8952537-4DA7-453D-86C6-0E0718E166DF}" destId="{8FD1A13D-18DF-417B-96D6-0D05693B08C9}" srcOrd="3" destOrd="0" presId="urn:microsoft.com/office/officeart/2009/3/layout/SubStepProcess"/>
    <dgm:cxn modelId="{81A7FBD1-2FAA-47C7-A568-5DEBBC4BCA61}" type="presParOf" srcId="{B8952537-4DA7-453D-86C6-0E0718E166DF}" destId="{88649F8F-362B-4F15-BC25-08E9966BDDCD}" srcOrd="4" destOrd="0" presId="urn:microsoft.com/office/officeart/2009/3/layout/SubStepProcess"/>
    <dgm:cxn modelId="{0E2B2B0A-F66A-4680-8840-261AA53E73B9}" type="presParOf" srcId="{D7F820B0-8A24-4BA2-8B5E-710F46BA6BEF}" destId="{1400D22C-FAFB-4511-BFA1-55CC3A4891F8}" srcOrd="3" destOrd="0" presId="urn:microsoft.com/office/officeart/2009/3/layout/SubStepProcess"/>
    <dgm:cxn modelId="{17E6A1F0-B593-4A99-A49A-24B8CC949030}" type="presParOf" srcId="{D7F820B0-8A24-4BA2-8B5E-710F46BA6BEF}" destId="{E916EC1B-8D10-4F53-8263-7278360704F1}" srcOrd="4" destOrd="0" presId="urn:microsoft.com/office/officeart/2009/3/layout/SubStepProcess"/>
    <dgm:cxn modelId="{F9481480-DC73-420A-A974-D364DED1F597}" type="presParOf" srcId="{D7F820B0-8A24-4BA2-8B5E-710F46BA6BEF}" destId="{9A7D522C-A0D1-4139-A962-CE5A0F72F69B}" srcOrd="5" destOrd="0" presId="urn:microsoft.com/office/officeart/2009/3/layout/SubStepProcess"/>
    <dgm:cxn modelId="{F6F7FCDF-7D67-4E36-B6F0-8E07EA83EFD1}" type="presParOf" srcId="{9A7D522C-A0D1-4139-A962-CE5A0F72F69B}" destId="{0935DF34-8880-4D2B-BD86-8FE99ED07DE8}" srcOrd="0" destOrd="0" presId="urn:microsoft.com/office/officeart/2009/3/layout/SubStepProcess"/>
    <dgm:cxn modelId="{E3D5E626-BDC9-4DB4-AB0B-D1BDC02E129A}" type="presParOf" srcId="{9A7D522C-A0D1-4139-A962-CE5A0F72F69B}" destId="{6569BCFC-ED2C-4ECD-9B4B-8FEC1DF1C9AA}" srcOrd="1" destOrd="0" presId="urn:microsoft.com/office/officeart/2009/3/layout/SubStepProcess"/>
    <dgm:cxn modelId="{8B5D81D5-0898-44A2-B3A7-A12DCC0A7ECA}" type="presParOf" srcId="{9A7D522C-A0D1-4139-A962-CE5A0F72F69B}" destId="{96D94D0D-ADB3-4E8F-B71D-0E6E6E1A5929}" srcOrd="2" destOrd="0" presId="urn:microsoft.com/office/officeart/2009/3/layout/SubStepProcess"/>
    <dgm:cxn modelId="{F5A563E3-3991-424F-8EE1-53D95CA5EE1A}" type="presParOf" srcId="{9A7D522C-A0D1-4139-A962-CE5A0F72F69B}" destId="{65D9EFB2-9DA2-4D67-BFF5-E64AE3427FA3}" srcOrd="3" destOrd="0" presId="urn:microsoft.com/office/officeart/2009/3/layout/SubStepProcess"/>
    <dgm:cxn modelId="{6B91AB6D-5C05-42E0-B57D-1FF8E14E8DD9}" type="presParOf" srcId="{9A7D522C-A0D1-4139-A962-CE5A0F72F69B}" destId="{8E7A366F-1385-4EDF-90C6-44705B2342C0}" srcOrd="4" destOrd="0" presId="urn:microsoft.com/office/officeart/2009/3/layout/SubStepProcess"/>
    <dgm:cxn modelId="{972EB2A2-DBA4-45BD-A38A-F469578BAAF1}" type="presParOf" srcId="{D7F820B0-8A24-4BA2-8B5E-710F46BA6BEF}" destId="{4A95D2EF-49F5-4302-98F2-3BB0A0A65E88}" srcOrd="6" destOrd="0" presId="urn:microsoft.com/office/officeart/2009/3/layout/SubStepProcess"/>
    <dgm:cxn modelId="{39090C6A-06CD-4F7F-8F5B-CB7702ADBF7D}" type="presParOf" srcId="{D7F820B0-8A24-4BA2-8B5E-710F46BA6BEF}" destId="{39FF66B0-9928-4C6E-9169-9701B56EF45A}" srcOrd="7" destOrd="0" presId="urn:microsoft.com/office/officeart/2009/3/layout/SubStepProcess"/>
    <dgm:cxn modelId="{86FF4627-D834-4ED7-B110-B3419564F6B7}" type="presParOf" srcId="{D7F820B0-8A24-4BA2-8B5E-710F46BA6BEF}" destId="{F9A3BB2B-30E0-40DE-BE5F-FF30C1E425A0}" srcOrd="8" destOrd="0" presId="urn:microsoft.com/office/officeart/2009/3/layout/SubStepProcess"/>
    <dgm:cxn modelId="{C02A1EB2-819D-4CEF-81DE-48C0C03F8FC4}" type="presParOf" srcId="{F9A3BB2B-30E0-40DE-BE5F-FF30C1E425A0}" destId="{5A8E6010-318E-43C1-AA47-4B326E7F135F}" srcOrd="0" destOrd="0" presId="urn:microsoft.com/office/officeart/2009/3/layout/SubStepProcess"/>
    <dgm:cxn modelId="{BBDD57DE-668D-4D98-8285-077F9B5A6A84}" type="presParOf" srcId="{F9A3BB2B-30E0-40DE-BE5F-FF30C1E425A0}" destId="{76DF4828-B021-49EB-BB74-D239B3BFD407}" srcOrd="1" destOrd="0" presId="urn:microsoft.com/office/officeart/2009/3/layout/SubStepProcess"/>
    <dgm:cxn modelId="{3CE4AC77-E793-44C1-AA07-D498CBCF8984}" type="presParOf" srcId="{F9A3BB2B-30E0-40DE-BE5F-FF30C1E425A0}" destId="{EB9CA602-8E34-45BF-A2DC-CD4675931EAB}" srcOrd="2" destOrd="0" presId="urn:microsoft.com/office/officeart/2009/3/layout/SubStepProcess"/>
    <dgm:cxn modelId="{6D2A1FD5-2CD9-4F00-97D9-FE9E8E415A84}" type="presParOf" srcId="{F9A3BB2B-30E0-40DE-BE5F-FF30C1E425A0}" destId="{F3A4633D-657A-4A6F-8EAE-BC057D713347}" srcOrd="3" destOrd="0" presId="urn:microsoft.com/office/officeart/2009/3/layout/SubStepProcess"/>
    <dgm:cxn modelId="{F6175C6C-9DC5-4E34-97D4-8C17A0D34C18}" type="presParOf" srcId="{F9A3BB2B-30E0-40DE-BE5F-FF30C1E425A0}" destId="{5D033513-ADD4-40DC-95A4-A6377EA0B112}" srcOrd="4" destOrd="0" presId="urn:microsoft.com/office/officeart/2009/3/layout/SubStepProcess"/>
    <dgm:cxn modelId="{6B2C8D8F-6368-4CD0-BE64-23B1D9B01195}" type="presParOf" srcId="{D7F820B0-8A24-4BA2-8B5E-710F46BA6BEF}" destId="{8CF627EA-8A5F-4D06-9DCA-90E49CA5C1E9}" srcOrd="9" destOrd="0" presId="urn:microsoft.com/office/officeart/2009/3/layout/SubStepProcess"/>
    <dgm:cxn modelId="{21990278-998F-4821-B7C6-854D9D0BD1D0}" type="presParOf" srcId="{D7F820B0-8A24-4BA2-8B5E-710F46BA6BEF}" destId="{6FAF1449-E75F-49FF-ABC8-8E2F0D8BDE59}" srcOrd="10" destOrd="0" presId="urn:microsoft.com/office/officeart/2009/3/layout/SubStepProcess"/>
    <dgm:cxn modelId="{BCD55FE6-93FF-4072-A664-6EC140BC5B59}" type="presParOf" srcId="{D7F820B0-8A24-4BA2-8B5E-710F46BA6BEF}" destId="{8FA66850-FA24-436A-8C6F-19ADA9CF67DC}" srcOrd="11" destOrd="0" presId="urn:microsoft.com/office/officeart/2009/3/layout/SubStepProcess"/>
    <dgm:cxn modelId="{318F8294-76B6-4E22-A0C8-24A3B9E256B9}" type="presParOf" srcId="{8FA66850-FA24-436A-8C6F-19ADA9CF67DC}" destId="{36CD8619-1E61-43CE-A258-04E835A278A1}" srcOrd="0" destOrd="0" presId="urn:microsoft.com/office/officeart/2009/3/layout/SubStepProcess"/>
    <dgm:cxn modelId="{9728B0D1-E0CE-4DCE-A9A7-5900992F6544}" type="presParOf" srcId="{8FA66850-FA24-436A-8C6F-19ADA9CF67DC}" destId="{57C6E456-D65F-4D7A-88E2-72221D171405}" srcOrd="1" destOrd="0" presId="urn:microsoft.com/office/officeart/2009/3/layout/SubStepProcess"/>
    <dgm:cxn modelId="{46B79847-BDD6-4535-80C3-E7AA348A1536}" type="presParOf" srcId="{8FA66850-FA24-436A-8C6F-19ADA9CF67DC}" destId="{8EBEF5CF-3EA9-4B6A-8E8F-BCF92BB25DDB}" srcOrd="2" destOrd="0" presId="urn:microsoft.com/office/officeart/2009/3/layout/SubStepProcess"/>
    <dgm:cxn modelId="{937A5A44-1E7D-49B0-8F77-6D273E535373}" type="presParOf" srcId="{8FA66850-FA24-436A-8C6F-19ADA9CF67DC}" destId="{E406EE06-EEA0-4B24-80AA-3952ADBF46E3}" srcOrd="3" destOrd="0" presId="urn:microsoft.com/office/officeart/2009/3/layout/SubStepProcess"/>
    <dgm:cxn modelId="{C1BF487A-1FEE-4B76-A732-CAAFC23B7006}" type="presParOf" srcId="{8FA66850-FA24-436A-8C6F-19ADA9CF67DC}" destId="{74A6DADD-06EB-40B5-909A-E7630A8ED136}" srcOrd="4" destOrd="0" presId="urn:microsoft.com/office/officeart/2009/3/layout/SubStepProcess"/>
    <dgm:cxn modelId="{9BC71E1F-BB6D-40AA-BA7D-A4A475C9B41A}" type="presParOf" srcId="{D7F820B0-8A24-4BA2-8B5E-710F46BA6BEF}" destId="{887646BD-B58E-4F59-AB17-31FE1ABF15B6}" srcOrd="12" destOrd="0" presId="urn:microsoft.com/office/officeart/2009/3/layout/SubStepProcess"/>
    <dgm:cxn modelId="{19481595-6635-4586-8318-DF121C092724}" type="presParOf" srcId="{D7F820B0-8A24-4BA2-8B5E-710F46BA6BEF}" destId="{1C2EF046-77D4-492E-8978-8DF7B31B0F46}" srcOrd="13" destOrd="0" presId="urn:microsoft.com/office/officeart/2009/3/layout/SubStepProcess"/>
    <dgm:cxn modelId="{EE4AE4E5-217C-459E-8FE2-78DD4524BA15}" type="presParOf" srcId="{D7F820B0-8A24-4BA2-8B5E-710F46BA6BEF}" destId="{7701FF0A-864B-4F94-9564-DC76A52982CD}" srcOrd="14" destOrd="0" presId="urn:microsoft.com/office/officeart/2009/3/layout/SubStepProcess"/>
    <dgm:cxn modelId="{A2D97821-E7A9-45BA-A7E1-9B32B82313AC}" type="presParOf" srcId="{7701FF0A-864B-4F94-9564-DC76A52982CD}" destId="{9F4DA1DB-91D7-4995-8429-04650DDF05F8}" srcOrd="0" destOrd="0" presId="urn:microsoft.com/office/officeart/2009/3/layout/SubStepProcess"/>
    <dgm:cxn modelId="{0A5EDFDA-86C2-4ACC-8B18-FE1F2996604C}" type="presParOf" srcId="{7701FF0A-864B-4F94-9564-DC76A52982CD}" destId="{D0C1CA8F-985B-4F28-B18D-A336900ABE9C}" srcOrd="1" destOrd="0" presId="urn:microsoft.com/office/officeart/2009/3/layout/SubStepProcess"/>
    <dgm:cxn modelId="{AC05C042-D5B1-4614-84FD-59FCBF592D39}" type="presParOf" srcId="{7701FF0A-864B-4F94-9564-DC76A52982CD}" destId="{96C111AB-69AD-41D2-A21B-B6D3A9F980F3}" srcOrd="2" destOrd="0" presId="urn:microsoft.com/office/officeart/2009/3/layout/SubStepProcess"/>
    <dgm:cxn modelId="{B43DB6B8-E4C8-44E7-A47A-04D22BB7587A}" type="presParOf" srcId="{7701FF0A-864B-4F94-9564-DC76A52982CD}" destId="{538EE822-7BCB-4A73-AC60-713E26E3CB82}" srcOrd="3" destOrd="0" presId="urn:microsoft.com/office/officeart/2009/3/layout/SubStepProcess"/>
    <dgm:cxn modelId="{4EDCF99C-D52C-4156-8505-ED5D2D549230}" type="presParOf" srcId="{7701FF0A-864B-4F94-9564-DC76A52982CD}" destId="{16A4B6C3-6D1B-4B04-A744-B62690A4FE8A}" srcOrd="4" destOrd="0" presId="urn:microsoft.com/office/officeart/2009/3/layout/SubStepProcess"/>
    <dgm:cxn modelId="{3F2863D7-11B6-45AB-B266-A53FD7582A5A}" type="presParOf" srcId="{3D07030A-668E-4019-89BE-08448EB206DA}" destId="{67C80F40-B88B-49A8-BB0E-818C697FA175}" srcOrd="3" destOrd="0" presId="urn:microsoft.com/office/officeart/2009/3/layout/SubStepProcess"/>
    <dgm:cxn modelId="{3D18F0D5-A117-492A-B3EA-5012F5EBF687}" type="presParOf" srcId="{3D07030A-668E-4019-89BE-08448EB206DA}" destId="{0DA5FC20-AD96-499B-824C-D092FA658122}" srcOrd="4" destOrd="0" presId="urn:microsoft.com/office/officeart/2009/3/layout/SubStepProcess"/>
    <dgm:cxn modelId="{8BA1B791-95D4-47ED-8C62-7CAAAA2C5ECF}" type="presParOf" srcId="{3D07030A-668E-4019-89BE-08448EB206DA}" destId="{16E96DB0-0F46-40FB-A4C8-0E6B851C1F04}" srcOrd="5" destOrd="0" presId="urn:microsoft.com/office/officeart/2009/3/layout/SubStepProcess"/>
    <dgm:cxn modelId="{5161D6D4-9A03-421B-87DB-8DEE69F91AB6}" type="presParOf" srcId="{3D07030A-668E-4019-89BE-08448EB206DA}" destId="{9D50A8A6-3FA0-429D-A5BA-9D828FC1B29A}" srcOrd="6" destOrd="0" presId="urn:microsoft.com/office/officeart/2009/3/layout/SubStepProcess"/>
    <dgm:cxn modelId="{2BCB220D-9EF9-4122-919C-84302469DA76}" type="presParOf" srcId="{9D50A8A6-3FA0-429D-A5BA-9D828FC1B29A}" destId="{CEB64544-8349-49CA-B06B-30C71DB92670}" srcOrd="0" destOrd="0" presId="urn:microsoft.com/office/officeart/2009/3/layout/SubStepProcess"/>
    <dgm:cxn modelId="{736D7C6F-3B6A-4D87-B96D-87E8A0EC6E57}" type="presParOf" srcId="{9D50A8A6-3FA0-429D-A5BA-9D828FC1B29A}" destId="{4F716CD1-958C-4E6D-ACC1-2FC63B22974C}" srcOrd="1" destOrd="0" presId="urn:microsoft.com/office/officeart/2009/3/layout/SubStepProcess"/>
    <dgm:cxn modelId="{CF23F5FA-58B2-4C96-9B1E-672AF9706770}" type="presParOf" srcId="{4F716CD1-958C-4E6D-ACC1-2FC63B22974C}" destId="{FDE3CA80-2428-4B15-929F-31748FA92925}" srcOrd="0" destOrd="0" presId="urn:microsoft.com/office/officeart/2009/3/layout/SubStepProcess"/>
    <dgm:cxn modelId="{230C3340-2534-4EB2-82DA-AA0D79B70641}" type="presParOf" srcId="{4F716CD1-958C-4E6D-ACC1-2FC63B22974C}" destId="{87B4F328-2BAB-4276-BE74-A6F9550105E3}" srcOrd="1" destOrd="0" presId="urn:microsoft.com/office/officeart/2009/3/layout/SubStepProcess"/>
    <dgm:cxn modelId="{9AE5533D-0949-41ED-AECE-BC2646DEE2A6}" type="presParOf" srcId="{4F716CD1-958C-4E6D-ACC1-2FC63B22974C}" destId="{0CD3F808-240D-4224-8521-F913BA9C5CA1}" srcOrd="2" destOrd="0" presId="urn:microsoft.com/office/officeart/2009/3/layout/SubStepProcess"/>
    <dgm:cxn modelId="{BDDA1D7B-09F7-4E31-92A8-118A41C77CFA}" type="presParOf" srcId="{4F716CD1-958C-4E6D-ACC1-2FC63B22974C}" destId="{9B8B6C00-0FD4-4C1B-82E0-919466D9859C}" srcOrd="3" destOrd="0" presId="urn:microsoft.com/office/officeart/2009/3/layout/SubStepProcess"/>
    <dgm:cxn modelId="{2C184A0A-46F2-4DE0-A9E3-DB3A441646EF}" type="presParOf" srcId="{9D50A8A6-3FA0-429D-A5BA-9D828FC1B29A}" destId="{20A06945-BF8C-4011-AD41-DCC49851723F}" srcOrd="2" destOrd="0" presId="urn:microsoft.com/office/officeart/2009/3/layout/SubStepProcess"/>
    <dgm:cxn modelId="{82680340-DE31-4982-84B8-F29B02C5EA6C}" type="presParOf" srcId="{9D50A8A6-3FA0-429D-A5BA-9D828FC1B29A}" destId="{FFB152B3-7517-41EB-96A8-9F39F0511270}" srcOrd="3" destOrd="0" presId="urn:microsoft.com/office/officeart/2009/3/layout/SubStepProcess"/>
    <dgm:cxn modelId="{5642390B-F580-4C24-95EF-EDAC0619EAD9}" type="presParOf" srcId="{FFB152B3-7517-41EB-96A8-9F39F0511270}" destId="{9C244877-7A30-4381-9875-02FDCCAE53F9}" srcOrd="0" destOrd="0" presId="urn:microsoft.com/office/officeart/2009/3/layout/SubStepProcess"/>
    <dgm:cxn modelId="{C8240C81-E07A-474E-9D47-F37DFEA425F8}" type="presParOf" srcId="{FFB152B3-7517-41EB-96A8-9F39F0511270}" destId="{B4F53DF2-F8E9-4BFE-95C3-AED34C6D2B2C}" srcOrd="1" destOrd="0" presId="urn:microsoft.com/office/officeart/2009/3/layout/SubStepProcess"/>
    <dgm:cxn modelId="{993D6229-D329-4862-83ED-7B3D2BE96E42}" type="presParOf" srcId="{FFB152B3-7517-41EB-96A8-9F39F0511270}" destId="{D3317736-4082-4E17-BD72-8CC5E8B0A148}" srcOrd="2" destOrd="0" presId="urn:microsoft.com/office/officeart/2009/3/layout/SubStepProcess"/>
    <dgm:cxn modelId="{D4DBCECB-4CCC-4E12-9C0F-7538DF0E0035}" type="presParOf" srcId="{FFB152B3-7517-41EB-96A8-9F39F0511270}" destId="{129AEB14-F223-4FA2-BD21-384713CB5C39}" srcOrd="3" destOrd="0" presId="urn:microsoft.com/office/officeart/2009/3/layout/SubStepProcess"/>
    <dgm:cxn modelId="{602CBB6C-6972-4745-A5FA-C71C328ECE78}" type="presParOf" srcId="{9D50A8A6-3FA0-429D-A5BA-9D828FC1B29A}" destId="{4ECE3A6F-EF5C-47D6-BFE3-3CA9F61E2168}" srcOrd="4" destOrd="0" presId="urn:microsoft.com/office/officeart/2009/3/layout/SubStepProcess"/>
    <dgm:cxn modelId="{2DA5DA11-8C0F-4D25-9277-EFC114261255}" type="presParOf" srcId="{9D50A8A6-3FA0-429D-A5BA-9D828FC1B29A}" destId="{F4CFEE0D-0427-44AD-8907-B4C6A4F84CC4}" srcOrd="5" destOrd="0" presId="urn:microsoft.com/office/officeart/2009/3/layout/SubStepProcess"/>
    <dgm:cxn modelId="{A178432C-7303-41FD-89C8-B2BD1BCB2BF4}" type="presParOf" srcId="{F4CFEE0D-0427-44AD-8907-B4C6A4F84CC4}" destId="{EC7EE169-57BC-4DC5-9908-D2CD0FE8F9AA}" srcOrd="0" destOrd="0" presId="urn:microsoft.com/office/officeart/2009/3/layout/SubStepProcess"/>
    <dgm:cxn modelId="{A0200207-0E1C-4F3F-A235-F8574639FB8B}" type="presParOf" srcId="{F4CFEE0D-0427-44AD-8907-B4C6A4F84CC4}" destId="{2419CF22-2255-4F4F-A753-B166A6362A89}" srcOrd="1" destOrd="0" presId="urn:microsoft.com/office/officeart/2009/3/layout/SubStepProcess"/>
    <dgm:cxn modelId="{C5AF490E-15EA-407C-A3AA-D83B43994D8C}" type="presParOf" srcId="{F4CFEE0D-0427-44AD-8907-B4C6A4F84CC4}" destId="{6C96C5DA-72F2-4EC4-BE6C-90CD4FCB7B86}" srcOrd="2" destOrd="0" presId="urn:microsoft.com/office/officeart/2009/3/layout/SubStepProcess"/>
    <dgm:cxn modelId="{79BA41FF-A831-4B9E-A8FB-FA1B32D21A48}" type="presParOf" srcId="{F4CFEE0D-0427-44AD-8907-B4C6A4F84CC4}" destId="{17240ED4-0533-4278-84A5-F0062171C524}" srcOrd="3" destOrd="0" presId="urn:microsoft.com/office/officeart/2009/3/layout/SubStepProcess"/>
    <dgm:cxn modelId="{3EC391E6-26CE-4829-84D7-70F024195870}" type="presParOf" srcId="{9D50A8A6-3FA0-429D-A5BA-9D828FC1B29A}" destId="{6F3D2D2E-FE80-41C4-BF11-FE517DC46703}" srcOrd="6" destOrd="0" presId="urn:microsoft.com/office/officeart/2009/3/layout/SubStepProcess"/>
    <dgm:cxn modelId="{121A17E6-A973-4F39-83E2-11FA50B7D703}" type="presParOf" srcId="{9D50A8A6-3FA0-429D-A5BA-9D828FC1B29A}" destId="{F9E3243A-2C0F-499F-9733-240EFF7266FE}" srcOrd="7" destOrd="0" presId="urn:microsoft.com/office/officeart/2009/3/layout/SubStepProcess"/>
    <dgm:cxn modelId="{D9578C07-B03E-413D-A6C8-A320C3367FE4}" type="presParOf" srcId="{F9E3243A-2C0F-499F-9733-240EFF7266FE}" destId="{3D76D6D8-AF5C-42AD-B6FB-43312EA0146C}" srcOrd="0" destOrd="0" presId="urn:microsoft.com/office/officeart/2009/3/layout/SubStepProcess"/>
    <dgm:cxn modelId="{4912566D-7A15-4777-B26D-4467573C1A30}" type="presParOf" srcId="{F9E3243A-2C0F-499F-9733-240EFF7266FE}" destId="{3B82D6A6-FC79-4F13-8713-B62D8DC04AFE}" srcOrd="1" destOrd="0" presId="urn:microsoft.com/office/officeart/2009/3/layout/SubStepProcess"/>
    <dgm:cxn modelId="{47B7A4CC-414A-4448-8EFD-D781EA49F302}" type="presParOf" srcId="{F9E3243A-2C0F-499F-9733-240EFF7266FE}" destId="{3A37BCFF-E26C-436E-8E4F-C4B9775159C6}" srcOrd="2" destOrd="0" presId="urn:microsoft.com/office/officeart/2009/3/layout/SubStepProcess"/>
    <dgm:cxn modelId="{22562434-4F4A-4EA2-8015-5F45D52050B1}" type="presParOf" srcId="{F9E3243A-2C0F-499F-9733-240EFF7266FE}" destId="{A4F972C5-DC6D-4850-82AC-674E739F07B9}" srcOrd="3" destOrd="0" presId="urn:microsoft.com/office/officeart/2009/3/layout/SubStepProcess"/>
    <dgm:cxn modelId="{A9F726CB-4622-4578-99F0-36F8F75C08E6}" type="presParOf" srcId="{9D50A8A6-3FA0-429D-A5BA-9D828FC1B29A}" destId="{54E33E7F-026F-4F3F-B3BC-481F35B9EB92}" srcOrd="8" destOrd="0" presId="urn:microsoft.com/office/officeart/2009/3/layout/SubStepProcess"/>
    <dgm:cxn modelId="{F3D3E500-47B9-410F-A10E-E4104CEDF298}" type="presParOf" srcId="{9D50A8A6-3FA0-429D-A5BA-9D828FC1B29A}" destId="{899E79DF-5E40-46E7-AF2E-00DC35779EC4}" srcOrd="9" destOrd="0" presId="urn:microsoft.com/office/officeart/2009/3/layout/SubStepProcess"/>
    <dgm:cxn modelId="{FBB0AFA6-174C-406A-976D-265EB41EA696}" type="presParOf" srcId="{899E79DF-5E40-46E7-AF2E-00DC35779EC4}" destId="{5B2C5540-4DAE-483B-ABE4-42D3463816D3}" srcOrd="0" destOrd="0" presId="urn:microsoft.com/office/officeart/2009/3/layout/SubStepProcess"/>
    <dgm:cxn modelId="{CE5F418D-595E-4059-AB0C-F2E388755157}" type="presParOf" srcId="{899E79DF-5E40-46E7-AF2E-00DC35779EC4}" destId="{9BEDF86D-C131-4038-9A33-7901CF975389}" srcOrd="1" destOrd="0" presId="urn:microsoft.com/office/officeart/2009/3/layout/SubStepProcess"/>
    <dgm:cxn modelId="{6FEAC774-C08F-4A72-AB76-BA26108A04F4}" type="presParOf" srcId="{899E79DF-5E40-46E7-AF2E-00DC35779EC4}" destId="{4C31022F-568D-43C7-8542-1D616695DEBA}" srcOrd="2" destOrd="0" presId="urn:microsoft.com/office/officeart/2009/3/layout/SubStepProcess"/>
    <dgm:cxn modelId="{4749AD83-0E46-4EB4-A569-D559E9506BE0}" type="presParOf" srcId="{899E79DF-5E40-46E7-AF2E-00DC35779EC4}" destId="{A18E49C7-C6E8-4FD9-948C-CD7A3AF4A89B}" srcOrd="3"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95F4CE0-78D3-4A5C-A075-B566649BFD53}"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zh-CN" altLang="en-US"/>
        </a:p>
      </dgm:t>
    </dgm:pt>
    <dgm:pt modelId="{30C7B5D8-0E12-49F8-9FCA-66135CBA3447}">
      <dgm:prSet phldrT="[文本]"/>
      <dgm:spPr/>
      <dgm:t>
        <a:bodyPr/>
        <a:lstStyle/>
        <a:p>
          <a:r>
            <a:rPr lang="zh-CN" altLang="en-US" dirty="0" smtClean="0">
              <a:solidFill>
                <a:schemeClr val="tx1"/>
              </a:solidFill>
            </a:rPr>
            <a:t>入侵环境</a:t>
          </a:r>
          <a:endParaRPr lang="zh-CN" altLang="en-US" dirty="0">
            <a:solidFill>
              <a:schemeClr val="tx1"/>
            </a:solidFill>
          </a:endParaRPr>
        </a:p>
      </dgm:t>
    </dgm:pt>
    <dgm:pt modelId="{CAC0F0FE-7DB6-4052-AAD0-AEA9BD96CD65}" type="parTrans" cxnId="{A80A2908-33F9-4E1F-8360-F6880DE6F4C8}">
      <dgm:prSet/>
      <dgm:spPr/>
      <dgm:t>
        <a:bodyPr/>
        <a:lstStyle/>
        <a:p>
          <a:endParaRPr lang="zh-CN" altLang="en-US">
            <a:solidFill>
              <a:schemeClr val="tx1"/>
            </a:solidFill>
          </a:endParaRPr>
        </a:p>
      </dgm:t>
    </dgm:pt>
    <dgm:pt modelId="{8641E22A-0CDF-4F37-B7A9-80492A7185D6}" type="sibTrans" cxnId="{A80A2908-33F9-4E1F-8360-F6880DE6F4C8}">
      <dgm:prSet/>
      <dgm:spPr/>
      <dgm:t>
        <a:bodyPr/>
        <a:lstStyle/>
        <a:p>
          <a:endParaRPr lang="zh-CN" altLang="en-US">
            <a:solidFill>
              <a:schemeClr val="tx1"/>
            </a:solidFill>
          </a:endParaRPr>
        </a:p>
      </dgm:t>
    </dgm:pt>
    <dgm:pt modelId="{8CE27C28-4690-4586-A2AA-78DF7D76693A}">
      <dgm:prSet phldrT="[文本]"/>
      <dgm:spPr/>
      <dgm:t>
        <a:bodyPr/>
        <a:lstStyle/>
        <a:p>
          <a:r>
            <a:rPr lang="zh-CN" altLang="en-US" dirty="0" smtClean="0">
              <a:solidFill>
                <a:schemeClr val="tx1"/>
              </a:solidFill>
            </a:rPr>
            <a:t>物理环境</a:t>
          </a:r>
          <a:endParaRPr lang="zh-CN" altLang="en-US" dirty="0">
            <a:solidFill>
              <a:schemeClr val="tx1"/>
            </a:solidFill>
          </a:endParaRPr>
        </a:p>
      </dgm:t>
    </dgm:pt>
    <dgm:pt modelId="{2AF896D9-3E3F-488E-A3AF-DDF8694F1F9D}" type="parTrans" cxnId="{DCEBDBFA-15E7-4231-B84D-EE16A17187A9}">
      <dgm:prSet/>
      <dgm:spPr/>
      <dgm:t>
        <a:bodyPr/>
        <a:lstStyle/>
        <a:p>
          <a:endParaRPr lang="zh-CN" altLang="en-US">
            <a:solidFill>
              <a:schemeClr val="tx1"/>
            </a:solidFill>
          </a:endParaRPr>
        </a:p>
      </dgm:t>
    </dgm:pt>
    <dgm:pt modelId="{39861CB8-11C5-48FA-86FD-21F7CED70FB4}" type="sibTrans" cxnId="{DCEBDBFA-15E7-4231-B84D-EE16A17187A9}">
      <dgm:prSet/>
      <dgm:spPr/>
      <dgm:t>
        <a:bodyPr/>
        <a:lstStyle/>
        <a:p>
          <a:endParaRPr lang="zh-CN" altLang="en-US">
            <a:solidFill>
              <a:schemeClr val="tx1"/>
            </a:solidFill>
          </a:endParaRPr>
        </a:p>
      </dgm:t>
    </dgm:pt>
    <dgm:pt modelId="{9E759A74-98F4-496C-954F-335AB77915A1}">
      <dgm:prSet phldrT="[文本]"/>
      <dgm:spPr/>
      <dgm:t>
        <a:bodyPr/>
        <a:lstStyle/>
        <a:p>
          <a:r>
            <a:rPr lang="zh-CN" altLang="en-US" dirty="0" smtClean="0">
              <a:solidFill>
                <a:schemeClr val="tx1"/>
              </a:solidFill>
            </a:rPr>
            <a:t>锁定目标</a:t>
          </a:r>
          <a:endParaRPr lang="zh-CN" altLang="en-US" dirty="0">
            <a:solidFill>
              <a:schemeClr val="tx1"/>
            </a:solidFill>
          </a:endParaRPr>
        </a:p>
      </dgm:t>
    </dgm:pt>
    <dgm:pt modelId="{6A6401C4-CAFE-4B56-98C8-C4546DCCAF0B}" type="parTrans" cxnId="{AAEB0335-49F7-419F-AAE8-978DE5DDA8E8}">
      <dgm:prSet/>
      <dgm:spPr/>
      <dgm:t>
        <a:bodyPr/>
        <a:lstStyle/>
        <a:p>
          <a:endParaRPr lang="zh-CN" altLang="en-US">
            <a:solidFill>
              <a:schemeClr val="tx1"/>
            </a:solidFill>
          </a:endParaRPr>
        </a:p>
      </dgm:t>
    </dgm:pt>
    <dgm:pt modelId="{0AA2D43B-9F19-4B74-A50C-580891D2F323}" type="sibTrans" cxnId="{AAEB0335-49F7-419F-AAE8-978DE5DDA8E8}">
      <dgm:prSet/>
      <dgm:spPr/>
      <dgm:t>
        <a:bodyPr/>
        <a:lstStyle/>
        <a:p>
          <a:endParaRPr lang="zh-CN" altLang="en-US">
            <a:solidFill>
              <a:schemeClr val="tx1"/>
            </a:solidFill>
          </a:endParaRPr>
        </a:p>
      </dgm:t>
    </dgm:pt>
    <dgm:pt modelId="{DBCAAAD3-45F7-4C3B-9347-0B6DC4C3AE67}">
      <dgm:prSet phldrT="[文本]"/>
      <dgm:spPr/>
      <dgm:t>
        <a:bodyPr/>
        <a:lstStyle/>
        <a:p>
          <a:r>
            <a:rPr lang="zh-CN" altLang="en-US" dirty="0" smtClean="0">
              <a:solidFill>
                <a:schemeClr val="tx1"/>
              </a:solidFill>
            </a:rPr>
            <a:t>目标人物</a:t>
          </a:r>
          <a:endParaRPr lang="zh-CN" altLang="en-US" dirty="0">
            <a:solidFill>
              <a:schemeClr val="tx1"/>
            </a:solidFill>
          </a:endParaRPr>
        </a:p>
      </dgm:t>
    </dgm:pt>
    <dgm:pt modelId="{AE7DCB98-6925-4E5B-9A16-09AA25611DF7}" type="parTrans" cxnId="{0456151B-8DC3-4BCE-B2C5-1A207618833D}">
      <dgm:prSet/>
      <dgm:spPr/>
      <dgm:t>
        <a:bodyPr/>
        <a:lstStyle/>
        <a:p>
          <a:endParaRPr lang="zh-CN" altLang="en-US">
            <a:solidFill>
              <a:schemeClr val="tx1"/>
            </a:solidFill>
          </a:endParaRPr>
        </a:p>
      </dgm:t>
    </dgm:pt>
    <dgm:pt modelId="{1B98BA00-CA2E-4793-9627-2E0E4E2A2483}" type="sibTrans" cxnId="{0456151B-8DC3-4BCE-B2C5-1A207618833D}">
      <dgm:prSet/>
      <dgm:spPr/>
      <dgm:t>
        <a:bodyPr/>
        <a:lstStyle/>
        <a:p>
          <a:endParaRPr lang="zh-CN" altLang="en-US">
            <a:solidFill>
              <a:schemeClr val="tx1"/>
            </a:solidFill>
          </a:endParaRPr>
        </a:p>
      </dgm:t>
    </dgm:pt>
    <dgm:pt modelId="{A1075212-D4B9-4FB7-BCCB-08BF804DE33B}">
      <dgm:prSet phldrT="[文本]"/>
      <dgm:spPr/>
      <dgm:t>
        <a:bodyPr/>
        <a:lstStyle/>
        <a:p>
          <a:r>
            <a:rPr lang="zh-CN" altLang="en-US" dirty="0" smtClean="0">
              <a:solidFill>
                <a:schemeClr val="tx1"/>
              </a:solidFill>
            </a:rPr>
            <a:t>网络环境</a:t>
          </a:r>
          <a:endParaRPr lang="zh-CN" altLang="en-US" dirty="0">
            <a:solidFill>
              <a:schemeClr val="tx1"/>
            </a:solidFill>
          </a:endParaRPr>
        </a:p>
      </dgm:t>
    </dgm:pt>
    <dgm:pt modelId="{E5A00BAD-94D5-4C68-BD12-BABE295E588F}" type="parTrans" cxnId="{53FF40EA-F71E-42C2-B606-73B3E7029F91}">
      <dgm:prSet/>
      <dgm:spPr/>
      <dgm:t>
        <a:bodyPr/>
        <a:lstStyle/>
        <a:p>
          <a:endParaRPr lang="zh-CN" altLang="en-US">
            <a:solidFill>
              <a:schemeClr val="tx1"/>
            </a:solidFill>
          </a:endParaRPr>
        </a:p>
      </dgm:t>
    </dgm:pt>
    <dgm:pt modelId="{FBAF34F3-A31B-4258-B08E-1BA73C7259A4}" type="sibTrans" cxnId="{53FF40EA-F71E-42C2-B606-73B3E7029F91}">
      <dgm:prSet/>
      <dgm:spPr/>
      <dgm:t>
        <a:bodyPr/>
        <a:lstStyle/>
        <a:p>
          <a:endParaRPr lang="zh-CN" altLang="en-US">
            <a:solidFill>
              <a:schemeClr val="tx1"/>
            </a:solidFill>
          </a:endParaRPr>
        </a:p>
      </dgm:t>
    </dgm:pt>
    <dgm:pt modelId="{F4AD8AE2-EA8F-4A62-B8CE-6614D9672DEB}">
      <dgm:prSet phldrT="[文本]"/>
      <dgm:spPr/>
      <dgm:t>
        <a:bodyPr/>
        <a:lstStyle/>
        <a:p>
          <a:r>
            <a:rPr lang="zh-CN" altLang="en-US" dirty="0" smtClean="0">
              <a:solidFill>
                <a:schemeClr val="tx1"/>
              </a:solidFill>
            </a:rPr>
            <a:t>环境设备</a:t>
          </a:r>
          <a:endParaRPr lang="zh-CN" altLang="en-US" dirty="0">
            <a:solidFill>
              <a:schemeClr val="tx1"/>
            </a:solidFill>
          </a:endParaRPr>
        </a:p>
      </dgm:t>
    </dgm:pt>
    <dgm:pt modelId="{89BBAFB6-277D-4698-9F14-D04D912F8117}" type="parTrans" cxnId="{2EC54FB9-B299-43BA-BBE9-80E88872DDCE}">
      <dgm:prSet/>
      <dgm:spPr/>
      <dgm:t>
        <a:bodyPr/>
        <a:lstStyle/>
        <a:p>
          <a:endParaRPr lang="zh-CN" altLang="en-US">
            <a:solidFill>
              <a:schemeClr val="tx1"/>
            </a:solidFill>
          </a:endParaRPr>
        </a:p>
      </dgm:t>
    </dgm:pt>
    <dgm:pt modelId="{81592015-EDDF-4DAC-9AE2-A2F088252022}" type="sibTrans" cxnId="{2EC54FB9-B299-43BA-BBE9-80E88872DDCE}">
      <dgm:prSet/>
      <dgm:spPr/>
      <dgm:t>
        <a:bodyPr/>
        <a:lstStyle/>
        <a:p>
          <a:endParaRPr lang="zh-CN" altLang="en-US">
            <a:solidFill>
              <a:schemeClr val="tx1"/>
            </a:solidFill>
          </a:endParaRPr>
        </a:p>
      </dgm:t>
    </dgm:pt>
    <dgm:pt modelId="{D17E1417-E237-4982-A791-E0A3B01B6194}">
      <dgm:prSet phldrT="[文本]"/>
      <dgm:spPr/>
      <dgm:t>
        <a:bodyPr/>
        <a:lstStyle/>
        <a:p>
          <a:r>
            <a:rPr lang="zh-CN" altLang="en-US" dirty="0" smtClean="0">
              <a:solidFill>
                <a:schemeClr val="tx1"/>
              </a:solidFill>
            </a:rPr>
            <a:t>环境系统</a:t>
          </a:r>
          <a:endParaRPr lang="zh-CN" altLang="en-US" dirty="0">
            <a:solidFill>
              <a:schemeClr val="tx1"/>
            </a:solidFill>
          </a:endParaRPr>
        </a:p>
      </dgm:t>
    </dgm:pt>
    <dgm:pt modelId="{F0181816-5EA7-4F8E-B0EB-FE0D0F30FAB7}" type="parTrans" cxnId="{F91A4725-170B-4EE5-BD2A-D595EDECD94B}">
      <dgm:prSet/>
      <dgm:spPr/>
      <dgm:t>
        <a:bodyPr/>
        <a:lstStyle/>
        <a:p>
          <a:endParaRPr lang="zh-CN" altLang="en-US">
            <a:solidFill>
              <a:schemeClr val="tx1"/>
            </a:solidFill>
          </a:endParaRPr>
        </a:p>
      </dgm:t>
    </dgm:pt>
    <dgm:pt modelId="{93B79886-E9F3-4EB1-AF08-55D31B7B26A6}" type="sibTrans" cxnId="{F91A4725-170B-4EE5-BD2A-D595EDECD94B}">
      <dgm:prSet/>
      <dgm:spPr/>
      <dgm:t>
        <a:bodyPr/>
        <a:lstStyle/>
        <a:p>
          <a:endParaRPr lang="zh-CN" altLang="en-US">
            <a:solidFill>
              <a:schemeClr val="tx1"/>
            </a:solidFill>
          </a:endParaRPr>
        </a:p>
      </dgm:t>
    </dgm:pt>
    <dgm:pt modelId="{2B47A3A7-45D7-41F0-82AD-23D5F785903C}">
      <dgm:prSet phldrT="[文本]"/>
      <dgm:spPr/>
      <dgm:t>
        <a:bodyPr/>
        <a:lstStyle/>
        <a:p>
          <a:r>
            <a:rPr lang="zh-CN" altLang="en-US" dirty="0" smtClean="0">
              <a:solidFill>
                <a:schemeClr val="tx1"/>
              </a:solidFill>
            </a:rPr>
            <a:t>环境权限</a:t>
          </a:r>
          <a:endParaRPr lang="zh-CN" altLang="en-US" dirty="0">
            <a:solidFill>
              <a:schemeClr val="tx1"/>
            </a:solidFill>
          </a:endParaRPr>
        </a:p>
      </dgm:t>
    </dgm:pt>
    <dgm:pt modelId="{2EEA351A-B6B8-4B40-B616-227490A56CEB}" type="parTrans" cxnId="{751D999A-40BA-4271-9586-34AB5EAA3292}">
      <dgm:prSet/>
      <dgm:spPr/>
      <dgm:t>
        <a:bodyPr/>
        <a:lstStyle/>
        <a:p>
          <a:endParaRPr lang="zh-CN" altLang="en-US">
            <a:solidFill>
              <a:schemeClr val="tx1"/>
            </a:solidFill>
          </a:endParaRPr>
        </a:p>
      </dgm:t>
    </dgm:pt>
    <dgm:pt modelId="{B2A7F079-9713-4A21-8455-F5FE3D6A92B3}" type="sibTrans" cxnId="{751D999A-40BA-4271-9586-34AB5EAA3292}">
      <dgm:prSet/>
      <dgm:spPr/>
      <dgm:t>
        <a:bodyPr/>
        <a:lstStyle/>
        <a:p>
          <a:endParaRPr lang="zh-CN" altLang="en-US">
            <a:solidFill>
              <a:schemeClr val="tx1"/>
            </a:solidFill>
          </a:endParaRPr>
        </a:p>
      </dgm:t>
    </dgm:pt>
    <dgm:pt modelId="{DD5CCDB6-9564-4154-A20C-DAEBFC9EE173}">
      <dgm:prSet phldrT="[文本]"/>
      <dgm:spPr/>
      <dgm:t>
        <a:bodyPr/>
        <a:lstStyle/>
        <a:p>
          <a:r>
            <a:rPr lang="zh-CN" altLang="en-US" dirty="0" smtClean="0">
              <a:solidFill>
                <a:schemeClr val="tx1"/>
              </a:solidFill>
            </a:rPr>
            <a:t>环境组织</a:t>
          </a:r>
          <a:endParaRPr lang="zh-CN" altLang="en-US" dirty="0">
            <a:solidFill>
              <a:schemeClr val="tx1"/>
            </a:solidFill>
          </a:endParaRPr>
        </a:p>
      </dgm:t>
    </dgm:pt>
    <dgm:pt modelId="{1D1E6F95-D9CE-402A-9D83-403B8892E139}" type="parTrans" cxnId="{7A34B52B-8CEE-4061-B5B0-512E734E1244}">
      <dgm:prSet/>
      <dgm:spPr/>
      <dgm:t>
        <a:bodyPr/>
        <a:lstStyle/>
        <a:p>
          <a:endParaRPr lang="zh-CN" altLang="en-US">
            <a:solidFill>
              <a:schemeClr val="tx1"/>
            </a:solidFill>
          </a:endParaRPr>
        </a:p>
      </dgm:t>
    </dgm:pt>
    <dgm:pt modelId="{5BEC68D7-3CCD-49C7-82BA-D7A854540350}" type="sibTrans" cxnId="{7A34B52B-8CEE-4061-B5B0-512E734E1244}">
      <dgm:prSet/>
      <dgm:spPr/>
      <dgm:t>
        <a:bodyPr/>
        <a:lstStyle/>
        <a:p>
          <a:endParaRPr lang="zh-CN" altLang="en-US">
            <a:solidFill>
              <a:schemeClr val="tx1"/>
            </a:solidFill>
          </a:endParaRPr>
        </a:p>
      </dgm:t>
    </dgm:pt>
    <dgm:pt modelId="{54B06C2B-6D3D-44CC-A3A3-BC591D7300D1}">
      <dgm:prSet phldrT="[文本]"/>
      <dgm:spPr/>
      <dgm:t>
        <a:bodyPr/>
        <a:lstStyle/>
        <a:p>
          <a:r>
            <a:rPr lang="zh-CN" altLang="en-US" dirty="0" smtClean="0">
              <a:solidFill>
                <a:schemeClr val="tx1"/>
              </a:solidFill>
            </a:rPr>
            <a:t>目标组织</a:t>
          </a:r>
          <a:endParaRPr lang="zh-CN" altLang="en-US" dirty="0">
            <a:solidFill>
              <a:schemeClr val="tx1"/>
            </a:solidFill>
          </a:endParaRPr>
        </a:p>
      </dgm:t>
    </dgm:pt>
    <dgm:pt modelId="{A4BEAE6A-20C2-4453-9FB2-42466C301E94}" type="parTrans" cxnId="{7D08A681-5ABD-44EC-9337-281B70CDBA43}">
      <dgm:prSet/>
      <dgm:spPr/>
      <dgm:t>
        <a:bodyPr/>
        <a:lstStyle/>
        <a:p>
          <a:endParaRPr lang="zh-CN" altLang="en-US">
            <a:solidFill>
              <a:schemeClr val="tx1"/>
            </a:solidFill>
          </a:endParaRPr>
        </a:p>
      </dgm:t>
    </dgm:pt>
    <dgm:pt modelId="{3968E3BD-87F6-4943-924C-BF3EF7730506}" type="sibTrans" cxnId="{7D08A681-5ABD-44EC-9337-281B70CDBA43}">
      <dgm:prSet/>
      <dgm:spPr/>
      <dgm:t>
        <a:bodyPr/>
        <a:lstStyle/>
        <a:p>
          <a:endParaRPr lang="zh-CN" altLang="en-US">
            <a:solidFill>
              <a:schemeClr val="tx1"/>
            </a:solidFill>
          </a:endParaRPr>
        </a:p>
      </dgm:t>
    </dgm:pt>
    <dgm:pt modelId="{1B5B2D06-DB31-4122-B0EC-C113698B9D4B}">
      <dgm:prSet phldrT="[文本]"/>
      <dgm:spPr/>
      <dgm:t>
        <a:bodyPr/>
        <a:lstStyle/>
        <a:p>
          <a:r>
            <a:rPr lang="zh-CN" altLang="en-US" dirty="0" smtClean="0">
              <a:solidFill>
                <a:schemeClr val="tx1"/>
              </a:solidFill>
            </a:rPr>
            <a:t>目标设备</a:t>
          </a:r>
          <a:endParaRPr lang="zh-CN" altLang="en-US" dirty="0">
            <a:solidFill>
              <a:schemeClr val="tx1"/>
            </a:solidFill>
          </a:endParaRPr>
        </a:p>
      </dgm:t>
    </dgm:pt>
    <dgm:pt modelId="{DE72B376-464D-4798-B756-EEA3E8192565}" type="parTrans" cxnId="{F246D7A9-27E8-4446-A273-7378194C3294}">
      <dgm:prSet/>
      <dgm:spPr/>
      <dgm:t>
        <a:bodyPr/>
        <a:lstStyle/>
        <a:p>
          <a:endParaRPr lang="zh-CN" altLang="en-US">
            <a:solidFill>
              <a:schemeClr val="tx1"/>
            </a:solidFill>
          </a:endParaRPr>
        </a:p>
      </dgm:t>
    </dgm:pt>
    <dgm:pt modelId="{ACB25D08-602B-4159-8298-5508A677DBC6}" type="sibTrans" cxnId="{F246D7A9-27E8-4446-A273-7378194C3294}">
      <dgm:prSet/>
      <dgm:spPr/>
      <dgm:t>
        <a:bodyPr/>
        <a:lstStyle/>
        <a:p>
          <a:endParaRPr lang="zh-CN" altLang="en-US">
            <a:solidFill>
              <a:schemeClr val="tx1"/>
            </a:solidFill>
          </a:endParaRPr>
        </a:p>
      </dgm:t>
    </dgm:pt>
    <dgm:pt modelId="{53C85310-DA19-4038-A5D6-1A5071470D95}">
      <dgm:prSet phldrT="[文本]"/>
      <dgm:spPr/>
      <dgm:t>
        <a:bodyPr/>
        <a:lstStyle/>
        <a:p>
          <a:r>
            <a:rPr lang="zh-CN" altLang="en-US" dirty="0" smtClean="0">
              <a:solidFill>
                <a:schemeClr val="tx1"/>
              </a:solidFill>
            </a:rPr>
            <a:t>目标系统</a:t>
          </a:r>
          <a:endParaRPr lang="zh-CN" altLang="en-US" dirty="0">
            <a:solidFill>
              <a:schemeClr val="tx1"/>
            </a:solidFill>
          </a:endParaRPr>
        </a:p>
      </dgm:t>
    </dgm:pt>
    <dgm:pt modelId="{8F7B8932-1A56-4618-875C-AD45527E0F44}" type="parTrans" cxnId="{320C7911-32BF-47D6-858E-BD5EB37FF922}">
      <dgm:prSet/>
      <dgm:spPr/>
      <dgm:t>
        <a:bodyPr/>
        <a:lstStyle/>
        <a:p>
          <a:endParaRPr lang="zh-CN" altLang="en-US">
            <a:solidFill>
              <a:schemeClr val="tx1"/>
            </a:solidFill>
          </a:endParaRPr>
        </a:p>
      </dgm:t>
    </dgm:pt>
    <dgm:pt modelId="{D2FAA9D2-ACF9-4F00-B932-078D401270A6}" type="sibTrans" cxnId="{320C7911-32BF-47D6-858E-BD5EB37FF922}">
      <dgm:prSet/>
      <dgm:spPr/>
      <dgm:t>
        <a:bodyPr/>
        <a:lstStyle/>
        <a:p>
          <a:endParaRPr lang="zh-CN" altLang="en-US">
            <a:solidFill>
              <a:schemeClr val="tx1"/>
            </a:solidFill>
          </a:endParaRPr>
        </a:p>
      </dgm:t>
    </dgm:pt>
    <dgm:pt modelId="{5C41DF7F-9A65-4B5D-8BBB-1C39ACCC8660}" type="pres">
      <dgm:prSet presAssocID="{C95F4CE0-78D3-4A5C-A075-B566649BFD53}" presName="linearFlow" presStyleCnt="0">
        <dgm:presLayoutVars>
          <dgm:dir/>
          <dgm:animLvl val="lvl"/>
          <dgm:resizeHandles val="exact"/>
        </dgm:presLayoutVars>
      </dgm:prSet>
      <dgm:spPr/>
      <dgm:t>
        <a:bodyPr/>
        <a:lstStyle/>
        <a:p>
          <a:endParaRPr lang="zh-CN" altLang="en-US"/>
        </a:p>
      </dgm:t>
    </dgm:pt>
    <dgm:pt modelId="{24C432BF-7C2B-4D4A-A91A-80D0B00201AC}" type="pres">
      <dgm:prSet presAssocID="{30C7B5D8-0E12-49F8-9FCA-66135CBA3447}" presName="composite" presStyleCnt="0"/>
      <dgm:spPr/>
    </dgm:pt>
    <dgm:pt modelId="{D0DF7396-7985-4891-8944-FE17713133DC}" type="pres">
      <dgm:prSet presAssocID="{30C7B5D8-0E12-49F8-9FCA-66135CBA3447}" presName="parTx" presStyleLbl="node1" presStyleIdx="0" presStyleCnt="2">
        <dgm:presLayoutVars>
          <dgm:chMax val="0"/>
          <dgm:chPref val="0"/>
          <dgm:bulletEnabled val="1"/>
        </dgm:presLayoutVars>
      </dgm:prSet>
      <dgm:spPr/>
      <dgm:t>
        <a:bodyPr/>
        <a:lstStyle/>
        <a:p>
          <a:endParaRPr lang="zh-CN" altLang="en-US"/>
        </a:p>
      </dgm:t>
    </dgm:pt>
    <dgm:pt modelId="{47DE3CE5-2F99-4DBB-93A3-A401DA07F031}" type="pres">
      <dgm:prSet presAssocID="{30C7B5D8-0E12-49F8-9FCA-66135CBA3447}" presName="parSh" presStyleLbl="node1" presStyleIdx="0" presStyleCnt="2"/>
      <dgm:spPr/>
      <dgm:t>
        <a:bodyPr/>
        <a:lstStyle/>
        <a:p>
          <a:endParaRPr lang="zh-CN" altLang="en-US"/>
        </a:p>
      </dgm:t>
    </dgm:pt>
    <dgm:pt modelId="{1BF4DCD3-B8A0-44D5-AE53-F913D7053A15}" type="pres">
      <dgm:prSet presAssocID="{30C7B5D8-0E12-49F8-9FCA-66135CBA3447}" presName="desTx" presStyleLbl="fgAcc1" presStyleIdx="0" presStyleCnt="2">
        <dgm:presLayoutVars>
          <dgm:bulletEnabled val="1"/>
        </dgm:presLayoutVars>
      </dgm:prSet>
      <dgm:spPr/>
      <dgm:t>
        <a:bodyPr/>
        <a:lstStyle/>
        <a:p>
          <a:endParaRPr lang="zh-CN" altLang="en-US"/>
        </a:p>
      </dgm:t>
    </dgm:pt>
    <dgm:pt modelId="{0FA8DEF2-98EE-46F6-98BB-4559160D1BC0}" type="pres">
      <dgm:prSet presAssocID="{8641E22A-0CDF-4F37-B7A9-80492A7185D6}" presName="sibTrans" presStyleLbl="sibTrans2D1" presStyleIdx="0" presStyleCnt="1"/>
      <dgm:spPr/>
      <dgm:t>
        <a:bodyPr/>
        <a:lstStyle/>
        <a:p>
          <a:endParaRPr lang="zh-CN" altLang="en-US"/>
        </a:p>
      </dgm:t>
    </dgm:pt>
    <dgm:pt modelId="{E2D6CC94-A258-4F9F-A6D7-CD89959B6C9E}" type="pres">
      <dgm:prSet presAssocID="{8641E22A-0CDF-4F37-B7A9-80492A7185D6}" presName="connTx" presStyleLbl="sibTrans2D1" presStyleIdx="0" presStyleCnt="1"/>
      <dgm:spPr/>
      <dgm:t>
        <a:bodyPr/>
        <a:lstStyle/>
        <a:p>
          <a:endParaRPr lang="zh-CN" altLang="en-US"/>
        </a:p>
      </dgm:t>
    </dgm:pt>
    <dgm:pt modelId="{FB66F9B3-D6BC-41CC-95E8-9671A157E01E}" type="pres">
      <dgm:prSet presAssocID="{9E759A74-98F4-496C-954F-335AB77915A1}" presName="composite" presStyleCnt="0"/>
      <dgm:spPr/>
    </dgm:pt>
    <dgm:pt modelId="{D56FB266-0F10-44FF-90E1-540277037678}" type="pres">
      <dgm:prSet presAssocID="{9E759A74-98F4-496C-954F-335AB77915A1}" presName="parTx" presStyleLbl="node1" presStyleIdx="0" presStyleCnt="2">
        <dgm:presLayoutVars>
          <dgm:chMax val="0"/>
          <dgm:chPref val="0"/>
          <dgm:bulletEnabled val="1"/>
        </dgm:presLayoutVars>
      </dgm:prSet>
      <dgm:spPr/>
      <dgm:t>
        <a:bodyPr/>
        <a:lstStyle/>
        <a:p>
          <a:endParaRPr lang="zh-CN" altLang="en-US"/>
        </a:p>
      </dgm:t>
    </dgm:pt>
    <dgm:pt modelId="{32922C9D-111F-436D-8521-DE0FC814A6AD}" type="pres">
      <dgm:prSet presAssocID="{9E759A74-98F4-496C-954F-335AB77915A1}" presName="parSh" presStyleLbl="node1" presStyleIdx="1" presStyleCnt="2"/>
      <dgm:spPr/>
      <dgm:t>
        <a:bodyPr/>
        <a:lstStyle/>
        <a:p>
          <a:endParaRPr lang="zh-CN" altLang="en-US"/>
        </a:p>
      </dgm:t>
    </dgm:pt>
    <dgm:pt modelId="{1CFD7590-89C8-4C61-A6DE-A33654BC1630}" type="pres">
      <dgm:prSet presAssocID="{9E759A74-98F4-496C-954F-335AB77915A1}" presName="desTx" presStyleLbl="fgAcc1" presStyleIdx="1" presStyleCnt="2">
        <dgm:presLayoutVars>
          <dgm:bulletEnabled val="1"/>
        </dgm:presLayoutVars>
      </dgm:prSet>
      <dgm:spPr/>
      <dgm:t>
        <a:bodyPr/>
        <a:lstStyle/>
        <a:p>
          <a:endParaRPr lang="zh-CN" altLang="en-US"/>
        </a:p>
      </dgm:t>
    </dgm:pt>
  </dgm:ptLst>
  <dgm:cxnLst>
    <dgm:cxn modelId="{839E3129-E748-443B-A92A-180A1AA657CF}" type="presOf" srcId="{D17E1417-E237-4982-A791-E0A3B01B6194}" destId="{1BF4DCD3-B8A0-44D5-AE53-F913D7053A15}" srcOrd="0" destOrd="3" presId="urn:microsoft.com/office/officeart/2005/8/layout/process3"/>
    <dgm:cxn modelId="{1BBB4B5F-9735-4CC2-961F-CC217224CB86}" type="presOf" srcId="{9E759A74-98F4-496C-954F-335AB77915A1}" destId="{D56FB266-0F10-44FF-90E1-540277037678}" srcOrd="0" destOrd="0" presId="urn:microsoft.com/office/officeart/2005/8/layout/process3"/>
    <dgm:cxn modelId="{A423CB53-09BF-4B37-814E-C7BCE8791742}" type="presOf" srcId="{F4AD8AE2-EA8F-4A62-B8CE-6614D9672DEB}" destId="{1BF4DCD3-B8A0-44D5-AE53-F913D7053A15}" srcOrd="0" destOrd="2" presId="urn:microsoft.com/office/officeart/2005/8/layout/process3"/>
    <dgm:cxn modelId="{037E3B7B-052C-42E6-8263-FA2C97609482}" type="presOf" srcId="{C95F4CE0-78D3-4A5C-A075-B566649BFD53}" destId="{5C41DF7F-9A65-4B5D-8BBB-1C39ACCC8660}" srcOrd="0" destOrd="0" presId="urn:microsoft.com/office/officeart/2005/8/layout/process3"/>
    <dgm:cxn modelId="{AAEB0335-49F7-419F-AAE8-978DE5DDA8E8}" srcId="{C95F4CE0-78D3-4A5C-A075-B566649BFD53}" destId="{9E759A74-98F4-496C-954F-335AB77915A1}" srcOrd="1" destOrd="0" parTransId="{6A6401C4-CAFE-4B56-98C8-C4546DCCAF0B}" sibTransId="{0AA2D43B-9F19-4B74-A50C-580891D2F323}"/>
    <dgm:cxn modelId="{D0FEE558-5AF8-4B07-9316-CF55E9B2085B}" type="presOf" srcId="{54B06C2B-6D3D-44CC-A3A3-BC591D7300D1}" destId="{1CFD7590-89C8-4C61-A6DE-A33654BC1630}" srcOrd="0" destOrd="1" presId="urn:microsoft.com/office/officeart/2005/8/layout/process3"/>
    <dgm:cxn modelId="{F8620BA8-F837-4C1C-A6D8-AB981BED101C}" type="presOf" srcId="{1B5B2D06-DB31-4122-B0EC-C113698B9D4B}" destId="{1CFD7590-89C8-4C61-A6DE-A33654BC1630}" srcOrd="0" destOrd="2" presId="urn:microsoft.com/office/officeart/2005/8/layout/process3"/>
    <dgm:cxn modelId="{2EC54FB9-B299-43BA-BBE9-80E88872DDCE}" srcId="{30C7B5D8-0E12-49F8-9FCA-66135CBA3447}" destId="{F4AD8AE2-EA8F-4A62-B8CE-6614D9672DEB}" srcOrd="2" destOrd="0" parTransId="{89BBAFB6-277D-4698-9F14-D04D912F8117}" sibTransId="{81592015-EDDF-4DAC-9AE2-A2F088252022}"/>
    <dgm:cxn modelId="{202A0548-9DCA-4B41-9485-4D07F266DCCF}" type="presOf" srcId="{8CE27C28-4690-4586-A2AA-78DF7D76693A}" destId="{1BF4DCD3-B8A0-44D5-AE53-F913D7053A15}" srcOrd="0" destOrd="0" presId="urn:microsoft.com/office/officeart/2005/8/layout/process3"/>
    <dgm:cxn modelId="{751D999A-40BA-4271-9586-34AB5EAA3292}" srcId="{30C7B5D8-0E12-49F8-9FCA-66135CBA3447}" destId="{2B47A3A7-45D7-41F0-82AD-23D5F785903C}" srcOrd="4" destOrd="0" parTransId="{2EEA351A-B6B8-4B40-B616-227490A56CEB}" sibTransId="{B2A7F079-9713-4A21-8455-F5FE3D6A92B3}"/>
    <dgm:cxn modelId="{F246D7A9-27E8-4446-A273-7378194C3294}" srcId="{9E759A74-98F4-496C-954F-335AB77915A1}" destId="{1B5B2D06-DB31-4122-B0EC-C113698B9D4B}" srcOrd="2" destOrd="0" parTransId="{DE72B376-464D-4798-B756-EEA3E8192565}" sibTransId="{ACB25D08-602B-4159-8298-5508A677DBC6}"/>
    <dgm:cxn modelId="{A091A53B-EE9C-4855-82D7-883DEF657FE1}" type="presOf" srcId="{DD5CCDB6-9564-4154-A20C-DAEBFC9EE173}" destId="{1BF4DCD3-B8A0-44D5-AE53-F913D7053A15}" srcOrd="0" destOrd="5" presId="urn:microsoft.com/office/officeart/2005/8/layout/process3"/>
    <dgm:cxn modelId="{3B755ED6-13CA-4DC1-A3F1-8509241F15A4}" type="presOf" srcId="{53C85310-DA19-4038-A5D6-1A5071470D95}" destId="{1CFD7590-89C8-4C61-A6DE-A33654BC1630}" srcOrd="0" destOrd="3" presId="urn:microsoft.com/office/officeart/2005/8/layout/process3"/>
    <dgm:cxn modelId="{AE49927D-62E6-4A4C-862B-9FA65023BE03}" type="presOf" srcId="{8641E22A-0CDF-4F37-B7A9-80492A7185D6}" destId="{E2D6CC94-A258-4F9F-A6D7-CD89959B6C9E}" srcOrd="1" destOrd="0" presId="urn:microsoft.com/office/officeart/2005/8/layout/process3"/>
    <dgm:cxn modelId="{DCEBDBFA-15E7-4231-B84D-EE16A17187A9}" srcId="{30C7B5D8-0E12-49F8-9FCA-66135CBA3447}" destId="{8CE27C28-4690-4586-A2AA-78DF7D76693A}" srcOrd="0" destOrd="0" parTransId="{2AF896D9-3E3F-488E-A3AF-DDF8694F1F9D}" sibTransId="{39861CB8-11C5-48FA-86FD-21F7CED70FB4}"/>
    <dgm:cxn modelId="{320C7911-32BF-47D6-858E-BD5EB37FF922}" srcId="{9E759A74-98F4-496C-954F-335AB77915A1}" destId="{53C85310-DA19-4038-A5D6-1A5071470D95}" srcOrd="3" destOrd="0" parTransId="{8F7B8932-1A56-4618-875C-AD45527E0F44}" sibTransId="{D2FAA9D2-ACF9-4F00-B932-078D401270A6}"/>
    <dgm:cxn modelId="{F91A4725-170B-4EE5-BD2A-D595EDECD94B}" srcId="{30C7B5D8-0E12-49F8-9FCA-66135CBA3447}" destId="{D17E1417-E237-4982-A791-E0A3B01B6194}" srcOrd="3" destOrd="0" parTransId="{F0181816-5EA7-4F8E-B0EB-FE0D0F30FAB7}" sibTransId="{93B79886-E9F3-4EB1-AF08-55D31B7B26A6}"/>
    <dgm:cxn modelId="{7A34B52B-8CEE-4061-B5B0-512E734E1244}" srcId="{30C7B5D8-0E12-49F8-9FCA-66135CBA3447}" destId="{DD5CCDB6-9564-4154-A20C-DAEBFC9EE173}" srcOrd="5" destOrd="0" parTransId="{1D1E6F95-D9CE-402A-9D83-403B8892E139}" sibTransId="{5BEC68D7-3CCD-49C7-82BA-D7A854540350}"/>
    <dgm:cxn modelId="{53FF40EA-F71E-42C2-B606-73B3E7029F91}" srcId="{30C7B5D8-0E12-49F8-9FCA-66135CBA3447}" destId="{A1075212-D4B9-4FB7-BCCB-08BF804DE33B}" srcOrd="1" destOrd="0" parTransId="{E5A00BAD-94D5-4C68-BD12-BABE295E588F}" sibTransId="{FBAF34F3-A31B-4258-B08E-1BA73C7259A4}"/>
    <dgm:cxn modelId="{7D08A681-5ABD-44EC-9337-281B70CDBA43}" srcId="{9E759A74-98F4-496C-954F-335AB77915A1}" destId="{54B06C2B-6D3D-44CC-A3A3-BC591D7300D1}" srcOrd="1" destOrd="0" parTransId="{A4BEAE6A-20C2-4453-9FB2-42466C301E94}" sibTransId="{3968E3BD-87F6-4943-924C-BF3EF7730506}"/>
    <dgm:cxn modelId="{6663EAE9-3F4B-4F0E-81B5-39901E3A9729}" type="presOf" srcId="{2B47A3A7-45D7-41F0-82AD-23D5F785903C}" destId="{1BF4DCD3-B8A0-44D5-AE53-F913D7053A15}" srcOrd="0" destOrd="4" presId="urn:microsoft.com/office/officeart/2005/8/layout/process3"/>
    <dgm:cxn modelId="{413D90D3-ABC4-4608-9364-3E24E1579D17}" type="presOf" srcId="{8641E22A-0CDF-4F37-B7A9-80492A7185D6}" destId="{0FA8DEF2-98EE-46F6-98BB-4559160D1BC0}" srcOrd="0" destOrd="0" presId="urn:microsoft.com/office/officeart/2005/8/layout/process3"/>
    <dgm:cxn modelId="{8688C868-F47A-43F7-BC9A-189F23ADDC6A}" type="presOf" srcId="{9E759A74-98F4-496C-954F-335AB77915A1}" destId="{32922C9D-111F-436D-8521-DE0FC814A6AD}" srcOrd="1" destOrd="0" presId="urn:microsoft.com/office/officeart/2005/8/layout/process3"/>
    <dgm:cxn modelId="{66336900-EA3C-4956-B29C-461F4110D7DC}" type="presOf" srcId="{30C7B5D8-0E12-49F8-9FCA-66135CBA3447}" destId="{47DE3CE5-2F99-4DBB-93A3-A401DA07F031}" srcOrd="1" destOrd="0" presId="urn:microsoft.com/office/officeart/2005/8/layout/process3"/>
    <dgm:cxn modelId="{0456151B-8DC3-4BCE-B2C5-1A207618833D}" srcId="{9E759A74-98F4-496C-954F-335AB77915A1}" destId="{DBCAAAD3-45F7-4C3B-9347-0B6DC4C3AE67}" srcOrd="0" destOrd="0" parTransId="{AE7DCB98-6925-4E5B-9A16-09AA25611DF7}" sibTransId="{1B98BA00-CA2E-4793-9627-2E0E4E2A2483}"/>
    <dgm:cxn modelId="{95D2DC3A-2A29-42F0-A85E-AF81AF53F576}" type="presOf" srcId="{30C7B5D8-0E12-49F8-9FCA-66135CBA3447}" destId="{D0DF7396-7985-4891-8944-FE17713133DC}" srcOrd="0" destOrd="0" presId="urn:microsoft.com/office/officeart/2005/8/layout/process3"/>
    <dgm:cxn modelId="{A80A2908-33F9-4E1F-8360-F6880DE6F4C8}" srcId="{C95F4CE0-78D3-4A5C-A075-B566649BFD53}" destId="{30C7B5D8-0E12-49F8-9FCA-66135CBA3447}" srcOrd="0" destOrd="0" parTransId="{CAC0F0FE-7DB6-4052-AAD0-AEA9BD96CD65}" sibTransId="{8641E22A-0CDF-4F37-B7A9-80492A7185D6}"/>
    <dgm:cxn modelId="{BD00708F-7B3E-45E0-AA4A-AACFF1A8D5A5}" type="presOf" srcId="{A1075212-D4B9-4FB7-BCCB-08BF804DE33B}" destId="{1BF4DCD3-B8A0-44D5-AE53-F913D7053A15}" srcOrd="0" destOrd="1" presId="urn:microsoft.com/office/officeart/2005/8/layout/process3"/>
    <dgm:cxn modelId="{D7B8A440-2290-4AF4-8B83-8F08B11245F2}" type="presOf" srcId="{DBCAAAD3-45F7-4C3B-9347-0B6DC4C3AE67}" destId="{1CFD7590-89C8-4C61-A6DE-A33654BC1630}" srcOrd="0" destOrd="0" presId="urn:microsoft.com/office/officeart/2005/8/layout/process3"/>
    <dgm:cxn modelId="{7672E7D7-F62B-4038-B9EB-C580B410A6DB}" type="presParOf" srcId="{5C41DF7F-9A65-4B5D-8BBB-1C39ACCC8660}" destId="{24C432BF-7C2B-4D4A-A91A-80D0B00201AC}" srcOrd="0" destOrd="0" presId="urn:microsoft.com/office/officeart/2005/8/layout/process3"/>
    <dgm:cxn modelId="{976B3B7B-7C85-438B-8B41-2BDE285209F9}" type="presParOf" srcId="{24C432BF-7C2B-4D4A-A91A-80D0B00201AC}" destId="{D0DF7396-7985-4891-8944-FE17713133DC}" srcOrd="0" destOrd="0" presId="urn:microsoft.com/office/officeart/2005/8/layout/process3"/>
    <dgm:cxn modelId="{0DCBBECB-002C-46E5-87A4-8AAA5BA80C6F}" type="presParOf" srcId="{24C432BF-7C2B-4D4A-A91A-80D0B00201AC}" destId="{47DE3CE5-2F99-4DBB-93A3-A401DA07F031}" srcOrd="1" destOrd="0" presId="urn:microsoft.com/office/officeart/2005/8/layout/process3"/>
    <dgm:cxn modelId="{BEDD97BA-AF14-440B-A88F-CECDF9D2FD0D}" type="presParOf" srcId="{24C432BF-7C2B-4D4A-A91A-80D0B00201AC}" destId="{1BF4DCD3-B8A0-44D5-AE53-F913D7053A15}" srcOrd="2" destOrd="0" presId="urn:microsoft.com/office/officeart/2005/8/layout/process3"/>
    <dgm:cxn modelId="{A674C893-CD50-47D7-90FF-D96C9E1A8B8A}" type="presParOf" srcId="{5C41DF7F-9A65-4B5D-8BBB-1C39ACCC8660}" destId="{0FA8DEF2-98EE-46F6-98BB-4559160D1BC0}" srcOrd="1" destOrd="0" presId="urn:microsoft.com/office/officeart/2005/8/layout/process3"/>
    <dgm:cxn modelId="{DD3F8BD8-50B2-44CB-847A-94C8419E1F3E}" type="presParOf" srcId="{0FA8DEF2-98EE-46F6-98BB-4559160D1BC0}" destId="{E2D6CC94-A258-4F9F-A6D7-CD89959B6C9E}" srcOrd="0" destOrd="0" presId="urn:microsoft.com/office/officeart/2005/8/layout/process3"/>
    <dgm:cxn modelId="{40A943FE-053A-489A-B018-E57A9629DB9F}" type="presParOf" srcId="{5C41DF7F-9A65-4B5D-8BBB-1C39ACCC8660}" destId="{FB66F9B3-D6BC-41CC-95E8-9671A157E01E}" srcOrd="2" destOrd="0" presId="urn:microsoft.com/office/officeart/2005/8/layout/process3"/>
    <dgm:cxn modelId="{A1378F13-FB1D-4527-B2A1-410A35E2A4FF}" type="presParOf" srcId="{FB66F9B3-D6BC-41CC-95E8-9671A157E01E}" destId="{D56FB266-0F10-44FF-90E1-540277037678}" srcOrd="0" destOrd="0" presId="urn:microsoft.com/office/officeart/2005/8/layout/process3"/>
    <dgm:cxn modelId="{F210B3AB-79E8-4A4A-AAA8-EFC6E68D8AD1}" type="presParOf" srcId="{FB66F9B3-D6BC-41CC-95E8-9671A157E01E}" destId="{32922C9D-111F-436D-8521-DE0FC814A6AD}" srcOrd="1" destOrd="0" presId="urn:microsoft.com/office/officeart/2005/8/layout/process3"/>
    <dgm:cxn modelId="{0C454B57-B66F-49A3-9A35-170B4173C46B}" type="presParOf" srcId="{FB66F9B3-D6BC-41CC-95E8-9671A157E01E}" destId="{1CFD7590-89C8-4C61-A6DE-A33654BC1630}"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77CD0D4B-7025-4FB6-95A0-06A87B689C9D}"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zh-CN" altLang="en-US"/>
        </a:p>
      </dgm:t>
    </dgm:pt>
    <dgm:pt modelId="{3808D1B8-D398-4994-BEF4-CDBA2D8FF132}">
      <dgm:prSet phldrT="[文本]"/>
      <dgm:spPr/>
      <dgm:t>
        <a:bodyPr/>
        <a:lstStyle/>
        <a:p>
          <a:r>
            <a:rPr lang="zh-CN" altLang="en-US" dirty="0" smtClean="0">
              <a:solidFill>
                <a:schemeClr val="tx1"/>
              </a:solidFill>
            </a:rPr>
            <a:t>物理环境</a:t>
          </a:r>
          <a:endParaRPr lang="zh-CN" altLang="en-US" dirty="0">
            <a:solidFill>
              <a:schemeClr val="tx1"/>
            </a:solidFill>
          </a:endParaRPr>
        </a:p>
      </dgm:t>
    </dgm:pt>
    <dgm:pt modelId="{DA63EFC6-E3C9-4AC3-9C6E-3413D1490447}" type="parTrans" cxnId="{E114B8C9-FAB5-4050-8DC5-FDA0F146D84A}">
      <dgm:prSet/>
      <dgm:spPr/>
      <dgm:t>
        <a:bodyPr/>
        <a:lstStyle/>
        <a:p>
          <a:endParaRPr lang="zh-CN" altLang="en-US">
            <a:solidFill>
              <a:schemeClr val="tx1"/>
            </a:solidFill>
          </a:endParaRPr>
        </a:p>
      </dgm:t>
    </dgm:pt>
    <dgm:pt modelId="{F67A4947-2A91-40B5-BA0D-5B06DAD7EA58}" type="sibTrans" cxnId="{E114B8C9-FAB5-4050-8DC5-FDA0F146D84A}">
      <dgm:prSet/>
      <dgm:spPr/>
      <dgm:t>
        <a:bodyPr/>
        <a:lstStyle/>
        <a:p>
          <a:endParaRPr lang="zh-CN" altLang="en-US">
            <a:solidFill>
              <a:schemeClr val="tx1"/>
            </a:solidFill>
          </a:endParaRPr>
        </a:p>
      </dgm:t>
    </dgm:pt>
    <dgm:pt modelId="{EA587149-477C-4952-829D-2023599F4E51}">
      <dgm:prSet phldrT="[文本]"/>
      <dgm:spPr/>
      <dgm:t>
        <a:bodyPr/>
        <a:lstStyle/>
        <a:p>
          <a:r>
            <a:rPr lang="zh-CN" altLang="en-US" dirty="0" smtClean="0">
              <a:solidFill>
                <a:schemeClr val="tx1"/>
              </a:solidFill>
            </a:rPr>
            <a:t>监控系统</a:t>
          </a:r>
          <a:endParaRPr lang="zh-CN" altLang="en-US" dirty="0">
            <a:solidFill>
              <a:schemeClr val="tx1"/>
            </a:solidFill>
          </a:endParaRPr>
        </a:p>
      </dgm:t>
    </dgm:pt>
    <dgm:pt modelId="{2FA03ACD-910B-4C30-99CD-3ED328C9AC00}" type="parTrans" cxnId="{637571EA-EB85-4712-9158-5B01467C97F0}">
      <dgm:prSet/>
      <dgm:spPr/>
      <dgm:t>
        <a:bodyPr/>
        <a:lstStyle/>
        <a:p>
          <a:endParaRPr lang="zh-CN" altLang="en-US">
            <a:solidFill>
              <a:schemeClr val="tx1"/>
            </a:solidFill>
          </a:endParaRPr>
        </a:p>
      </dgm:t>
    </dgm:pt>
    <dgm:pt modelId="{81E1C12E-F884-4076-9080-89E71AAFC0B2}" type="sibTrans" cxnId="{637571EA-EB85-4712-9158-5B01467C97F0}">
      <dgm:prSet/>
      <dgm:spPr/>
      <dgm:t>
        <a:bodyPr/>
        <a:lstStyle/>
        <a:p>
          <a:endParaRPr lang="zh-CN" altLang="en-US">
            <a:solidFill>
              <a:schemeClr val="tx1"/>
            </a:solidFill>
          </a:endParaRPr>
        </a:p>
      </dgm:t>
    </dgm:pt>
    <dgm:pt modelId="{B4DDF6D4-9083-4F69-8BB6-626593DF48BD}">
      <dgm:prSet phldrT="[文本]"/>
      <dgm:spPr/>
      <dgm:t>
        <a:bodyPr/>
        <a:lstStyle/>
        <a:p>
          <a:r>
            <a:rPr lang="zh-CN" altLang="en-US" dirty="0" smtClean="0">
              <a:solidFill>
                <a:schemeClr val="tx1"/>
              </a:solidFill>
            </a:rPr>
            <a:t>门禁系统</a:t>
          </a:r>
          <a:endParaRPr lang="zh-CN" altLang="en-US" dirty="0">
            <a:solidFill>
              <a:schemeClr val="tx1"/>
            </a:solidFill>
          </a:endParaRPr>
        </a:p>
      </dgm:t>
    </dgm:pt>
    <dgm:pt modelId="{77F32B51-FDBA-478B-90C3-46FA330CC16B}" type="parTrans" cxnId="{330C7E09-5810-4332-A7EF-DB129A74900C}">
      <dgm:prSet/>
      <dgm:spPr/>
      <dgm:t>
        <a:bodyPr/>
        <a:lstStyle/>
        <a:p>
          <a:endParaRPr lang="zh-CN" altLang="en-US">
            <a:solidFill>
              <a:schemeClr val="tx1"/>
            </a:solidFill>
          </a:endParaRPr>
        </a:p>
      </dgm:t>
    </dgm:pt>
    <dgm:pt modelId="{85ED7E07-32F3-479D-A824-53AC5449D2A2}" type="sibTrans" cxnId="{330C7E09-5810-4332-A7EF-DB129A74900C}">
      <dgm:prSet/>
      <dgm:spPr/>
      <dgm:t>
        <a:bodyPr/>
        <a:lstStyle/>
        <a:p>
          <a:endParaRPr lang="zh-CN" altLang="en-US">
            <a:solidFill>
              <a:schemeClr val="tx1"/>
            </a:solidFill>
          </a:endParaRPr>
        </a:p>
      </dgm:t>
    </dgm:pt>
    <dgm:pt modelId="{A31798FC-DA4A-4BFE-8ED2-1472E7F24065}">
      <dgm:prSet phldrT="[文本]"/>
      <dgm:spPr/>
      <dgm:t>
        <a:bodyPr/>
        <a:lstStyle/>
        <a:p>
          <a:r>
            <a:rPr lang="zh-CN" altLang="en-US" dirty="0" smtClean="0">
              <a:solidFill>
                <a:schemeClr val="tx1"/>
              </a:solidFill>
            </a:rPr>
            <a:t>网络环境</a:t>
          </a:r>
          <a:endParaRPr lang="zh-CN" altLang="en-US" dirty="0">
            <a:solidFill>
              <a:schemeClr val="tx1"/>
            </a:solidFill>
          </a:endParaRPr>
        </a:p>
      </dgm:t>
    </dgm:pt>
    <dgm:pt modelId="{DACEAC0E-E375-43B5-8D24-B87275857143}" type="parTrans" cxnId="{BA2ABB0D-1FA5-410D-907C-36024167A832}">
      <dgm:prSet/>
      <dgm:spPr/>
      <dgm:t>
        <a:bodyPr/>
        <a:lstStyle/>
        <a:p>
          <a:endParaRPr lang="zh-CN" altLang="en-US">
            <a:solidFill>
              <a:schemeClr val="tx1"/>
            </a:solidFill>
          </a:endParaRPr>
        </a:p>
      </dgm:t>
    </dgm:pt>
    <dgm:pt modelId="{0AAF3A86-1684-4C15-A67F-7366C000AECD}" type="sibTrans" cxnId="{BA2ABB0D-1FA5-410D-907C-36024167A832}">
      <dgm:prSet/>
      <dgm:spPr/>
      <dgm:t>
        <a:bodyPr/>
        <a:lstStyle/>
        <a:p>
          <a:endParaRPr lang="zh-CN" altLang="en-US">
            <a:solidFill>
              <a:schemeClr val="tx1"/>
            </a:solidFill>
          </a:endParaRPr>
        </a:p>
      </dgm:t>
    </dgm:pt>
    <dgm:pt modelId="{31C09A42-53C8-44AA-ADA4-6057FCCBEA7D}">
      <dgm:prSet phldrT="[文本]"/>
      <dgm:spPr/>
      <dgm:t>
        <a:bodyPr/>
        <a:lstStyle/>
        <a:p>
          <a:r>
            <a:rPr lang="zh-CN" altLang="en-US" dirty="0" smtClean="0">
              <a:solidFill>
                <a:schemeClr val="tx1"/>
              </a:solidFill>
            </a:rPr>
            <a:t>网络设备</a:t>
          </a:r>
          <a:endParaRPr lang="zh-CN" altLang="en-US" dirty="0">
            <a:solidFill>
              <a:schemeClr val="tx1"/>
            </a:solidFill>
          </a:endParaRPr>
        </a:p>
      </dgm:t>
    </dgm:pt>
    <dgm:pt modelId="{1ABC663F-E8EB-4957-8F78-2D92C2387B4A}" type="parTrans" cxnId="{45A34E9B-091A-4EB5-9F02-99E5EDFE51BD}">
      <dgm:prSet/>
      <dgm:spPr/>
      <dgm:t>
        <a:bodyPr/>
        <a:lstStyle/>
        <a:p>
          <a:endParaRPr lang="zh-CN" altLang="en-US">
            <a:solidFill>
              <a:schemeClr val="tx1"/>
            </a:solidFill>
          </a:endParaRPr>
        </a:p>
      </dgm:t>
    </dgm:pt>
    <dgm:pt modelId="{4CC096D5-DAC7-45B5-95E1-A7B2901F53E6}" type="sibTrans" cxnId="{45A34E9B-091A-4EB5-9F02-99E5EDFE51BD}">
      <dgm:prSet/>
      <dgm:spPr/>
      <dgm:t>
        <a:bodyPr/>
        <a:lstStyle/>
        <a:p>
          <a:endParaRPr lang="zh-CN" altLang="en-US">
            <a:solidFill>
              <a:schemeClr val="tx1"/>
            </a:solidFill>
          </a:endParaRPr>
        </a:p>
      </dgm:t>
    </dgm:pt>
    <dgm:pt modelId="{A22695B0-8ED8-4C61-8994-1BF46BB9F58D}">
      <dgm:prSet phldrT="[文本]"/>
      <dgm:spPr/>
      <dgm:t>
        <a:bodyPr/>
        <a:lstStyle/>
        <a:p>
          <a:r>
            <a:rPr lang="zh-CN" altLang="en-US" dirty="0" smtClean="0">
              <a:solidFill>
                <a:schemeClr val="tx1"/>
              </a:solidFill>
            </a:rPr>
            <a:t>安全设备</a:t>
          </a:r>
          <a:endParaRPr lang="zh-CN" altLang="en-US" dirty="0">
            <a:solidFill>
              <a:schemeClr val="tx1"/>
            </a:solidFill>
          </a:endParaRPr>
        </a:p>
      </dgm:t>
    </dgm:pt>
    <dgm:pt modelId="{A9AE4106-0853-432A-8C92-A1E22C24729E}" type="parTrans" cxnId="{4A2C1ABD-5BA5-4B72-A98E-0236323080B2}">
      <dgm:prSet/>
      <dgm:spPr/>
      <dgm:t>
        <a:bodyPr/>
        <a:lstStyle/>
        <a:p>
          <a:endParaRPr lang="zh-CN" altLang="en-US">
            <a:solidFill>
              <a:schemeClr val="tx1"/>
            </a:solidFill>
          </a:endParaRPr>
        </a:p>
      </dgm:t>
    </dgm:pt>
    <dgm:pt modelId="{3CF51E85-771A-462E-906E-19349C323A63}" type="sibTrans" cxnId="{4A2C1ABD-5BA5-4B72-A98E-0236323080B2}">
      <dgm:prSet/>
      <dgm:spPr/>
      <dgm:t>
        <a:bodyPr/>
        <a:lstStyle/>
        <a:p>
          <a:endParaRPr lang="zh-CN" altLang="en-US">
            <a:solidFill>
              <a:schemeClr val="tx1"/>
            </a:solidFill>
          </a:endParaRPr>
        </a:p>
      </dgm:t>
    </dgm:pt>
    <dgm:pt modelId="{4C0D1724-7F8A-4376-AC05-2FCCC2319E7F}">
      <dgm:prSet phldrT="[文本]"/>
      <dgm:spPr/>
      <dgm:t>
        <a:bodyPr/>
        <a:lstStyle/>
        <a:p>
          <a:r>
            <a:rPr lang="zh-CN" altLang="en-US" dirty="0" smtClean="0">
              <a:solidFill>
                <a:schemeClr val="tx1"/>
              </a:solidFill>
            </a:rPr>
            <a:t>环境设备</a:t>
          </a:r>
          <a:endParaRPr lang="zh-CN" altLang="en-US" dirty="0">
            <a:solidFill>
              <a:schemeClr val="tx1"/>
            </a:solidFill>
          </a:endParaRPr>
        </a:p>
      </dgm:t>
    </dgm:pt>
    <dgm:pt modelId="{97DE1480-EE0A-4900-9A66-4F01E235D44F}" type="parTrans" cxnId="{4205E1EF-CDB0-4D5B-BE3A-0D83A6FFF69A}">
      <dgm:prSet/>
      <dgm:spPr/>
      <dgm:t>
        <a:bodyPr/>
        <a:lstStyle/>
        <a:p>
          <a:endParaRPr lang="zh-CN" altLang="en-US">
            <a:solidFill>
              <a:schemeClr val="tx1"/>
            </a:solidFill>
          </a:endParaRPr>
        </a:p>
      </dgm:t>
    </dgm:pt>
    <dgm:pt modelId="{9E9060B6-A9E7-4EFD-B552-8B662B3CEED2}" type="sibTrans" cxnId="{4205E1EF-CDB0-4D5B-BE3A-0D83A6FFF69A}">
      <dgm:prSet/>
      <dgm:spPr/>
      <dgm:t>
        <a:bodyPr/>
        <a:lstStyle/>
        <a:p>
          <a:endParaRPr lang="zh-CN" altLang="en-US">
            <a:solidFill>
              <a:schemeClr val="tx1"/>
            </a:solidFill>
          </a:endParaRPr>
        </a:p>
      </dgm:t>
    </dgm:pt>
    <dgm:pt modelId="{19014497-65C2-4A97-804C-2AEBF35C7B39}">
      <dgm:prSet phldrT="[文本]"/>
      <dgm:spPr/>
      <dgm:t>
        <a:bodyPr/>
        <a:lstStyle/>
        <a:p>
          <a:r>
            <a:rPr lang="zh-CN" altLang="en-US" dirty="0" smtClean="0">
              <a:solidFill>
                <a:schemeClr val="tx1"/>
              </a:solidFill>
            </a:rPr>
            <a:t>服务器</a:t>
          </a:r>
          <a:endParaRPr lang="zh-CN" altLang="en-US" dirty="0">
            <a:solidFill>
              <a:schemeClr val="tx1"/>
            </a:solidFill>
          </a:endParaRPr>
        </a:p>
      </dgm:t>
    </dgm:pt>
    <dgm:pt modelId="{1FA2BC8C-7481-4ACF-B5D4-9E82E495B330}" type="parTrans" cxnId="{0CC71A6E-CE8E-44B5-BFDD-65B2F62CA516}">
      <dgm:prSet/>
      <dgm:spPr/>
      <dgm:t>
        <a:bodyPr/>
        <a:lstStyle/>
        <a:p>
          <a:endParaRPr lang="zh-CN" altLang="en-US">
            <a:solidFill>
              <a:schemeClr val="tx1"/>
            </a:solidFill>
          </a:endParaRPr>
        </a:p>
      </dgm:t>
    </dgm:pt>
    <dgm:pt modelId="{C358349A-BB58-4FC3-8C0B-F85B1A4B727A}" type="sibTrans" cxnId="{0CC71A6E-CE8E-44B5-BFDD-65B2F62CA516}">
      <dgm:prSet/>
      <dgm:spPr/>
      <dgm:t>
        <a:bodyPr/>
        <a:lstStyle/>
        <a:p>
          <a:endParaRPr lang="zh-CN" altLang="en-US">
            <a:solidFill>
              <a:schemeClr val="tx1"/>
            </a:solidFill>
          </a:endParaRPr>
        </a:p>
      </dgm:t>
    </dgm:pt>
    <dgm:pt modelId="{8DC6A859-0750-40F9-9474-59EEB7CEA8EC}">
      <dgm:prSet phldrT="[文本]"/>
      <dgm:spPr/>
      <dgm:t>
        <a:bodyPr/>
        <a:lstStyle/>
        <a:p>
          <a:r>
            <a:rPr lang="zh-CN" altLang="en-US" dirty="0" smtClean="0">
              <a:solidFill>
                <a:schemeClr val="tx1"/>
              </a:solidFill>
            </a:rPr>
            <a:t>终端</a:t>
          </a:r>
          <a:endParaRPr lang="zh-CN" altLang="en-US" dirty="0">
            <a:solidFill>
              <a:schemeClr val="tx1"/>
            </a:solidFill>
          </a:endParaRPr>
        </a:p>
      </dgm:t>
    </dgm:pt>
    <dgm:pt modelId="{940D423A-C12B-4A10-B112-7E452949CE68}" type="parTrans" cxnId="{DEFD7798-4D2B-46A0-9737-9B4B45628FA9}">
      <dgm:prSet/>
      <dgm:spPr/>
      <dgm:t>
        <a:bodyPr/>
        <a:lstStyle/>
        <a:p>
          <a:endParaRPr lang="zh-CN" altLang="en-US">
            <a:solidFill>
              <a:schemeClr val="tx1"/>
            </a:solidFill>
          </a:endParaRPr>
        </a:p>
      </dgm:t>
    </dgm:pt>
    <dgm:pt modelId="{35D9C209-298F-4DDF-9A0F-007F2AA117E2}" type="sibTrans" cxnId="{DEFD7798-4D2B-46A0-9737-9B4B45628FA9}">
      <dgm:prSet/>
      <dgm:spPr/>
      <dgm:t>
        <a:bodyPr/>
        <a:lstStyle/>
        <a:p>
          <a:endParaRPr lang="zh-CN" altLang="en-US">
            <a:solidFill>
              <a:schemeClr val="tx1"/>
            </a:solidFill>
          </a:endParaRPr>
        </a:p>
      </dgm:t>
    </dgm:pt>
    <dgm:pt modelId="{57FA270C-9A0D-4742-A0FE-A69C510DD39C}">
      <dgm:prSet phldrT="[文本]"/>
      <dgm:spPr/>
      <dgm:t>
        <a:bodyPr/>
        <a:lstStyle/>
        <a:p>
          <a:r>
            <a:rPr lang="zh-CN" altLang="en-US" dirty="0" smtClean="0">
              <a:solidFill>
                <a:schemeClr val="tx1"/>
              </a:solidFill>
            </a:rPr>
            <a:t>基础设施</a:t>
          </a:r>
          <a:endParaRPr lang="zh-CN" altLang="en-US" dirty="0">
            <a:solidFill>
              <a:schemeClr val="tx1"/>
            </a:solidFill>
          </a:endParaRPr>
        </a:p>
      </dgm:t>
    </dgm:pt>
    <dgm:pt modelId="{EC3F6A6B-B697-42D0-9412-8CAD225374F4}" type="parTrans" cxnId="{672B78F9-C2AA-4AE8-9343-A29DC90D7D71}">
      <dgm:prSet/>
      <dgm:spPr/>
      <dgm:t>
        <a:bodyPr/>
        <a:lstStyle/>
        <a:p>
          <a:endParaRPr lang="zh-CN" altLang="en-US">
            <a:solidFill>
              <a:schemeClr val="tx1"/>
            </a:solidFill>
          </a:endParaRPr>
        </a:p>
      </dgm:t>
    </dgm:pt>
    <dgm:pt modelId="{777BF9B1-C325-4D15-BD84-B6A1259B54AC}" type="sibTrans" cxnId="{672B78F9-C2AA-4AE8-9343-A29DC90D7D71}">
      <dgm:prSet/>
      <dgm:spPr/>
      <dgm:t>
        <a:bodyPr/>
        <a:lstStyle/>
        <a:p>
          <a:endParaRPr lang="zh-CN" altLang="en-US">
            <a:solidFill>
              <a:schemeClr val="tx1"/>
            </a:solidFill>
          </a:endParaRPr>
        </a:p>
      </dgm:t>
    </dgm:pt>
    <dgm:pt modelId="{E3D8CED7-9A58-49CF-81FE-9B3BB6998DBE}">
      <dgm:prSet phldrT="[文本]"/>
      <dgm:spPr/>
      <dgm:t>
        <a:bodyPr/>
        <a:lstStyle/>
        <a:p>
          <a:r>
            <a:rPr lang="zh-CN" altLang="en-US" dirty="0" smtClean="0">
              <a:solidFill>
                <a:schemeClr val="tx1"/>
              </a:solidFill>
            </a:rPr>
            <a:t>其它设备</a:t>
          </a:r>
          <a:endParaRPr lang="zh-CN" altLang="en-US" dirty="0">
            <a:solidFill>
              <a:schemeClr val="tx1"/>
            </a:solidFill>
          </a:endParaRPr>
        </a:p>
      </dgm:t>
    </dgm:pt>
    <dgm:pt modelId="{3E0D6FE1-DFEC-4944-8324-A67AB549DBF2}" type="parTrans" cxnId="{EA86A750-3D6C-4D22-9BCC-573937EC3B93}">
      <dgm:prSet/>
      <dgm:spPr/>
      <dgm:t>
        <a:bodyPr/>
        <a:lstStyle/>
        <a:p>
          <a:endParaRPr lang="zh-CN" altLang="en-US">
            <a:solidFill>
              <a:schemeClr val="tx1"/>
            </a:solidFill>
          </a:endParaRPr>
        </a:p>
      </dgm:t>
    </dgm:pt>
    <dgm:pt modelId="{887D72AD-02D6-4D4B-9905-1BA6936026D2}" type="sibTrans" cxnId="{EA86A750-3D6C-4D22-9BCC-573937EC3B93}">
      <dgm:prSet/>
      <dgm:spPr/>
      <dgm:t>
        <a:bodyPr/>
        <a:lstStyle/>
        <a:p>
          <a:endParaRPr lang="zh-CN" altLang="en-US">
            <a:solidFill>
              <a:schemeClr val="tx1"/>
            </a:solidFill>
          </a:endParaRPr>
        </a:p>
      </dgm:t>
    </dgm:pt>
    <dgm:pt modelId="{94E8FE64-EA80-4397-BDE2-D6186DFC6CB5}">
      <dgm:prSet phldrT="[文本]"/>
      <dgm:spPr/>
      <dgm:t>
        <a:bodyPr/>
        <a:lstStyle/>
        <a:p>
          <a:r>
            <a:rPr lang="zh-CN" altLang="en-US" dirty="0" smtClean="0">
              <a:solidFill>
                <a:schemeClr val="tx1"/>
              </a:solidFill>
            </a:rPr>
            <a:t>环境系统</a:t>
          </a:r>
          <a:endParaRPr lang="zh-CN" altLang="en-US" dirty="0">
            <a:solidFill>
              <a:schemeClr val="tx1"/>
            </a:solidFill>
          </a:endParaRPr>
        </a:p>
      </dgm:t>
    </dgm:pt>
    <dgm:pt modelId="{0949E5A2-9D6A-48BE-92EE-0546E75EE338}" type="parTrans" cxnId="{E8B697DF-383B-4811-8E08-BF20D5C5CFC5}">
      <dgm:prSet/>
      <dgm:spPr/>
      <dgm:t>
        <a:bodyPr/>
        <a:lstStyle/>
        <a:p>
          <a:endParaRPr lang="zh-CN" altLang="en-US">
            <a:solidFill>
              <a:schemeClr val="tx1"/>
            </a:solidFill>
          </a:endParaRPr>
        </a:p>
      </dgm:t>
    </dgm:pt>
    <dgm:pt modelId="{890E3A41-65F9-41BA-89FE-B6910BBC2A69}" type="sibTrans" cxnId="{E8B697DF-383B-4811-8E08-BF20D5C5CFC5}">
      <dgm:prSet/>
      <dgm:spPr/>
      <dgm:t>
        <a:bodyPr/>
        <a:lstStyle/>
        <a:p>
          <a:endParaRPr lang="zh-CN" altLang="en-US">
            <a:solidFill>
              <a:schemeClr val="tx1"/>
            </a:solidFill>
          </a:endParaRPr>
        </a:p>
      </dgm:t>
    </dgm:pt>
    <dgm:pt modelId="{A0851C66-D98D-403A-B478-A2FCA6C72157}">
      <dgm:prSet phldrT="[文本]"/>
      <dgm:spPr/>
      <dgm:t>
        <a:bodyPr/>
        <a:lstStyle/>
        <a:p>
          <a:r>
            <a:rPr lang="zh-CN" altLang="en-US" dirty="0" smtClean="0">
              <a:solidFill>
                <a:schemeClr val="tx1"/>
              </a:solidFill>
            </a:rPr>
            <a:t>认证系统</a:t>
          </a:r>
          <a:endParaRPr lang="zh-CN" altLang="en-US" dirty="0">
            <a:solidFill>
              <a:schemeClr val="tx1"/>
            </a:solidFill>
          </a:endParaRPr>
        </a:p>
      </dgm:t>
    </dgm:pt>
    <dgm:pt modelId="{CC44837B-654B-4944-BE54-29DEF27C0858}" type="parTrans" cxnId="{25EC4CDC-5F14-4BA8-ACDA-15371CD8B217}">
      <dgm:prSet/>
      <dgm:spPr/>
      <dgm:t>
        <a:bodyPr/>
        <a:lstStyle/>
        <a:p>
          <a:endParaRPr lang="zh-CN" altLang="en-US">
            <a:solidFill>
              <a:schemeClr val="tx1"/>
            </a:solidFill>
          </a:endParaRPr>
        </a:p>
      </dgm:t>
    </dgm:pt>
    <dgm:pt modelId="{74CD3522-08E8-4C09-8A1B-65F9DD9D2F77}" type="sibTrans" cxnId="{25EC4CDC-5F14-4BA8-ACDA-15371CD8B217}">
      <dgm:prSet/>
      <dgm:spPr/>
      <dgm:t>
        <a:bodyPr/>
        <a:lstStyle/>
        <a:p>
          <a:endParaRPr lang="zh-CN" altLang="en-US">
            <a:solidFill>
              <a:schemeClr val="tx1"/>
            </a:solidFill>
          </a:endParaRPr>
        </a:p>
      </dgm:t>
    </dgm:pt>
    <dgm:pt modelId="{D490EA33-62DB-4CB0-B578-29E61790051B}">
      <dgm:prSet phldrT="[文本]"/>
      <dgm:spPr/>
      <dgm:t>
        <a:bodyPr/>
        <a:lstStyle/>
        <a:p>
          <a:r>
            <a:rPr lang="zh-CN" altLang="en-US" dirty="0" smtClean="0">
              <a:solidFill>
                <a:schemeClr val="tx1"/>
              </a:solidFill>
            </a:rPr>
            <a:t>交互系统</a:t>
          </a:r>
          <a:endParaRPr lang="zh-CN" altLang="en-US" dirty="0">
            <a:solidFill>
              <a:schemeClr val="tx1"/>
            </a:solidFill>
          </a:endParaRPr>
        </a:p>
      </dgm:t>
    </dgm:pt>
    <dgm:pt modelId="{2C541F53-D4F5-4365-BFFF-0950BBDC1A1D}" type="parTrans" cxnId="{6EF5F75C-EF06-439A-8738-FDFED28B6188}">
      <dgm:prSet/>
      <dgm:spPr/>
      <dgm:t>
        <a:bodyPr/>
        <a:lstStyle/>
        <a:p>
          <a:endParaRPr lang="zh-CN" altLang="en-US">
            <a:solidFill>
              <a:schemeClr val="tx1"/>
            </a:solidFill>
          </a:endParaRPr>
        </a:p>
      </dgm:t>
    </dgm:pt>
    <dgm:pt modelId="{FFC8A0B5-0AA3-4661-A7D2-4A0EAD0DE789}" type="sibTrans" cxnId="{6EF5F75C-EF06-439A-8738-FDFED28B6188}">
      <dgm:prSet/>
      <dgm:spPr/>
      <dgm:t>
        <a:bodyPr/>
        <a:lstStyle/>
        <a:p>
          <a:endParaRPr lang="zh-CN" altLang="en-US">
            <a:solidFill>
              <a:schemeClr val="tx1"/>
            </a:solidFill>
          </a:endParaRPr>
        </a:p>
      </dgm:t>
    </dgm:pt>
    <dgm:pt modelId="{92210B8D-6E6F-48D6-A4DA-45737F80366A}">
      <dgm:prSet phldrT="[文本]"/>
      <dgm:spPr/>
      <dgm:t>
        <a:bodyPr/>
        <a:lstStyle/>
        <a:p>
          <a:r>
            <a:rPr lang="zh-CN" altLang="en-US" dirty="0" smtClean="0">
              <a:solidFill>
                <a:schemeClr val="tx1"/>
              </a:solidFill>
            </a:rPr>
            <a:t>旁站系统</a:t>
          </a:r>
          <a:endParaRPr lang="zh-CN" altLang="en-US" dirty="0">
            <a:solidFill>
              <a:schemeClr val="tx1"/>
            </a:solidFill>
          </a:endParaRPr>
        </a:p>
      </dgm:t>
    </dgm:pt>
    <dgm:pt modelId="{13E974F8-33B4-4EB3-957E-9BA4144B92B4}" type="parTrans" cxnId="{B0D086E3-D445-4010-A8D6-78D6C14BB3D9}">
      <dgm:prSet/>
      <dgm:spPr/>
      <dgm:t>
        <a:bodyPr/>
        <a:lstStyle/>
        <a:p>
          <a:endParaRPr lang="zh-CN" altLang="en-US">
            <a:solidFill>
              <a:schemeClr val="tx1"/>
            </a:solidFill>
          </a:endParaRPr>
        </a:p>
      </dgm:t>
    </dgm:pt>
    <dgm:pt modelId="{FBBD8C8D-B151-41E4-90F9-4B66B803C7FF}" type="sibTrans" cxnId="{B0D086E3-D445-4010-A8D6-78D6C14BB3D9}">
      <dgm:prSet/>
      <dgm:spPr/>
      <dgm:t>
        <a:bodyPr/>
        <a:lstStyle/>
        <a:p>
          <a:endParaRPr lang="zh-CN" altLang="en-US">
            <a:solidFill>
              <a:schemeClr val="tx1"/>
            </a:solidFill>
          </a:endParaRPr>
        </a:p>
      </dgm:t>
    </dgm:pt>
    <dgm:pt modelId="{FA5F64DC-5077-44CB-A54C-0362279EE164}">
      <dgm:prSet phldrT="[文本]"/>
      <dgm:spPr/>
      <dgm:t>
        <a:bodyPr/>
        <a:lstStyle/>
        <a:p>
          <a:r>
            <a:rPr lang="zh-CN" altLang="en-US" dirty="0" smtClean="0">
              <a:solidFill>
                <a:schemeClr val="tx1"/>
              </a:solidFill>
            </a:rPr>
            <a:t>源代码</a:t>
          </a:r>
          <a:endParaRPr lang="zh-CN" altLang="en-US" dirty="0">
            <a:solidFill>
              <a:schemeClr val="tx1"/>
            </a:solidFill>
          </a:endParaRPr>
        </a:p>
      </dgm:t>
    </dgm:pt>
    <dgm:pt modelId="{B43D5451-0A30-49AA-B0D5-7E4BD6BCB2C1}" type="parTrans" cxnId="{56E2C368-3419-4B08-B90C-F1F64EA028D3}">
      <dgm:prSet/>
      <dgm:spPr/>
      <dgm:t>
        <a:bodyPr/>
        <a:lstStyle/>
        <a:p>
          <a:endParaRPr lang="zh-CN" altLang="en-US">
            <a:solidFill>
              <a:schemeClr val="tx1"/>
            </a:solidFill>
          </a:endParaRPr>
        </a:p>
      </dgm:t>
    </dgm:pt>
    <dgm:pt modelId="{180D67DC-54EF-4982-8145-7D4A1B74A8B0}" type="sibTrans" cxnId="{56E2C368-3419-4B08-B90C-F1F64EA028D3}">
      <dgm:prSet/>
      <dgm:spPr/>
      <dgm:t>
        <a:bodyPr/>
        <a:lstStyle/>
        <a:p>
          <a:endParaRPr lang="zh-CN" altLang="en-US">
            <a:solidFill>
              <a:schemeClr val="tx1"/>
            </a:solidFill>
          </a:endParaRPr>
        </a:p>
      </dgm:t>
    </dgm:pt>
    <dgm:pt modelId="{BD47E16D-D854-4BBE-B7FA-9DE4B3F020B7}">
      <dgm:prSet phldrT="[文本]"/>
      <dgm:spPr/>
      <dgm:t>
        <a:bodyPr/>
        <a:lstStyle/>
        <a:p>
          <a:r>
            <a:rPr lang="zh-CN" altLang="en-US" dirty="0" smtClean="0">
              <a:solidFill>
                <a:schemeClr val="tx1"/>
              </a:solidFill>
            </a:rPr>
            <a:t>管理平台</a:t>
          </a:r>
          <a:endParaRPr lang="zh-CN" altLang="en-US" dirty="0">
            <a:solidFill>
              <a:schemeClr val="tx1"/>
            </a:solidFill>
          </a:endParaRPr>
        </a:p>
      </dgm:t>
    </dgm:pt>
    <dgm:pt modelId="{6CE4495A-3DA3-4F17-87E0-C4ACB172B29E}" type="parTrans" cxnId="{B328F8D8-49C3-43E6-9322-6ED7DC170C34}">
      <dgm:prSet/>
      <dgm:spPr/>
      <dgm:t>
        <a:bodyPr/>
        <a:lstStyle/>
        <a:p>
          <a:endParaRPr lang="zh-CN" altLang="en-US">
            <a:solidFill>
              <a:schemeClr val="tx1"/>
            </a:solidFill>
          </a:endParaRPr>
        </a:p>
      </dgm:t>
    </dgm:pt>
    <dgm:pt modelId="{BCF6CD9E-F06B-49D2-8AF0-8C25B0DC12B2}" type="sibTrans" cxnId="{B328F8D8-49C3-43E6-9322-6ED7DC170C34}">
      <dgm:prSet/>
      <dgm:spPr/>
      <dgm:t>
        <a:bodyPr/>
        <a:lstStyle/>
        <a:p>
          <a:endParaRPr lang="zh-CN" altLang="en-US">
            <a:solidFill>
              <a:schemeClr val="tx1"/>
            </a:solidFill>
          </a:endParaRPr>
        </a:p>
      </dgm:t>
    </dgm:pt>
    <dgm:pt modelId="{9C3FB3A2-5F85-437F-8E90-0785AF9E80C5}">
      <dgm:prSet phldrT="[文本]"/>
      <dgm:spPr/>
      <dgm:t>
        <a:bodyPr/>
        <a:lstStyle/>
        <a:p>
          <a:r>
            <a:rPr lang="zh-CN" altLang="en-US" dirty="0" smtClean="0">
              <a:solidFill>
                <a:schemeClr val="tx1"/>
              </a:solidFill>
            </a:rPr>
            <a:t>环境权限</a:t>
          </a:r>
          <a:endParaRPr lang="zh-CN" altLang="en-US" dirty="0">
            <a:solidFill>
              <a:schemeClr val="tx1"/>
            </a:solidFill>
          </a:endParaRPr>
        </a:p>
      </dgm:t>
    </dgm:pt>
    <dgm:pt modelId="{82E37E5C-5290-4990-B095-7F7C5837E778}" type="parTrans" cxnId="{798EE0EF-740F-4A0A-A65D-F04570967E49}">
      <dgm:prSet/>
      <dgm:spPr/>
      <dgm:t>
        <a:bodyPr/>
        <a:lstStyle/>
        <a:p>
          <a:endParaRPr lang="zh-CN" altLang="en-US">
            <a:solidFill>
              <a:schemeClr val="tx1"/>
            </a:solidFill>
          </a:endParaRPr>
        </a:p>
      </dgm:t>
    </dgm:pt>
    <dgm:pt modelId="{73BA330B-72EB-4150-8702-6BFCFA6A6C1E}" type="sibTrans" cxnId="{798EE0EF-740F-4A0A-A65D-F04570967E49}">
      <dgm:prSet/>
      <dgm:spPr/>
      <dgm:t>
        <a:bodyPr/>
        <a:lstStyle/>
        <a:p>
          <a:endParaRPr lang="zh-CN" altLang="en-US">
            <a:solidFill>
              <a:schemeClr val="tx1"/>
            </a:solidFill>
          </a:endParaRPr>
        </a:p>
      </dgm:t>
    </dgm:pt>
    <dgm:pt modelId="{767A5B9F-8483-475E-863F-61E37F8D1E1F}">
      <dgm:prSet phldrT="[文本]"/>
      <dgm:spPr/>
      <dgm:t>
        <a:bodyPr/>
        <a:lstStyle/>
        <a:p>
          <a:r>
            <a:rPr lang="zh-CN" altLang="en-US" dirty="0" smtClean="0">
              <a:solidFill>
                <a:schemeClr val="tx1"/>
              </a:solidFill>
            </a:rPr>
            <a:t>认证关联</a:t>
          </a:r>
          <a:endParaRPr lang="zh-CN" altLang="en-US" dirty="0">
            <a:solidFill>
              <a:schemeClr val="tx1"/>
            </a:solidFill>
          </a:endParaRPr>
        </a:p>
      </dgm:t>
    </dgm:pt>
    <dgm:pt modelId="{EE7B2740-8656-4FE6-BD1A-4C2499A97899}" type="parTrans" cxnId="{A6CAD128-8F7F-4EC7-97B8-93E5BB94F9FF}">
      <dgm:prSet/>
      <dgm:spPr/>
      <dgm:t>
        <a:bodyPr/>
        <a:lstStyle/>
        <a:p>
          <a:endParaRPr lang="zh-CN" altLang="en-US">
            <a:solidFill>
              <a:schemeClr val="tx1"/>
            </a:solidFill>
          </a:endParaRPr>
        </a:p>
      </dgm:t>
    </dgm:pt>
    <dgm:pt modelId="{0053D43E-4FF2-4F3F-B81E-96A2DD77F01B}" type="sibTrans" cxnId="{A6CAD128-8F7F-4EC7-97B8-93E5BB94F9FF}">
      <dgm:prSet/>
      <dgm:spPr/>
      <dgm:t>
        <a:bodyPr/>
        <a:lstStyle/>
        <a:p>
          <a:endParaRPr lang="zh-CN" altLang="en-US">
            <a:solidFill>
              <a:schemeClr val="tx1"/>
            </a:solidFill>
          </a:endParaRPr>
        </a:p>
      </dgm:t>
    </dgm:pt>
    <dgm:pt modelId="{AB78E311-A29A-4329-8D70-36DF2CC57B8E}">
      <dgm:prSet phldrT="[文本]"/>
      <dgm:spPr/>
      <dgm:t>
        <a:bodyPr/>
        <a:lstStyle/>
        <a:p>
          <a:r>
            <a:rPr lang="zh-CN" altLang="en-US" dirty="0" smtClean="0">
              <a:solidFill>
                <a:schemeClr val="tx1"/>
              </a:solidFill>
            </a:rPr>
            <a:t>帐户关联</a:t>
          </a:r>
          <a:endParaRPr lang="zh-CN" altLang="en-US" dirty="0">
            <a:solidFill>
              <a:schemeClr val="tx1"/>
            </a:solidFill>
          </a:endParaRPr>
        </a:p>
      </dgm:t>
    </dgm:pt>
    <dgm:pt modelId="{2CAAFBE0-5D5A-40DA-A79D-916C3261AC14}" type="parTrans" cxnId="{D3972264-1860-4150-A725-A8489A85C526}">
      <dgm:prSet/>
      <dgm:spPr/>
      <dgm:t>
        <a:bodyPr/>
        <a:lstStyle/>
        <a:p>
          <a:endParaRPr lang="zh-CN" altLang="en-US">
            <a:solidFill>
              <a:schemeClr val="tx1"/>
            </a:solidFill>
          </a:endParaRPr>
        </a:p>
      </dgm:t>
    </dgm:pt>
    <dgm:pt modelId="{21589322-4DB5-4C8F-8EBE-3D7C7F64998C}" type="sibTrans" cxnId="{D3972264-1860-4150-A725-A8489A85C526}">
      <dgm:prSet/>
      <dgm:spPr/>
      <dgm:t>
        <a:bodyPr/>
        <a:lstStyle/>
        <a:p>
          <a:endParaRPr lang="zh-CN" altLang="en-US">
            <a:solidFill>
              <a:schemeClr val="tx1"/>
            </a:solidFill>
          </a:endParaRPr>
        </a:p>
      </dgm:t>
    </dgm:pt>
    <dgm:pt modelId="{BFD48F44-BA1D-4F46-8E69-9685FCB3FDB8}">
      <dgm:prSet phldrT="[文本]"/>
      <dgm:spPr/>
      <dgm:t>
        <a:bodyPr/>
        <a:lstStyle/>
        <a:p>
          <a:r>
            <a:rPr lang="zh-CN" altLang="en-US" dirty="0" smtClean="0">
              <a:solidFill>
                <a:schemeClr val="tx1"/>
              </a:solidFill>
            </a:rPr>
            <a:t>密码关联</a:t>
          </a:r>
          <a:endParaRPr lang="zh-CN" altLang="en-US" dirty="0">
            <a:solidFill>
              <a:schemeClr val="tx1"/>
            </a:solidFill>
          </a:endParaRPr>
        </a:p>
      </dgm:t>
    </dgm:pt>
    <dgm:pt modelId="{58ED6C03-A645-40D3-B78E-B3B0200685FE}" type="parTrans" cxnId="{2CCDA5E8-949A-4397-8D06-C07307F9845D}">
      <dgm:prSet/>
      <dgm:spPr/>
      <dgm:t>
        <a:bodyPr/>
        <a:lstStyle/>
        <a:p>
          <a:endParaRPr lang="zh-CN" altLang="en-US">
            <a:solidFill>
              <a:schemeClr val="tx1"/>
            </a:solidFill>
          </a:endParaRPr>
        </a:p>
      </dgm:t>
    </dgm:pt>
    <dgm:pt modelId="{F5BCC0AD-00DC-4751-9CC2-3EEF1997DC65}" type="sibTrans" cxnId="{2CCDA5E8-949A-4397-8D06-C07307F9845D}">
      <dgm:prSet/>
      <dgm:spPr/>
      <dgm:t>
        <a:bodyPr/>
        <a:lstStyle/>
        <a:p>
          <a:endParaRPr lang="zh-CN" altLang="en-US">
            <a:solidFill>
              <a:schemeClr val="tx1"/>
            </a:solidFill>
          </a:endParaRPr>
        </a:p>
      </dgm:t>
    </dgm:pt>
    <dgm:pt modelId="{A297EDDB-9574-475B-8FEB-343BF08F1D34}">
      <dgm:prSet phldrT="[文本]"/>
      <dgm:spPr/>
      <dgm:t>
        <a:bodyPr/>
        <a:lstStyle/>
        <a:p>
          <a:r>
            <a:rPr lang="zh-CN" altLang="en-US" dirty="0" smtClean="0">
              <a:solidFill>
                <a:schemeClr val="tx1"/>
              </a:solidFill>
            </a:rPr>
            <a:t>用户关联</a:t>
          </a:r>
          <a:endParaRPr lang="zh-CN" altLang="en-US" dirty="0">
            <a:solidFill>
              <a:schemeClr val="tx1"/>
            </a:solidFill>
          </a:endParaRPr>
        </a:p>
      </dgm:t>
    </dgm:pt>
    <dgm:pt modelId="{F445232D-9C6B-4ECB-B99B-44ED3C3F9CAC}" type="parTrans" cxnId="{9790D244-587C-495D-99C4-A99195FA957A}">
      <dgm:prSet/>
      <dgm:spPr/>
      <dgm:t>
        <a:bodyPr/>
        <a:lstStyle/>
        <a:p>
          <a:endParaRPr lang="zh-CN" altLang="en-US">
            <a:solidFill>
              <a:schemeClr val="tx1"/>
            </a:solidFill>
          </a:endParaRPr>
        </a:p>
      </dgm:t>
    </dgm:pt>
    <dgm:pt modelId="{EC91222E-CDE0-4519-91E5-98F466C74917}" type="sibTrans" cxnId="{9790D244-587C-495D-99C4-A99195FA957A}">
      <dgm:prSet/>
      <dgm:spPr/>
      <dgm:t>
        <a:bodyPr/>
        <a:lstStyle/>
        <a:p>
          <a:endParaRPr lang="zh-CN" altLang="en-US">
            <a:solidFill>
              <a:schemeClr val="tx1"/>
            </a:solidFill>
          </a:endParaRPr>
        </a:p>
      </dgm:t>
    </dgm:pt>
    <dgm:pt modelId="{5E327551-F49A-41F3-97A9-A0643B782C0E}">
      <dgm:prSet phldrT="[文本]"/>
      <dgm:spPr/>
      <dgm:t>
        <a:bodyPr/>
        <a:lstStyle/>
        <a:p>
          <a:r>
            <a:rPr lang="zh-CN" altLang="en-US" dirty="0" smtClean="0">
              <a:solidFill>
                <a:schemeClr val="tx1"/>
              </a:solidFill>
            </a:rPr>
            <a:t>特权帐户</a:t>
          </a:r>
          <a:endParaRPr lang="zh-CN" altLang="en-US" dirty="0">
            <a:solidFill>
              <a:schemeClr val="tx1"/>
            </a:solidFill>
          </a:endParaRPr>
        </a:p>
      </dgm:t>
    </dgm:pt>
    <dgm:pt modelId="{A0DC384E-9654-4C92-BE9B-B3AA190F8963}" type="parTrans" cxnId="{20400A4B-E9CF-4314-ABD4-54E7606E248E}">
      <dgm:prSet/>
      <dgm:spPr/>
      <dgm:t>
        <a:bodyPr/>
        <a:lstStyle/>
        <a:p>
          <a:endParaRPr lang="zh-CN" altLang="en-US">
            <a:solidFill>
              <a:schemeClr val="tx1"/>
            </a:solidFill>
          </a:endParaRPr>
        </a:p>
      </dgm:t>
    </dgm:pt>
    <dgm:pt modelId="{531E1571-99BB-43D9-82A6-2B85039FB54F}" type="sibTrans" cxnId="{20400A4B-E9CF-4314-ABD4-54E7606E248E}">
      <dgm:prSet/>
      <dgm:spPr/>
      <dgm:t>
        <a:bodyPr/>
        <a:lstStyle/>
        <a:p>
          <a:endParaRPr lang="zh-CN" altLang="en-US">
            <a:solidFill>
              <a:schemeClr val="tx1"/>
            </a:solidFill>
          </a:endParaRPr>
        </a:p>
      </dgm:t>
    </dgm:pt>
    <dgm:pt modelId="{0A4FE7CF-0164-4E9E-816F-A7696586AEAE}">
      <dgm:prSet phldrT="[文本]"/>
      <dgm:spPr/>
      <dgm:t>
        <a:bodyPr/>
        <a:lstStyle/>
        <a:p>
          <a:r>
            <a:rPr lang="zh-CN" altLang="en-US" dirty="0" smtClean="0">
              <a:solidFill>
                <a:schemeClr val="tx1"/>
              </a:solidFill>
            </a:rPr>
            <a:t>用户组织</a:t>
          </a:r>
          <a:endParaRPr lang="zh-CN" altLang="en-US" dirty="0">
            <a:solidFill>
              <a:schemeClr val="tx1"/>
            </a:solidFill>
          </a:endParaRPr>
        </a:p>
      </dgm:t>
    </dgm:pt>
    <dgm:pt modelId="{06C27E9E-54AF-4984-9956-09B53EE67756}" type="parTrans" cxnId="{DF3F43BA-C848-4185-99F2-1472F3EEAA0A}">
      <dgm:prSet/>
      <dgm:spPr/>
      <dgm:t>
        <a:bodyPr/>
        <a:lstStyle/>
        <a:p>
          <a:endParaRPr lang="zh-CN" altLang="en-US">
            <a:solidFill>
              <a:schemeClr val="tx1"/>
            </a:solidFill>
          </a:endParaRPr>
        </a:p>
      </dgm:t>
    </dgm:pt>
    <dgm:pt modelId="{4FFA71A1-31A2-4568-8A93-129CBCED9E9F}" type="sibTrans" cxnId="{DF3F43BA-C848-4185-99F2-1472F3EEAA0A}">
      <dgm:prSet/>
      <dgm:spPr/>
      <dgm:t>
        <a:bodyPr/>
        <a:lstStyle/>
        <a:p>
          <a:endParaRPr lang="zh-CN" altLang="en-US">
            <a:solidFill>
              <a:schemeClr val="tx1"/>
            </a:solidFill>
          </a:endParaRPr>
        </a:p>
      </dgm:t>
    </dgm:pt>
    <dgm:pt modelId="{5EEE3FA3-32D2-40E1-9E09-D932226CEFA7}">
      <dgm:prSet phldrT="[文本]"/>
      <dgm:spPr/>
      <dgm:t>
        <a:bodyPr/>
        <a:lstStyle/>
        <a:p>
          <a:r>
            <a:rPr lang="zh-CN" altLang="en-US" dirty="0" smtClean="0">
              <a:solidFill>
                <a:schemeClr val="tx1"/>
              </a:solidFill>
            </a:rPr>
            <a:t>内外用户</a:t>
          </a:r>
          <a:endParaRPr lang="zh-CN" altLang="en-US" dirty="0">
            <a:solidFill>
              <a:schemeClr val="tx1"/>
            </a:solidFill>
          </a:endParaRPr>
        </a:p>
      </dgm:t>
    </dgm:pt>
    <dgm:pt modelId="{2055CFC9-602A-442F-9644-6A79451E7DB9}" type="parTrans" cxnId="{92AFAA40-B157-417D-B291-29A2E419A748}">
      <dgm:prSet/>
      <dgm:spPr/>
      <dgm:t>
        <a:bodyPr/>
        <a:lstStyle/>
        <a:p>
          <a:endParaRPr lang="zh-CN" altLang="en-US">
            <a:solidFill>
              <a:schemeClr val="tx1"/>
            </a:solidFill>
          </a:endParaRPr>
        </a:p>
      </dgm:t>
    </dgm:pt>
    <dgm:pt modelId="{ABB13A2C-8D61-42A8-853F-09145762717B}" type="sibTrans" cxnId="{92AFAA40-B157-417D-B291-29A2E419A748}">
      <dgm:prSet/>
      <dgm:spPr/>
      <dgm:t>
        <a:bodyPr/>
        <a:lstStyle/>
        <a:p>
          <a:endParaRPr lang="zh-CN" altLang="en-US">
            <a:solidFill>
              <a:schemeClr val="tx1"/>
            </a:solidFill>
          </a:endParaRPr>
        </a:p>
      </dgm:t>
    </dgm:pt>
    <dgm:pt modelId="{60611641-ABA5-44FA-92CF-2E8EF8BF6E7E}">
      <dgm:prSet phldrT="[文本]"/>
      <dgm:spPr/>
      <dgm:t>
        <a:bodyPr/>
        <a:lstStyle/>
        <a:p>
          <a:r>
            <a:rPr lang="zh-CN" altLang="en-US" dirty="0" smtClean="0">
              <a:solidFill>
                <a:schemeClr val="tx1"/>
              </a:solidFill>
            </a:rPr>
            <a:t>内外组织</a:t>
          </a:r>
          <a:endParaRPr lang="zh-CN" altLang="en-US" dirty="0">
            <a:solidFill>
              <a:schemeClr val="tx1"/>
            </a:solidFill>
          </a:endParaRPr>
        </a:p>
      </dgm:t>
    </dgm:pt>
    <dgm:pt modelId="{A6F54E47-9508-46B2-8537-184BC1C7D191}" type="parTrans" cxnId="{58A588CF-79F6-4231-8C2D-79F14E4B4607}">
      <dgm:prSet/>
      <dgm:spPr/>
      <dgm:t>
        <a:bodyPr/>
        <a:lstStyle/>
        <a:p>
          <a:endParaRPr lang="zh-CN" altLang="en-US">
            <a:solidFill>
              <a:schemeClr val="tx1"/>
            </a:solidFill>
          </a:endParaRPr>
        </a:p>
      </dgm:t>
    </dgm:pt>
    <dgm:pt modelId="{B6008B14-9A81-401F-A73C-C4978D02042D}" type="sibTrans" cxnId="{58A588CF-79F6-4231-8C2D-79F14E4B4607}">
      <dgm:prSet/>
      <dgm:spPr/>
      <dgm:t>
        <a:bodyPr/>
        <a:lstStyle/>
        <a:p>
          <a:endParaRPr lang="zh-CN" altLang="en-US">
            <a:solidFill>
              <a:schemeClr val="tx1"/>
            </a:solidFill>
          </a:endParaRPr>
        </a:p>
      </dgm:t>
    </dgm:pt>
    <dgm:pt modelId="{C5D35551-ED89-46D3-A79F-62D3AE42A3AF}" type="pres">
      <dgm:prSet presAssocID="{77CD0D4B-7025-4FB6-95A0-06A87B689C9D}" presName="theList" presStyleCnt="0">
        <dgm:presLayoutVars>
          <dgm:dir/>
          <dgm:animLvl val="lvl"/>
          <dgm:resizeHandles val="exact"/>
        </dgm:presLayoutVars>
      </dgm:prSet>
      <dgm:spPr/>
      <dgm:t>
        <a:bodyPr/>
        <a:lstStyle/>
        <a:p>
          <a:endParaRPr lang="zh-CN" altLang="en-US"/>
        </a:p>
      </dgm:t>
    </dgm:pt>
    <dgm:pt modelId="{4F332557-A9B0-4443-B624-627DF838B4FA}" type="pres">
      <dgm:prSet presAssocID="{3808D1B8-D398-4994-BEF4-CDBA2D8FF132}" presName="compNode" presStyleCnt="0"/>
      <dgm:spPr/>
    </dgm:pt>
    <dgm:pt modelId="{55D844BA-C1A1-4A11-9427-5F83151C96A3}" type="pres">
      <dgm:prSet presAssocID="{3808D1B8-D398-4994-BEF4-CDBA2D8FF132}" presName="aNode" presStyleLbl="bgShp" presStyleIdx="0" presStyleCnt="6"/>
      <dgm:spPr/>
      <dgm:t>
        <a:bodyPr/>
        <a:lstStyle/>
        <a:p>
          <a:endParaRPr lang="zh-CN" altLang="en-US"/>
        </a:p>
      </dgm:t>
    </dgm:pt>
    <dgm:pt modelId="{9C7CB575-AD11-4A11-BF17-F0760F2F5B80}" type="pres">
      <dgm:prSet presAssocID="{3808D1B8-D398-4994-BEF4-CDBA2D8FF132}" presName="textNode" presStyleLbl="bgShp" presStyleIdx="0" presStyleCnt="6"/>
      <dgm:spPr/>
      <dgm:t>
        <a:bodyPr/>
        <a:lstStyle/>
        <a:p>
          <a:endParaRPr lang="zh-CN" altLang="en-US"/>
        </a:p>
      </dgm:t>
    </dgm:pt>
    <dgm:pt modelId="{3857F702-D215-413C-97C8-43F3F5D7AE08}" type="pres">
      <dgm:prSet presAssocID="{3808D1B8-D398-4994-BEF4-CDBA2D8FF132}" presName="compChildNode" presStyleCnt="0"/>
      <dgm:spPr/>
    </dgm:pt>
    <dgm:pt modelId="{40109331-69E2-4326-9256-90716B968D6B}" type="pres">
      <dgm:prSet presAssocID="{3808D1B8-D398-4994-BEF4-CDBA2D8FF132}" presName="theInnerList" presStyleCnt="0"/>
      <dgm:spPr/>
    </dgm:pt>
    <dgm:pt modelId="{00CBF14F-9269-4D58-A58F-EB522EB2AE50}" type="pres">
      <dgm:prSet presAssocID="{EA587149-477C-4952-829D-2023599F4E51}" presName="childNode" presStyleLbl="node1" presStyleIdx="0" presStyleCnt="20">
        <dgm:presLayoutVars>
          <dgm:bulletEnabled val="1"/>
        </dgm:presLayoutVars>
      </dgm:prSet>
      <dgm:spPr/>
      <dgm:t>
        <a:bodyPr/>
        <a:lstStyle/>
        <a:p>
          <a:endParaRPr lang="zh-CN" altLang="en-US"/>
        </a:p>
      </dgm:t>
    </dgm:pt>
    <dgm:pt modelId="{A54EF85F-75B2-4D3F-8E7D-4D6EB0DBE880}" type="pres">
      <dgm:prSet presAssocID="{EA587149-477C-4952-829D-2023599F4E51}" presName="aSpace2" presStyleCnt="0"/>
      <dgm:spPr/>
    </dgm:pt>
    <dgm:pt modelId="{63C6F5D6-512D-4530-8615-A0F674786495}" type="pres">
      <dgm:prSet presAssocID="{B4DDF6D4-9083-4F69-8BB6-626593DF48BD}" presName="childNode" presStyleLbl="node1" presStyleIdx="1" presStyleCnt="20">
        <dgm:presLayoutVars>
          <dgm:bulletEnabled val="1"/>
        </dgm:presLayoutVars>
      </dgm:prSet>
      <dgm:spPr/>
      <dgm:t>
        <a:bodyPr/>
        <a:lstStyle/>
        <a:p>
          <a:endParaRPr lang="zh-CN" altLang="en-US"/>
        </a:p>
      </dgm:t>
    </dgm:pt>
    <dgm:pt modelId="{6E56CFF5-68B8-4B64-AF74-4F4F2D658083}" type="pres">
      <dgm:prSet presAssocID="{3808D1B8-D398-4994-BEF4-CDBA2D8FF132}" presName="aSpace" presStyleCnt="0"/>
      <dgm:spPr/>
    </dgm:pt>
    <dgm:pt modelId="{4A5DBF44-62F3-4AF2-AF65-F5626707E915}" type="pres">
      <dgm:prSet presAssocID="{A31798FC-DA4A-4BFE-8ED2-1472E7F24065}" presName="compNode" presStyleCnt="0"/>
      <dgm:spPr/>
    </dgm:pt>
    <dgm:pt modelId="{ABEF653A-0680-4FC1-A21B-2258BF4C1B04}" type="pres">
      <dgm:prSet presAssocID="{A31798FC-DA4A-4BFE-8ED2-1472E7F24065}" presName="aNode" presStyleLbl="bgShp" presStyleIdx="1" presStyleCnt="6"/>
      <dgm:spPr/>
      <dgm:t>
        <a:bodyPr/>
        <a:lstStyle/>
        <a:p>
          <a:endParaRPr lang="zh-CN" altLang="en-US"/>
        </a:p>
      </dgm:t>
    </dgm:pt>
    <dgm:pt modelId="{5D2DDC18-63B6-41F3-BC4A-0BFEFCB6A25E}" type="pres">
      <dgm:prSet presAssocID="{A31798FC-DA4A-4BFE-8ED2-1472E7F24065}" presName="textNode" presStyleLbl="bgShp" presStyleIdx="1" presStyleCnt="6"/>
      <dgm:spPr/>
      <dgm:t>
        <a:bodyPr/>
        <a:lstStyle/>
        <a:p>
          <a:endParaRPr lang="zh-CN" altLang="en-US"/>
        </a:p>
      </dgm:t>
    </dgm:pt>
    <dgm:pt modelId="{0C963711-5794-4382-95AF-FB255D8B4105}" type="pres">
      <dgm:prSet presAssocID="{A31798FC-DA4A-4BFE-8ED2-1472E7F24065}" presName="compChildNode" presStyleCnt="0"/>
      <dgm:spPr/>
    </dgm:pt>
    <dgm:pt modelId="{B95896E3-E537-4C67-AAD3-C1C5464CC34B}" type="pres">
      <dgm:prSet presAssocID="{A31798FC-DA4A-4BFE-8ED2-1472E7F24065}" presName="theInnerList" presStyleCnt="0"/>
      <dgm:spPr/>
    </dgm:pt>
    <dgm:pt modelId="{B65B245B-319B-4683-9164-B804AC1C644D}" type="pres">
      <dgm:prSet presAssocID="{31C09A42-53C8-44AA-ADA4-6057FCCBEA7D}" presName="childNode" presStyleLbl="node1" presStyleIdx="2" presStyleCnt="20">
        <dgm:presLayoutVars>
          <dgm:bulletEnabled val="1"/>
        </dgm:presLayoutVars>
      </dgm:prSet>
      <dgm:spPr/>
      <dgm:t>
        <a:bodyPr/>
        <a:lstStyle/>
        <a:p>
          <a:endParaRPr lang="zh-CN" altLang="en-US"/>
        </a:p>
      </dgm:t>
    </dgm:pt>
    <dgm:pt modelId="{7B20AB17-05C2-445C-9998-0AB43D11619C}" type="pres">
      <dgm:prSet presAssocID="{31C09A42-53C8-44AA-ADA4-6057FCCBEA7D}" presName="aSpace2" presStyleCnt="0"/>
      <dgm:spPr/>
    </dgm:pt>
    <dgm:pt modelId="{91FAE1B3-03A6-4890-816A-74B86EA34A60}" type="pres">
      <dgm:prSet presAssocID="{A22695B0-8ED8-4C61-8994-1BF46BB9F58D}" presName="childNode" presStyleLbl="node1" presStyleIdx="3" presStyleCnt="20">
        <dgm:presLayoutVars>
          <dgm:bulletEnabled val="1"/>
        </dgm:presLayoutVars>
      </dgm:prSet>
      <dgm:spPr/>
      <dgm:t>
        <a:bodyPr/>
        <a:lstStyle/>
        <a:p>
          <a:endParaRPr lang="zh-CN" altLang="en-US"/>
        </a:p>
      </dgm:t>
    </dgm:pt>
    <dgm:pt modelId="{678C0431-D5C8-4DB3-A1C0-CDE104617E4D}" type="pres">
      <dgm:prSet presAssocID="{A22695B0-8ED8-4C61-8994-1BF46BB9F58D}" presName="aSpace2" presStyleCnt="0"/>
      <dgm:spPr/>
    </dgm:pt>
    <dgm:pt modelId="{7C9C6F35-212C-43E9-B13F-3D0A610B1F4D}" type="pres">
      <dgm:prSet presAssocID="{57FA270C-9A0D-4742-A0FE-A69C510DD39C}" presName="childNode" presStyleLbl="node1" presStyleIdx="4" presStyleCnt="20">
        <dgm:presLayoutVars>
          <dgm:bulletEnabled val="1"/>
        </dgm:presLayoutVars>
      </dgm:prSet>
      <dgm:spPr/>
      <dgm:t>
        <a:bodyPr/>
        <a:lstStyle/>
        <a:p>
          <a:endParaRPr lang="zh-CN" altLang="en-US"/>
        </a:p>
      </dgm:t>
    </dgm:pt>
    <dgm:pt modelId="{C43E691C-B6FC-4F0C-9D0D-8249E1D092A9}" type="pres">
      <dgm:prSet presAssocID="{A31798FC-DA4A-4BFE-8ED2-1472E7F24065}" presName="aSpace" presStyleCnt="0"/>
      <dgm:spPr/>
    </dgm:pt>
    <dgm:pt modelId="{38FA240C-84CF-4D63-96F6-6967CDEBE770}" type="pres">
      <dgm:prSet presAssocID="{4C0D1724-7F8A-4376-AC05-2FCCC2319E7F}" presName="compNode" presStyleCnt="0"/>
      <dgm:spPr/>
    </dgm:pt>
    <dgm:pt modelId="{118A0777-C1FC-409B-B0D3-82D0ADDB56CA}" type="pres">
      <dgm:prSet presAssocID="{4C0D1724-7F8A-4376-AC05-2FCCC2319E7F}" presName="aNode" presStyleLbl="bgShp" presStyleIdx="2" presStyleCnt="6"/>
      <dgm:spPr/>
      <dgm:t>
        <a:bodyPr/>
        <a:lstStyle/>
        <a:p>
          <a:endParaRPr lang="zh-CN" altLang="en-US"/>
        </a:p>
      </dgm:t>
    </dgm:pt>
    <dgm:pt modelId="{89D6696C-88D2-4229-843B-422C0843CA2D}" type="pres">
      <dgm:prSet presAssocID="{4C0D1724-7F8A-4376-AC05-2FCCC2319E7F}" presName="textNode" presStyleLbl="bgShp" presStyleIdx="2" presStyleCnt="6"/>
      <dgm:spPr/>
      <dgm:t>
        <a:bodyPr/>
        <a:lstStyle/>
        <a:p>
          <a:endParaRPr lang="zh-CN" altLang="en-US"/>
        </a:p>
      </dgm:t>
    </dgm:pt>
    <dgm:pt modelId="{76C2F2D8-4782-465A-8A66-B25C7BCCDE24}" type="pres">
      <dgm:prSet presAssocID="{4C0D1724-7F8A-4376-AC05-2FCCC2319E7F}" presName="compChildNode" presStyleCnt="0"/>
      <dgm:spPr/>
    </dgm:pt>
    <dgm:pt modelId="{79D8DD83-DA65-486D-A85E-7182BF99346F}" type="pres">
      <dgm:prSet presAssocID="{4C0D1724-7F8A-4376-AC05-2FCCC2319E7F}" presName="theInnerList" presStyleCnt="0"/>
      <dgm:spPr/>
    </dgm:pt>
    <dgm:pt modelId="{61838908-64F3-47C5-A86D-2A6D8F44A0E3}" type="pres">
      <dgm:prSet presAssocID="{19014497-65C2-4A97-804C-2AEBF35C7B39}" presName="childNode" presStyleLbl="node1" presStyleIdx="5" presStyleCnt="20">
        <dgm:presLayoutVars>
          <dgm:bulletEnabled val="1"/>
        </dgm:presLayoutVars>
      </dgm:prSet>
      <dgm:spPr/>
      <dgm:t>
        <a:bodyPr/>
        <a:lstStyle/>
        <a:p>
          <a:endParaRPr lang="zh-CN" altLang="en-US"/>
        </a:p>
      </dgm:t>
    </dgm:pt>
    <dgm:pt modelId="{2C56DEE8-5C4B-42B1-8F3E-B960C88BB863}" type="pres">
      <dgm:prSet presAssocID="{19014497-65C2-4A97-804C-2AEBF35C7B39}" presName="aSpace2" presStyleCnt="0"/>
      <dgm:spPr/>
    </dgm:pt>
    <dgm:pt modelId="{311A5314-D52B-40F1-8288-FE0073C2B291}" type="pres">
      <dgm:prSet presAssocID="{8DC6A859-0750-40F9-9474-59EEB7CEA8EC}" presName="childNode" presStyleLbl="node1" presStyleIdx="6" presStyleCnt="20">
        <dgm:presLayoutVars>
          <dgm:bulletEnabled val="1"/>
        </dgm:presLayoutVars>
      </dgm:prSet>
      <dgm:spPr/>
      <dgm:t>
        <a:bodyPr/>
        <a:lstStyle/>
        <a:p>
          <a:endParaRPr lang="zh-CN" altLang="en-US"/>
        </a:p>
      </dgm:t>
    </dgm:pt>
    <dgm:pt modelId="{42A34A40-F23B-4CAA-BBF3-5F2514A3B78F}" type="pres">
      <dgm:prSet presAssocID="{8DC6A859-0750-40F9-9474-59EEB7CEA8EC}" presName="aSpace2" presStyleCnt="0"/>
      <dgm:spPr/>
    </dgm:pt>
    <dgm:pt modelId="{4341055F-33F2-4BF2-8F91-5C6630CFF19C}" type="pres">
      <dgm:prSet presAssocID="{E3D8CED7-9A58-49CF-81FE-9B3BB6998DBE}" presName="childNode" presStyleLbl="node1" presStyleIdx="7" presStyleCnt="20">
        <dgm:presLayoutVars>
          <dgm:bulletEnabled val="1"/>
        </dgm:presLayoutVars>
      </dgm:prSet>
      <dgm:spPr/>
      <dgm:t>
        <a:bodyPr/>
        <a:lstStyle/>
        <a:p>
          <a:endParaRPr lang="zh-CN" altLang="en-US"/>
        </a:p>
      </dgm:t>
    </dgm:pt>
    <dgm:pt modelId="{A1A73069-9C27-4243-9247-7C41F9201879}" type="pres">
      <dgm:prSet presAssocID="{4C0D1724-7F8A-4376-AC05-2FCCC2319E7F}" presName="aSpace" presStyleCnt="0"/>
      <dgm:spPr/>
    </dgm:pt>
    <dgm:pt modelId="{944D883A-5DB0-4EE6-B031-32D409C4E5B7}" type="pres">
      <dgm:prSet presAssocID="{94E8FE64-EA80-4397-BDE2-D6186DFC6CB5}" presName="compNode" presStyleCnt="0"/>
      <dgm:spPr/>
    </dgm:pt>
    <dgm:pt modelId="{DE39DF0A-351C-4538-955C-07DF7A62D204}" type="pres">
      <dgm:prSet presAssocID="{94E8FE64-EA80-4397-BDE2-D6186DFC6CB5}" presName="aNode" presStyleLbl="bgShp" presStyleIdx="3" presStyleCnt="6"/>
      <dgm:spPr/>
      <dgm:t>
        <a:bodyPr/>
        <a:lstStyle/>
        <a:p>
          <a:endParaRPr lang="zh-CN" altLang="en-US"/>
        </a:p>
      </dgm:t>
    </dgm:pt>
    <dgm:pt modelId="{09D18F0D-3333-40CA-9207-F4D6ED973D9C}" type="pres">
      <dgm:prSet presAssocID="{94E8FE64-EA80-4397-BDE2-D6186DFC6CB5}" presName="textNode" presStyleLbl="bgShp" presStyleIdx="3" presStyleCnt="6"/>
      <dgm:spPr/>
      <dgm:t>
        <a:bodyPr/>
        <a:lstStyle/>
        <a:p>
          <a:endParaRPr lang="zh-CN" altLang="en-US"/>
        </a:p>
      </dgm:t>
    </dgm:pt>
    <dgm:pt modelId="{AADC8707-2D19-4983-A7F1-DA6295CD8D55}" type="pres">
      <dgm:prSet presAssocID="{94E8FE64-EA80-4397-BDE2-D6186DFC6CB5}" presName="compChildNode" presStyleCnt="0"/>
      <dgm:spPr/>
    </dgm:pt>
    <dgm:pt modelId="{91AA3747-020E-4F05-AA82-7D0230C849B7}" type="pres">
      <dgm:prSet presAssocID="{94E8FE64-EA80-4397-BDE2-D6186DFC6CB5}" presName="theInnerList" presStyleCnt="0"/>
      <dgm:spPr/>
    </dgm:pt>
    <dgm:pt modelId="{FDDBD7BC-EA21-4CF2-9A66-D63F1A29806A}" type="pres">
      <dgm:prSet presAssocID="{A0851C66-D98D-403A-B478-A2FCA6C72157}" presName="childNode" presStyleLbl="node1" presStyleIdx="8" presStyleCnt="20">
        <dgm:presLayoutVars>
          <dgm:bulletEnabled val="1"/>
        </dgm:presLayoutVars>
      </dgm:prSet>
      <dgm:spPr/>
      <dgm:t>
        <a:bodyPr/>
        <a:lstStyle/>
        <a:p>
          <a:endParaRPr lang="zh-CN" altLang="en-US"/>
        </a:p>
      </dgm:t>
    </dgm:pt>
    <dgm:pt modelId="{D2E5BAFE-BB02-455D-84E8-1800A1163FDC}" type="pres">
      <dgm:prSet presAssocID="{A0851C66-D98D-403A-B478-A2FCA6C72157}" presName="aSpace2" presStyleCnt="0"/>
      <dgm:spPr/>
    </dgm:pt>
    <dgm:pt modelId="{572B8765-6D48-4B8B-9DE2-8F5627FD3387}" type="pres">
      <dgm:prSet presAssocID="{D490EA33-62DB-4CB0-B578-29E61790051B}" presName="childNode" presStyleLbl="node1" presStyleIdx="9" presStyleCnt="20">
        <dgm:presLayoutVars>
          <dgm:bulletEnabled val="1"/>
        </dgm:presLayoutVars>
      </dgm:prSet>
      <dgm:spPr/>
      <dgm:t>
        <a:bodyPr/>
        <a:lstStyle/>
        <a:p>
          <a:endParaRPr lang="zh-CN" altLang="en-US"/>
        </a:p>
      </dgm:t>
    </dgm:pt>
    <dgm:pt modelId="{C454C962-1B11-4D50-B06C-2CE039E96BEA}" type="pres">
      <dgm:prSet presAssocID="{D490EA33-62DB-4CB0-B578-29E61790051B}" presName="aSpace2" presStyleCnt="0"/>
      <dgm:spPr/>
    </dgm:pt>
    <dgm:pt modelId="{36C748D2-73E8-49DD-8395-5FDDC3399964}" type="pres">
      <dgm:prSet presAssocID="{92210B8D-6E6F-48D6-A4DA-45737F80366A}" presName="childNode" presStyleLbl="node1" presStyleIdx="10" presStyleCnt="20">
        <dgm:presLayoutVars>
          <dgm:bulletEnabled val="1"/>
        </dgm:presLayoutVars>
      </dgm:prSet>
      <dgm:spPr/>
      <dgm:t>
        <a:bodyPr/>
        <a:lstStyle/>
        <a:p>
          <a:endParaRPr lang="zh-CN" altLang="en-US"/>
        </a:p>
      </dgm:t>
    </dgm:pt>
    <dgm:pt modelId="{E3EAC9A1-7D2A-444C-8F65-654002961B48}" type="pres">
      <dgm:prSet presAssocID="{92210B8D-6E6F-48D6-A4DA-45737F80366A}" presName="aSpace2" presStyleCnt="0"/>
      <dgm:spPr/>
    </dgm:pt>
    <dgm:pt modelId="{C9BC4A27-0F03-4262-A03D-913C5773E69D}" type="pres">
      <dgm:prSet presAssocID="{FA5F64DC-5077-44CB-A54C-0362279EE164}" presName="childNode" presStyleLbl="node1" presStyleIdx="11" presStyleCnt="20">
        <dgm:presLayoutVars>
          <dgm:bulletEnabled val="1"/>
        </dgm:presLayoutVars>
      </dgm:prSet>
      <dgm:spPr/>
      <dgm:t>
        <a:bodyPr/>
        <a:lstStyle/>
        <a:p>
          <a:endParaRPr lang="zh-CN" altLang="en-US"/>
        </a:p>
      </dgm:t>
    </dgm:pt>
    <dgm:pt modelId="{BB765F90-64C3-4460-9382-C721F4F3EE32}" type="pres">
      <dgm:prSet presAssocID="{FA5F64DC-5077-44CB-A54C-0362279EE164}" presName="aSpace2" presStyleCnt="0"/>
      <dgm:spPr/>
    </dgm:pt>
    <dgm:pt modelId="{5EBD4222-2F8F-4DFD-97DA-AC699AF66E4A}" type="pres">
      <dgm:prSet presAssocID="{BD47E16D-D854-4BBE-B7FA-9DE4B3F020B7}" presName="childNode" presStyleLbl="node1" presStyleIdx="12" presStyleCnt="20">
        <dgm:presLayoutVars>
          <dgm:bulletEnabled val="1"/>
        </dgm:presLayoutVars>
      </dgm:prSet>
      <dgm:spPr/>
      <dgm:t>
        <a:bodyPr/>
        <a:lstStyle/>
        <a:p>
          <a:endParaRPr lang="zh-CN" altLang="en-US"/>
        </a:p>
      </dgm:t>
    </dgm:pt>
    <dgm:pt modelId="{CA2BA737-A88D-4274-A3E7-A445313A60C9}" type="pres">
      <dgm:prSet presAssocID="{94E8FE64-EA80-4397-BDE2-D6186DFC6CB5}" presName="aSpace" presStyleCnt="0"/>
      <dgm:spPr/>
    </dgm:pt>
    <dgm:pt modelId="{14ABAB62-3A17-45E6-9383-8A99A528D7E4}" type="pres">
      <dgm:prSet presAssocID="{9C3FB3A2-5F85-437F-8E90-0785AF9E80C5}" presName="compNode" presStyleCnt="0"/>
      <dgm:spPr/>
    </dgm:pt>
    <dgm:pt modelId="{6059F9DB-61E9-4AA2-9BCD-3FFD98F9AF51}" type="pres">
      <dgm:prSet presAssocID="{9C3FB3A2-5F85-437F-8E90-0785AF9E80C5}" presName="aNode" presStyleLbl="bgShp" presStyleIdx="4" presStyleCnt="6"/>
      <dgm:spPr/>
      <dgm:t>
        <a:bodyPr/>
        <a:lstStyle/>
        <a:p>
          <a:endParaRPr lang="zh-CN" altLang="en-US"/>
        </a:p>
      </dgm:t>
    </dgm:pt>
    <dgm:pt modelId="{43AEA42A-F142-4158-B977-A19EDEB3938F}" type="pres">
      <dgm:prSet presAssocID="{9C3FB3A2-5F85-437F-8E90-0785AF9E80C5}" presName="textNode" presStyleLbl="bgShp" presStyleIdx="4" presStyleCnt="6"/>
      <dgm:spPr/>
      <dgm:t>
        <a:bodyPr/>
        <a:lstStyle/>
        <a:p>
          <a:endParaRPr lang="zh-CN" altLang="en-US"/>
        </a:p>
      </dgm:t>
    </dgm:pt>
    <dgm:pt modelId="{E6C3A57F-129F-4B34-99DC-949F5DAD13E5}" type="pres">
      <dgm:prSet presAssocID="{9C3FB3A2-5F85-437F-8E90-0785AF9E80C5}" presName="compChildNode" presStyleCnt="0"/>
      <dgm:spPr/>
    </dgm:pt>
    <dgm:pt modelId="{926D9D6D-C7E2-44D6-9D52-B6686631561D}" type="pres">
      <dgm:prSet presAssocID="{9C3FB3A2-5F85-437F-8E90-0785AF9E80C5}" presName="theInnerList" presStyleCnt="0"/>
      <dgm:spPr/>
    </dgm:pt>
    <dgm:pt modelId="{C608909E-02D4-4B6F-BA99-F9C09FCA7FEB}" type="pres">
      <dgm:prSet presAssocID="{767A5B9F-8483-475E-863F-61E37F8D1E1F}" presName="childNode" presStyleLbl="node1" presStyleIdx="13" presStyleCnt="20">
        <dgm:presLayoutVars>
          <dgm:bulletEnabled val="1"/>
        </dgm:presLayoutVars>
      </dgm:prSet>
      <dgm:spPr/>
      <dgm:t>
        <a:bodyPr/>
        <a:lstStyle/>
        <a:p>
          <a:endParaRPr lang="zh-CN" altLang="en-US"/>
        </a:p>
      </dgm:t>
    </dgm:pt>
    <dgm:pt modelId="{5C038E82-4885-45E6-82C2-3281D962EBB7}" type="pres">
      <dgm:prSet presAssocID="{767A5B9F-8483-475E-863F-61E37F8D1E1F}" presName="aSpace2" presStyleCnt="0"/>
      <dgm:spPr/>
    </dgm:pt>
    <dgm:pt modelId="{C34636F1-FFD5-4F20-BBDE-AEBB497D1B18}" type="pres">
      <dgm:prSet presAssocID="{AB78E311-A29A-4329-8D70-36DF2CC57B8E}" presName="childNode" presStyleLbl="node1" presStyleIdx="14" presStyleCnt="20">
        <dgm:presLayoutVars>
          <dgm:bulletEnabled val="1"/>
        </dgm:presLayoutVars>
      </dgm:prSet>
      <dgm:spPr/>
      <dgm:t>
        <a:bodyPr/>
        <a:lstStyle/>
        <a:p>
          <a:endParaRPr lang="zh-CN" altLang="en-US"/>
        </a:p>
      </dgm:t>
    </dgm:pt>
    <dgm:pt modelId="{EE3ED69B-F76F-468E-9B4F-5447DF517BD3}" type="pres">
      <dgm:prSet presAssocID="{AB78E311-A29A-4329-8D70-36DF2CC57B8E}" presName="aSpace2" presStyleCnt="0"/>
      <dgm:spPr/>
    </dgm:pt>
    <dgm:pt modelId="{79AC6589-DC85-492D-BA90-C9A1DE959FC0}" type="pres">
      <dgm:prSet presAssocID="{BFD48F44-BA1D-4F46-8E69-9685FCB3FDB8}" presName="childNode" presStyleLbl="node1" presStyleIdx="15" presStyleCnt="20">
        <dgm:presLayoutVars>
          <dgm:bulletEnabled val="1"/>
        </dgm:presLayoutVars>
      </dgm:prSet>
      <dgm:spPr/>
      <dgm:t>
        <a:bodyPr/>
        <a:lstStyle/>
        <a:p>
          <a:endParaRPr lang="zh-CN" altLang="en-US"/>
        </a:p>
      </dgm:t>
    </dgm:pt>
    <dgm:pt modelId="{BF549D4A-FCFC-41E1-A0FA-D8E1887ED3E9}" type="pres">
      <dgm:prSet presAssocID="{BFD48F44-BA1D-4F46-8E69-9685FCB3FDB8}" presName="aSpace2" presStyleCnt="0"/>
      <dgm:spPr/>
    </dgm:pt>
    <dgm:pt modelId="{BFC70E42-2D94-4035-B49A-905DB4AA98B3}" type="pres">
      <dgm:prSet presAssocID="{A297EDDB-9574-475B-8FEB-343BF08F1D34}" presName="childNode" presStyleLbl="node1" presStyleIdx="16" presStyleCnt="20">
        <dgm:presLayoutVars>
          <dgm:bulletEnabled val="1"/>
        </dgm:presLayoutVars>
      </dgm:prSet>
      <dgm:spPr/>
      <dgm:t>
        <a:bodyPr/>
        <a:lstStyle/>
        <a:p>
          <a:endParaRPr lang="zh-CN" altLang="en-US"/>
        </a:p>
      </dgm:t>
    </dgm:pt>
    <dgm:pt modelId="{8CB90E95-16C0-4F7E-8DD1-7811FDD1FCC2}" type="pres">
      <dgm:prSet presAssocID="{A297EDDB-9574-475B-8FEB-343BF08F1D34}" presName="aSpace2" presStyleCnt="0"/>
      <dgm:spPr/>
    </dgm:pt>
    <dgm:pt modelId="{7E8CEEF3-A25E-4697-820D-92C80712AF4A}" type="pres">
      <dgm:prSet presAssocID="{5E327551-F49A-41F3-97A9-A0643B782C0E}" presName="childNode" presStyleLbl="node1" presStyleIdx="17" presStyleCnt="20">
        <dgm:presLayoutVars>
          <dgm:bulletEnabled val="1"/>
        </dgm:presLayoutVars>
      </dgm:prSet>
      <dgm:spPr/>
      <dgm:t>
        <a:bodyPr/>
        <a:lstStyle/>
        <a:p>
          <a:endParaRPr lang="zh-CN" altLang="en-US"/>
        </a:p>
      </dgm:t>
    </dgm:pt>
    <dgm:pt modelId="{FCC0655B-FCA5-46C8-9F9F-325CBF0F53BD}" type="pres">
      <dgm:prSet presAssocID="{9C3FB3A2-5F85-437F-8E90-0785AF9E80C5}" presName="aSpace" presStyleCnt="0"/>
      <dgm:spPr/>
    </dgm:pt>
    <dgm:pt modelId="{B8CBC38A-549B-4A5B-9E25-6FE26E2215A8}" type="pres">
      <dgm:prSet presAssocID="{0A4FE7CF-0164-4E9E-816F-A7696586AEAE}" presName="compNode" presStyleCnt="0"/>
      <dgm:spPr/>
    </dgm:pt>
    <dgm:pt modelId="{690E68F6-80A9-4605-8A97-4805BE346825}" type="pres">
      <dgm:prSet presAssocID="{0A4FE7CF-0164-4E9E-816F-A7696586AEAE}" presName="aNode" presStyleLbl="bgShp" presStyleIdx="5" presStyleCnt="6"/>
      <dgm:spPr/>
      <dgm:t>
        <a:bodyPr/>
        <a:lstStyle/>
        <a:p>
          <a:endParaRPr lang="zh-CN" altLang="en-US"/>
        </a:p>
      </dgm:t>
    </dgm:pt>
    <dgm:pt modelId="{BA110D70-8EDD-4284-A44D-4229C9DE9042}" type="pres">
      <dgm:prSet presAssocID="{0A4FE7CF-0164-4E9E-816F-A7696586AEAE}" presName="textNode" presStyleLbl="bgShp" presStyleIdx="5" presStyleCnt="6"/>
      <dgm:spPr/>
      <dgm:t>
        <a:bodyPr/>
        <a:lstStyle/>
        <a:p>
          <a:endParaRPr lang="zh-CN" altLang="en-US"/>
        </a:p>
      </dgm:t>
    </dgm:pt>
    <dgm:pt modelId="{24B51BAD-E015-4EA1-B058-704BA8165394}" type="pres">
      <dgm:prSet presAssocID="{0A4FE7CF-0164-4E9E-816F-A7696586AEAE}" presName="compChildNode" presStyleCnt="0"/>
      <dgm:spPr/>
    </dgm:pt>
    <dgm:pt modelId="{21C72C43-E692-4630-8FA9-DA06110671FB}" type="pres">
      <dgm:prSet presAssocID="{0A4FE7CF-0164-4E9E-816F-A7696586AEAE}" presName="theInnerList" presStyleCnt="0"/>
      <dgm:spPr/>
    </dgm:pt>
    <dgm:pt modelId="{7D49BD64-563D-418C-9A5E-FAAD3ED461FD}" type="pres">
      <dgm:prSet presAssocID="{5EEE3FA3-32D2-40E1-9E09-D932226CEFA7}" presName="childNode" presStyleLbl="node1" presStyleIdx="18" presStyleCnt="20">
        <dgm:presLayoutVars>
          <dgm:bulletEnabled val="1"/>
        </dgm:presLayoutVars>
      </dgm:prSet>
      <dgm:spPr/>
      <dgm:t>
        <a:bodyPr/>
        <a:lstStyle/>
        <a:p>
          <a:endParaRPr lang="zh-CN" altLang="en-US"/>
        </a:p>
      </dgm:t>
    </dgm:pt>
    <dgm:pt modelId="{C9FE8425-84A2-40E8-8859-3A466E4B05B5}" type="pres">
      <dgm:prSet presAssocID="{5EEE3FA3-32D2-40E1-9E09-D932226CEFA7}" presName="aSpace2" presStyleCnt="0"/>
      <dgm:spPr/>
    </dgm:pt>
    <dgm:pt modelId="{D7AC0F70-DA32-4ADD-8E87-AD81C0BE2EF8}" type="pres">
      <dgm:prSet presAssocID="{60611641-ABA5-44FA-92CF-2E8EF8BF6E7E}" presName="childNode" presStyleLbl="node1" presStyleIdx="19" presStyleCnt="20">
        <dgm:presLayoutVars>
          <dgm:bulletEnabled val="1"/>
        </dgm:presLayoutVars>
      </dgm:prSet>
      <dgm:spPr/>
      <dgm:t>
        <a:bodyPr/>
        <a:lstStyle/>
        <a:p>
          <a:endParaRPr lang="zh-CN" altLang="en-US"/>
        </a:p>
      </dgm:t>
    </dgm:pt>
  </dgm:ptLst>
  <dgm:cxnLst>
    <dgm:cxn modelId="{92AFAA40-B157-417D-B291-29A2E419A748}" srcId="{0A4FE7CF-0164-4E9E-816F-A7696586AEAE}" destId="{5EEE3FA3-32D2-40E1-9E09-D932226CEFA7}" srcOrd="0" destOrd="0" parTransId="{2055CFC9-602A-442F-9644-6A79451E7DB9}" sibTransId="{ABB13A2C-8D61-42A8-853F-09145762717B}"/>
    <dgm:cxn modelId="{593BADB9-8D03-433A-B11E-93BD3610CDFE}" type="presOf" srcId="{5EEE3FA3-32D2-40E1-9E09-D932226CEFA7}" destId="{7D49BD64-563D-418C-9A5E-FAAD3ED461FD}" srcOrd="0" destOrd="0" presId="urn:microsoft.com/office/officeart/2005/8/layout/lProcess2"/>
    <dgm:cxn modelId="{F4EF5092-E2D5-451F-AD99-AE1245267831}" type="presOf" srcId="{94E8FE64-EA80-4397-BDE2-D6186DFC6CB5}" destId="{09D18F0D-3333-40CA-9207-F4D6ED973D9C}" srcOrd="1" destOrd="0" presId="urn:microsoft.com/office/officeart/2005/8/layout/lProcess2"/>
    <dgm:cxn modelId="{1D5A2BFF-91A1-4579-8457-25DE3EEAC7C8}" type="presOf" srcId="{FA5F64DC-5077-44CB-A54C-0362279EE164}" destId="{C9BC4A27-0F03-4262-A03D-913C5773E69D}" srcOrd="0" destOrd="0" presId="urn:microsoft.com/office/officeart/2005/8/layout/lProcess2"/>
    <dgm:cxn modelId="{A6CAD128-8F7F-4EC7-97B8-93E5BB94F9FF}" srcId="{9C3FB3A2-5F85-437F-8E90-0785AF9E80C5}" destId="{767A5B9F-8483-475E-863F-61E37F8D1E1F}" srcOrd="0" destOrd="0" parTransId="{EE7B2740-8656-4FE6-BD1A-4C2499A97899}" sibTransId="{0053D43E-4FF2-4F3F-B81E-96A2DD77F01B}"/>
    <dgm:cxn modelId="{0CC71A6E-CE8E-44B5-BFDD-65B2F62CA516}" srcId="{4C0D1724-7F8A-4376-AC05-2FCCC2319E7F}" destId="{19014497-65C2-4A97-804C-2AEBF35C7B39}" srcOrd="0" destOrd="0" parTransId="{1FA2BC8C-7481-4ACF-B5D4-9E82E495B330}" sibTransId="{C358349A-BB58-4FC3-8C0B-F85B1A4B727A}"/>
    <dgm:cxn modelId="{4199BBFD-EA65-4E02-B938-BA0AD458A087}" type="presOf" srcId="{E3D8CED7-9A58-49CF-81FE-9B3BB6998DBE}" destId="{4341055F-33F2-4BF2-8F91-5C6630CFF19C}" srcOrd="0" destOrd="0" presId="urn:microsoft.com/office/officeart/2005/8/layout/lProcess2"/>
    <dgm:cxn modelId="{7FE7A570-5F88-4AAB-B010-CE5D8BB18F2E}" type="presOf" srcId="{0A4FE7CF-0164-4E9E-816F-A7696586AEAE}" destId="{690E68F6-80A9-4605-8A97-4805BE346825}" srcOrd="0" destOrd="0" presId="urn:microsoft.com/office/officeart/2005/8/layout/lProcess2"/>
    <dgm:cxn modelId="{2CCDA5E8-949A-4397-8D06-C07307F9845D}" srcId="{9C3FB3A2-5F85-437F-8E90-0785AF9E80C5}" destId="{BFD48F44-BA1D-4F46-8E69-9685FCB3FDB8}" srcOrd="2" destOrd="0" parTransId="{58ED6C03-A645-40D3-B78E-B3B0200685FE}" sibTransId="{F5BCC0AD-00DC-4751-9CC2-3EEF1997DC65}"/>
    <dgm:cxn modelId="{B0D086E3-D445-4010-A8D6-78D6C14BB3D9}" srcId="{94E8FE64-EA80-4397-BDE2-D6186DFC6CB5}" destId="{92210B8D-6E6F-48D6-A4DA-45737F80366A}" srcOrd="2" destOrd="0" parTransId="{13E974F8-33B4-4EB3-957E-9BA4144B92B4}" sibTransId="{FBBD8C8D-B151-41E4-90F9-4B66B803C7FF}"/>
    <dgm:cxn modelId="{A83CFCE8-A166-4925-914D-032CA31FB486}" type="presOf" srcId="{D490EA33-62DB-4CB0-B578-29E61790051B}" destId="{572B8765-6D48-4B8B-9DE2-8F5627FD3387}" srcOrd="0" destOrd="0" presId="urn:microsoft.com/office/officeart/2005/8/layout/lProcess2"/>
    <dgm:cxn modelId="{1853329A-96B0-4A19-9BC0-0500171D9272}" type="presOf" srcId="{4C0D1724-7F8A-4376-AC05-2FCCC2319E7F}" destId="{118A0777-C1FC-409B-B0D3-82D0ADDB56CA}" srcOrd="0" destOrd="0" presId="urn:microsoft.com/office/officeart/2005/8/layout/lProcess2"/>
    <dgm:cxn modelId="{E900267E-F82C-4537-B562-093A8236868D}" type="presOf" srcId="{EA587149-477C-4952-829D-2023599F4E51}" destId="{00CBF14F-9269-4D58-A58F-EB522EB2AE50}" srcOrd="0" destOrd="0" presId="urn:microsoft.com/office/officeart/2005/8/layout/lProcess2"/>
    <dgm:cxn modelId="{F4B5FFBF-DCE8-4FBB-93D2-CDF1519484F6}" type="presOf" srcId="{5E327551-F49A-41F3-97A9-A0643B782C0E}" destId="{7E8CEEF3-A25E-4697-820D-92C80712AF4A}" srcOrd="0" destOrd="0" presId="urn:microsoft.com/office/officeart/2005/8/layout/lProcess2"/>
    <dgm:cxn modelId="{01592AE9-36E7-4071-A67A-5F99EC0B5615}" type="presOf" srcId="{A297EDDB-9574-475B-8FEB-343BF08F1D34}" destId="{BFC70E42-2D94-4035-B49A-905DB4AA98B3}" srcOrd="0" destOrd="0" presId="urn:microsoft.com/office/officeart/2005/8/layout/lProcess2"/>
    <dgm:cxn modelId="{BA2ABB0D-1FA5-410D-907C-36024167A832}" srcId="{77CD0D4B-7025-4FB6-95A0-06A87B689C9D}" destId="{A31798FC-DA4A-4BFE-8ED2-1472E7F24065}" srcOrd="1" destOrd="0" parTransId="{DACEAC0E-E375-43B5-8D24-B87275857143}" sibTransId="{0AAF3A86-1684-4C15-A67F-7366C000AECD}"/>
    <dgm:cxn modelId="{B328F8D8-49C3-43E6-9322-6ED7DC170C34}" srcId="{94E8FE64-EA80-4397-BDE2-D6186DFC6CB5}" destId="{BD47E16D-D854-4BBE-B7FA-9DE4B3F020B7}" srcOrd="4" destOrd="0" parTransId="{6CE4495A-3DA3-4F17-87E0-C4ACB172B29E}" sibTransId="{BCF6CD9E-F06B-49D2-8AF0-8C25B0DC12B2}"/>
    <dgm:cxn modelId="{637571EA-EB85-4712-9158-5B01467C97F0}" srcId="{3808D1B8-D398-4994-BEF4-CDBA2D8FF132}" destId="{EA587149-477C-4952-829D-2023599F4E51}" srcOrd="0" destOrd="0" parTransId="{2FA03ACD-910B-4C30-99CD-3ED328C9AC00}" sibTransId="{81E1C12E-F884-4076-9080-89E71AAFC0B2}"/>
    <dgm:cxn modelId="{9790D244-587C-495D-99C4-A99195FA957A}" srcId="{9C3FB3A2-5F85-437F-8E90-0785AF9E80C5}" destId="{A297EDDB-9574-475B-8FEB-343BF08F1D34}" srcOrd="3" destOrd="0" parTransId="{F445232D-9C6B-4ECB-B99B-44ED3C3F9CAC}" sibTransId="{EC91222E-CDE0-4519-91E5-98F466C74917}"/>
    <dgm:cxn modelId="{A7D0C2DF-A92A-48D7-A838-B79DDE57CA47}" type="presOf" srcId="{9C3FB3A2-5F85-437F-8E90-0785AF9E80C5}" destId="{43AEA42A-F142-4158-B977-A19EDEB3938F}" srcOrd="1" destOrd="0" presId="urn:microsoft.com/office/officeart/2005/8/layout/lProcess2"/>
    <dgm:cxn modelId="{45A34E9B-091A-4EB5-9F02-99E5EDFE51BD}" srcId="{A31798FC-DA4A-4BFE-8ED2-1472E7F24065}" destId="{31C09A42-53C8-44AA-ADA4-6057FCCBEA7D}" srcOrd="0" destOrd="0" parTransId="{1ABC663F-E8EB-4957-8F78-2D92C2387B4A}" sibTransId="{4CC096D5-DAC7-45B5-95E1-A7B2901F53E6}"/>
    <dgm:cxn modelId="{C1D96F8B-D2B9-4BE9-A033-1A002B300D22}" type="presOf" srcId="{77CD0D4B-7025-4FB6-95A0-06A87B689C9D}" destId="{C5D35551-ED89-46D3-A79F-62D3AE42A3AF}" srcOrd="0" destOrd="0" presId="urn:microsoft.com/office/officeart/2005/8/layout/lProcess2"/>
    <dgm:cxn modelId="{AF11543C-9A9B-49E9-9668-A6B3FD39B514}" type="presOf" srcId="{3808D1B8-D398-4994-BEF4-CDBA2D8FF132}" destId="{55D844BA-C1A1-4A11-9427-5F83151C96A3}" srcOrd="0" destOrd="0" presId="urn:microsoft.com/office/officeart/2005/8/layout/lProcess2"/>
    <dgm:cxn modelId="{40FA897F-D987-4941-870D-DB82A0233F7E}" type="presOf" srcId="{BD47E16D-D854-4BBE-B7FA-9DE4B3F020B7}" destId="{5EBD4222-2F8F-4DFD-97DA-AC699AF66E4A}" srcOrd="0" destOrd="0" presId="urn:microsoft.com/office/officeart/2005/8/layout/lProcess2"/>
    <dgm:cxn modelId="{3AC58DA8-55CD-4A6C-9EDF-9EA3385BA05E}" type="presOf" srcId="{60611641-ABA5-44FA-92CF-2E8EF8BF6E7E}" destId="{D7AC0F70-DA32-4ADD-8E87-AD81C0BE2EF8}" srcOrd="0" destOrd="0" presId="urn:microsoft.com/office/officeart/2005/8/layout/lProcess2"/>
    <dgm:cxn modelId="{438513C2-A348-4E68-89BC-66452D537B83}" type="presOf" srcId="{767A5B9F-8483-475E-863F-61E37F8D1E1F}" destId="{C608909E-02D4-4B6F-BA99-F9C09FCA7FEB}" srcOrd="0" destOrd="0" presId="urn:microsoft.com/office/officeart/2005/8/layout/lProcess2"/>
    <dgm:cxn modelId="{E1E1050C-A56B-406D-8FF6-FACCD65B63A9}" type="presOf" srcId="{A31798FC-DA4A-4BFE-8ED2-1472E7F24065}" destId="{ABEF653A-0680-4FC1-A21B-2258BF4C1B04}" srcOrd="0" destOrd="0" presId="urn:microsoft.com/office/officeart/2005/8/layout/lProcess2"/>
    <dgm:cxn modelId="{E114B8C9-FAB5-4050-8DC5-FDA0F146D84A}" srcId="{77CD0D4B-7025-4FB6-95A0-06A87B689C9D}" destId="{3808D1B8-D398-4994-BEF4-CDBA2D8FF132}" srcOrd="0" destOrd="0" parTransId="{DA63EFC6-E3C9-4AC3-9C6E-3413D1490447}" sibTransId="{F67A4947-2A91-40B5-BA0D-5B06DAD7EA58}"/>
    <dgm:cxn modelId="{7FD88E24-5D64-47F2-8DE7-DC60D1C35350}" type="presOf" srcId="{31C09A42-53C8-44AA-ADA4-6057FCCBEA7D}" destId="{B65B245B-319B-4683-9164-B804AC1C644D}" srcOrd="0" destOrd="0" presId="urn:microsoft.com/office/officeart/2005/8/layout/lProcess2"/>
    <dgm:cxn modelId="{798EE0EF-740F-4A0A-A65D-F04570967E49}" srcId="{77CD0D4B-7025-4FB6-95A0-06A87B689C9D}" destId="{9C3FB3A2-5F85-437F-8E90-0785AF9E80C5}" srcOrd="4" destOrd="0" parTransId="{82E37E5C-5290-4990-B095-7F7C5837E778}" sibTransId="{73BA330B-72EB-4150-8702-6BFCFA6A6C1E}"/>
    <dgm:cxn modelId="{58A588CF-79F6-4231-8C2D-79F14E4B4607}" srcId="{0A4FE7CF-0164-4E9E-816F-A7696586AEAE}" destId="{60611641-ABA5-44FA-92CF-2E8EF8BF6E7E}" srcOrd="1" destOrd="0" parTransId="{A6F54E47-9508-46B2-8537-184BC1C7D191}" sibTransId="{B6008B14-9A81-401F-A73C-C4978D02042D}"/>
    <dgm:cxn modelId="{E8B697DF-383B-4811-8E08-BF20D5C5CFC5}" srcId="{77CD0D4B-7025-4FB6-95A0-06A87B689C9D}" destId="{94E8FE64-EA80-4397-BDE2-D6186DFC6CB5}" srcOrd="3" destOrd="0" parTransId="{0949E5A2-9D6A-48BE-92EE-0546E75EE338}" sibTransId="{890E3A41-65F9-41BA-89FE-B6910BBC2A69}"/>
    <dgm:cxn modelId="{B251A93D-3994-4D4D-9055-50F5EB738D52}" type="presOf" srcId="{19014497-65C2-4A97-804C-2AEBF35C7B39}" destId="{61838908-64F3-47C5-A86D-2A6D8F44A0E3}" srcOrd="0" destOrd="0" presId="urn:microsoft.com/office/officeart/2005/8/layout/lProcess2"/>
    <dgm:cxn modelId="{6EF5F75C-EF06-439A-8738-FDFED28B6188}" srcId="{94E8FE64-EA80-4397-BDE2-D6186DFC6CB5}" destId="{D490EA33-62DB-4CB0-B578-29E61790051B}" srcOrd="1" destOrd="0" parTransId="{2C541F53-D4F5-4365-BFFF-0950BBDC1A1D}" sibTransId="{FFC8A0B5-0AA3-4661-A7D2-4A0EAD0DE789}"/>
    <dgm:cxn modelId="{9DC9A9A3-85DB-4302-8CDE-D863D4B2BC98}" type="presOf" srcId="{A22695B0-8ED8-4C61-8994-1BF46BB9F58D}" destId="{91FAE1B3-03A6-4890-816A-74B86EA34A60}" srcOrd="0" destOrd="0" presId="urn:microsoft.com/office/officeart/2005/8/layout/lProcess2"/>
    <dgm:cxn modelId="{E17A0271-68E4-433B-9821-6EBD7DB7DA9D}" type="presOf" srcId="{9C3FB3A2-5F85-437F-8E90-0785AF9E80C5}" destId="{6059F9DB-61E9-4AA2-9BCD-3FFD98F9AF51}" srcOrd="0" destOrd="0" presId="urn:microsoft.com/office/officeart/2005/8/layout/lProcess2"/>
    <dgm:cxn modelId="{8565775E-425B-4B77-9B84-001E1884A22E}" type="presOf" srcId="{3808D1B8-D398-4994-BEF4-CDBA2D8FF132}" destId="{9C7CB575-AD11-4A11-BF17-F0760F2F5B80}" srcOrd="1" destOrd="0" presId="urn:microsoft.com/office/officeart/2005/8/layout/lProcess2"/>
    <dgm:cxn modelId="{1D96594A-8127-44CE-A4A4-098FF1FCB589}" type="presOf" srcId="{B4DDF6D4-9083-4F69-8BB6-626593DF48BD}" destId="{63C6F5D6-512D-4530-8615-A0F674786495}" srcOrd="0" destOrd="0" presId="urn:microsoft.com/office/officeart/2005/8/layout/lProcess2"/>
    <dgm:cxn modelId="{260ECD13-20B0-47D6-8BB2-2EC1AEDE62AA}" type="presOf" srcId="{A0851C66-D98D-403A-B478-A2FCA6C72157}" destId="{FDDBD7BC-EA21-4CF2-9A66-D63F1A29806A}" srcOrd="0" destOrd="0" presId="urn:microsoft.com/office/officeart/2005/8/layout/lProcess2"/>
    <dgm:cxn modelId="{D3972264-1860-4150-A725-A8489A85C526}" srcId="{9C3FB3A2-5F85-437F-8E90-0785AF9E80C5}" destId="{AB78E311-A29A-4329-8D70-36DF2CC57B8E}" srcOrd="1" destOrd="0" parTransId="{2CAAFBE0-5D5A-40DA-A79D-916C3261AC14}" sibTransId="{21589322-4DB5-4C8F-8EBE-3D7C7F64998C}"/>
    <dgm:cxn modelId="{330C7E09-5810-4332-A7EF-DB129A74900C}" srcId="{3808D1B8-D398-4994-BEF4-CDBA2D8FF132}" destId="{B4DDF6D4-9083-4F69-8BB6-626593DF48BD}" srcOrd="1" destOrd="0" parTransId="{77F32B51-FDBA-478B-90C3-46FA330CC16B}" sibTransId="{85ED7E07-32F3-479D-A824-53AC5449D2A2}"/>
    <dgm:cxn modelId="{2C0AAB53-EF07-4752-852A-A120E7060A94}" type="presOf" srcId="{57FA270C-9A0D-4742-A0FE-A69C510DD39C}" destId="{7C9C6F35-212C-43E9-B13F-3D0A610B1F4D}" srcOrd="0" destOrd="0" presId="urn:microsoft.com/office/officeart/2005/8/layout/lProcess2"/>
    <dgm:cxn modelId="{DF3F43BA-C848-4185-99F2-1472F3EEAA0A}" srcId="{77CD0D4B-7025-4FB6-95A0-06A87B689C9D}" destId="{0A4FE7CF-0164-4E9E-816F-A7696586AEAE}" srcOrd="5" destOrd="0" parTransId="{06C27E9E-54AF-4984-9956-09B53EE67756}" sibTransId="{4FFA71A1-31A2-4568-8A93-129CBCED9E9F}"/>
    <dgm:cxn modelId="{20400A4B-E9CF-4314-ABD4-54E7606E248E}" srcId="{9C3FB3A2-5F85-437F-8E90-0785AF9E80C5}" destId="{5E327551-F49A-41F3-97A9-A0643B782C0E}" srcOrd="4" destOrd="0" parTransId="{A0DC384E-9654-4C92-BE9B-B3AA190F8963}" sibTransId="{531E1571-99BB-43D9-82A6-2B85039FB54F}"/>
    <dgm:cxn modelId="{C74B8B3F-79A3-440C-8BE7-A619A7171F5E}" type="presOf" srcId="{8DC6A859-0750-40F9-9474-59EEB7CEA8EC}" destId="{311A5314-D52B-40F1-8288-FE0073C2B291}" srcOrd="0" destOrd="0" presId="urn:microsoft.com/office/officeart/2005/8/layout/lProcess2"/>
    <dgm:cxn modelId="{4A2C1ABD-5BA5-4B72-A98E-0236323080B2}" srcId="{A31798FC-DA4A-4BFE-8ED2-1472E7F24065}" destId="{A22695B0-8ED8-4C61-8994-1BF46BB9F58D}" srcOrd="1" destOrd="0" parTransId="{A9AE4106-0853-432A-8C92-A1E22C24729E}" sibTransId="{3CF51E85-771A-462E-906E-19349C323A63}"/>
    <dgm:cxn modelId="{DEFD7798-4D2B-46A0-9737-9B4B45628FA9}" srcId="{4C0D1724-7F8A-4376-AC05-2FCCC2319E7F}" destId="{8DC6A859-0750-40F9-9474-59EEB7CEA8EC}" srcOrd="1" destOrd="0" parTransId="{940D423A-C12B-4A10-B112-7E452949CE68}" sibTransId="{35D9C209-298F-4DDF-9A0F-007F2AA117E2}"/>
    <dgm:cxn modelId="{9E65A762-6053-4CA8-BC23-8CEC8ECDB679}" type="presOf" srcId="{BFD48F44-BA1D-4F46-8E69-9685FCB3FDB8}" destId="{79AC6589-DC85-492D-BA90-C9A1DE959FC0}" srcOrd="0" destOrd="0" presId="urn:microsoft.com/office/officeart/2005/8/layout/lProcess2"/>
    <dgm:cxn modelId="{DF2A7B60-2489-4B55-82E4-0A5226482CB3}" type="presOf" srcId="{AB78E311-A29A-4329-8D70-36DF2CC57B8E}" destId="{C34636F1-FFD5-4F20-BBDE-AEBB497D1B18}" srcOrd="0" destOrd="0" presId="urn:microsoft.com/office/officeart/2005/8/layout/lProcess2"/>
    <dgm:cxn modelId="{7BE0569B-B8B8-4C63-A8D6-294526F3465F}" type="presOf" srcId="{94E8FE64-EA80-4397-BDE2-D6186DFC6CB5}" destId="{DE39DF0A-351C-4538-955C-07DF7A62D204}" srcOrd="0" destOrd="0" presId="urn:microsoft.com/office/officeart/2005/8/layout/lProcess2"/>
    <dgm:cxn modelId="{EA86A750-3D6C-4D22-9BCC-573937EC3B93}" srcId="{4C0D1724-7F8A-4376-AC05-2FCCC2319E7F}" destId="{E3D8CED7-9A58-49CF-81FE-9B3BB6998DBE}" srcOrd="2" destOrd="0" parTransId="{3E0D6FE1-DFEC-4944-8324-A67AB549DBF2}" sibTransId="{887D72AD-02D6-4D4B-9905-1BA6936026D2}"/>
    <dgm:cxn modelId="{56E2C368-3419-4B08-B90C-F1F64EA028D3}" srcId="{94E8FE64-EA80-4397-BDE2-D6186DFC6CB5}" destId="{FA5F64DC-5077-44CB-A54C-0362279EE164}" srcOrd="3" destOrd="0" parTransId="{B43D5451-0A30-49AA-B0D5-7E4BD6BCB2C1}" sibTransId="{180D67DC-54EF-4982-8145-7D4A1B74A8B0}"/>
    <dgm:cxn modelId="{25EC4CDC-5F14-4BA8-ACDA-15371CD8B217}" srcId="{94E8FE64-EA80-4397-BDE2-D6186DFC6CB5}" destId="{A0851C66-D98D-403A-B478-A2FCA6C72157}" srcOrd="0" destOrd="0" parTransId="{CC44837B-654B-4944-BE54-29DEF27C0858}" sibTransId="{74CD3522-08E8-4C09-8A1B-65F9DD9D2F77}"/>
    <dgm:cxn modelId="{4205E1EF-CDB0-4D5B-BE3A-0D83A6FFF69A}" srcId="{77CD0D4B-7025-4FB6-95A0-06A87B689C9D}" destId="{4C0D1724-7F8A-4376-AC05-2FCCC2319E7F}" srcOrd="2" destOrd="0" parTransId="{97DE1480-EE0A-4900-9A66-4F01E235D44F}" sibTransId="{9E9060B6-A9E7-4EFD-B552-8B662B3CEED2}"/>
    <dgm:cxn modelId="{672B78F9-C2AA-4AE8-9343-A29DC90D7D71}" srcId="{A31798FC-DA4A-4BFE-8ED2-1472E7F24065}" destId="{57FA270C-9A0D-4742-A0FE-A69C510DD39C}" srcOrd="2" destOrd="0" parTransId="{EC3F6A6B-B697-42D0-9412-8CAD225374F4}" sibTransId="{777BF9B1-C325-4D15-BD84-B6A1259B54AC}"/>
    <dgm:cxn modelId="{38443785-2517-416B-BAA0-8300AAD46010}" type="presOf" srcId="{4C0D1724-7F8A-4376-AC05-2FCCC2319E7F}" destId="{89D6696C-88D2-4229-843B-422C0843CA2D}" srcOrd="1" destOrd="0" presId="urn:microsoft.com/office/officeart/2005/8/layout/lProcess2"/>
    <dgm:cxn modelId="{6B9CD0D6-65B6-4D69-9CBA-A811C1BF1035}" type="presOf" srcId="{A31798FC-DA4A-4BFE-8ED2-1472E7F24065}" destId="{5D2DDC18-63B6-41F3-BC4A-0BFEFCB6A25E}" srcOrd="1" destOrd="0" presId="urn:microsoft.com/office/officeart/2005/8/layout/lProcess2"/>
    <dgm:cxn modelId="{C9EEDCC2-014F-4554-9956-8D4080E1882D}" type="presOf" srcId="{92210B8D-6E6F-48D6-A4DA-45737F80366A}" destId="{36C748D2-73E8-49DD-8395-5FDDC3399964}" srcOrd="0" destOrd="0" presId="urn:microsoft.com/office/officeart/2005/8/layout/lProcess2"/>
    <dgm:cxn modelId="{CB474608-C6A5-4CF4-BAAA-57D8787329E8}" type="presOf" srcId="{0A4FE7CF-0164-4E9E-816F-A7696586AEAE}" destId="{BA110D70-8EDD-4284-A44D-4229C9DE9042}" srcOrd="1" destOrd="0" presId="urn:microsoft.com/office/officeart/2005/8/layout/lProcess2"/>
    <dgm:cxn modelId="{F320761E-643F-48AF-A262-E67E1F275569}" type="presParOf" srcId="{C5D35551-ED89-46D3-A79F-62D3AE42A3AF}" destId="{4F332557-A9B0-4443-B624-627DF838B4FA}" srcOrd="0" destOrd="0" presId="urn:microsoft.com/office/officeart/2005/8/layout/lProcess2"/>
    <dgm:cxn modelId="{274DB80E-2695-445F-9768-BECC0CC62B32}" type="presParOf" srcId="{4F332557-A9B0-4443-B624-627DF838B4FA}" destId="{55D844BA-C1A1-4A11-9427-5F83151C96A3}" srcOrd="0" destOrd="0" presId="urn:microsoft.com/office/officeart/2005/8/layout/lProcess2"/>
    <dgm:cxn modelId="{8A29679D-5063-45CD-95A3-FD38BEBD9455}" type="presParOf" srcId="{4F332557-A9B0-4443-B624-627DF838B4FA}" destId="{9C7CB575-AD11-4A11-BF17-F0760F2F5B80}" srcOrd="1" destOrd="0" presId="urn:microsoft.com/office/officeart/2005/8/layout/lProcess2"/>
    <dgm:cxn modelId="{AC9A47B6-011D-40A3-B1B7-A09E9070F0C1}" type="presParOf" srcId="{4F332557-A9B0-4443-B624-627DF838B4FA}" destId="{3857F702-D215-413C-97C8-43F3F5D7AE08}" srcOrd="2" destOrd="0" presId="urn:microsoft.com/office/officeart/2005/8/layout/lProcess2"/>
    <dgm:cxn modelId="{4A8CDDBB-2543-4F25-A18C-0B3E38641428}" type="presParOf" srcId="{3857F702-D215-413C-97C8-43F3F5D7AE08}" destId="{40109331-69E2-4326-9256-90716B968D6B}" srcOrd="0" destOrd="0" presId="urn:microsoft.com/office/officeart/2005/8/layout/lProcess2"/>
    <dgm:cxn modelId="{892989C9-76E7-4348-8836-C72A4D92F4B1}" type="presParOf" srcId="{40109331-69E2-4326-9256-90716B968D6B}" destId="{00CBF14F-9269-4D58-A58F-EB522EB2AE50}" srcOrd="0" destOrd="0" presId="urn:microsoft.com/office/officeart/2005/8/layout/lProcess2"/>
    <dgm:cxn modelId="{E3C2BDF4-961B-4B6C-96D1-724D79A6C9CA}" type="presParOf" srcId="{40109331-69E2-4326-9256-90716B968D6B}" destId="{A54EF85F-75B2-4D3F-8E7D-4D6EB0DBE880}" srcOrd="1" destOrd="0" presId="urn:microsoft.com/office/officeart/2005/8/layout/lProcess2"/>
    <dgm:cxn modelId="{843D9D5E-3588-4A68-B22E-F1E70A5D8C87}" type="presParOf" srcId="{40109331-69E2-4326-9256-90716B968D6B}" destId="{63C6F5D6-512D-4530-8615-A0F674786495}" srcOrd="2" destOrd="0" presId="urn:microsoft.com/office/officeart/2005/8/layout/lProcess2"/>
    <dgm:cxn modelId="{01D5C2D1-635F-442B-94C8-EACDA0982D7E}" type="presParOf" srcId="{C5D35551-ED89-46D3-A79F-62D3AE42A3AF}" destId="{6E56CFF5-68B8-4B64-AF74-4F4F2D658083}" srcOrd="1" destOrd="0" presId="urn:microsoft.com/office/officeart/2005/8/layout/lProcess2"/>
    <dgm:cxn modelId="{1FD68C5B-8514-4010-9C2D-8C2C1BCEF69F}" type="presParOf" srcId="{C5D35551-ED89-46D3-A79F-62D3AE42A3AF}" destId="{4A5DBF44-62F3-4AF2-AF65-F5626707E915}" srcOrd="2" destOrd="0" presId="urn:microsoft.com/office/officeart/2005/8/layout/lProcess2"/>
    <dgm:cxn modelId="{CF42E55D-646F-4328-9134-4D340F21AE64}" type="presParOf" srcId="{4A5DBF44-62F3-4AF2-AF65-F5626707E915}" destId="{ABEF653A-0680-4FC1-A21B-2258BF4C1B04}" srcOrd="0" destOrd="0" presId="urn:microsoft.com/office/officeart/2005/8/layout/lProcess2"/>
    <dgm:cxn modelId="{AEDA7230-F7F9-4393-B450-E11B456B2CF6}" type="presParOf" srcId="{4A5DBF44-62F3-4AF2-AF65-F5626707E915}" destId="{5D2DDC18-63B6-41F3-BC4A-0BFEFCB6A25E}" srcOrd="1" destOrd="0" presId="urn:microsoft.com/office/officeart/2005/8/layout/lProcess2"/>
    <dgm:cxn modelId="{E4D1ED50-C90B-4D4E-A125-74FCCB3B2F95}" type="presParOf" srcId="{4A5DBF44-62F3-4AF2-AF65-F5626707E915}" destId="{0C963711-5794-4382-95AF-FB255D8B4105}" srcOrd="2" destOrd="0" presId="urn:microsoft.com/office/officeart/2005/8/layout/lProcess2"/>
    <dgm:cxn modelId="{829C38B9-0447-4E18-BEE0-1477A0846DED}" type="presParOf" srcId="{0C963711-5794-4382-95AF-FB255D8B4105}" destId="{B95896E3-E537-4C67-AAD3-C1C5464CC34B}" srcOrd="0" destOrd="0" presId="urn:microsoft.com/office/officeart/2005/8/layout/lProcess2"/>
    <dgm:cxn modelId="{5119CCE3-16D5-4237-A043-7F61530A0215}" type="presParOf" srcId="{B95896E3-E537-4C67-AAD3-C1C5464CC34B}" destId="{B65B245B-319B-4683-9164-B804AC1C644D}" srcOrd="0" destOrd="0" presId="urn:microsoft.com/office/officeart/2005/8/layout/lProcess2"/>
    <dgm:cxn modelId="{E2208FDC-D391-4756-839D-CDE2272323AA}" type="presParOf" srcId="{B95896E3-E537-4C67-AAD3-C1C5464CC34B}" destId="{7B20AB17-05C2-445C-9998-0AB43D11619C}" srcOrd="1" destOrd="0" presId="urn:microsoft.com/office/officeart/2005/8/layout/lProcess2"/>
    <dgm:cxn modelId="{F53696FF-C9B8-426B-8ADF-F3F1EEDF7942}" type="presParOf" srcId="{B95896E3-E537-4C67-AAD3-C1C5464CC34B}" destId="{91FAE1B3-03A6-4890-816A-74B86EA34A60}" srcOrd="2" destOrd="0" presId="urn:microsoft.com/office/officeart/2005/8/layout/lProcess2"/>
    <dgm:cxn modelId="{3B438773-7DE5-44D2-BD74-3182D31A9E50}" type="presParOf" srcId="{B95896E3-E537-4C67-AAD3-C1C5464CC34B}" destId="{678C0431-D5C8-4DB3-A1C0-CDE104617E4D}" srcOrd="3" destOrd="0" presId="urn:microsoft.com/office/officeart/2005/8/layout/lProcess2"/>
    <dgm:cxn modelId="{128A6C34-D88D-498B-A919-F3F627D5C3F7}" type="presParOf" srcId="{B95896E3-E537-4C67-AAD3-C1C5464CC34B}" destId="{7C9C6F35-212C-43E9-B13F-3D0A610B1F4D}" srcOrd="4" destOrd="0" presId="urn:microsoft.com/office/officeart/2005/8/layout/lProcess2"/>
    <dgm:cxn modelId="{4CACF4FF-71EE-4109-BE3F-12265A1410A9}" type="presParOf" srcId="{C5D35551-ED89-46D3-A79F-62D3AE42A3AF}" destId="{C43E691C-B6FC-4F0C-9D0D-8249E1D092A9}" srcOrd="3" destOrd="0" presId="urn:microsoft.com/office/officeart/2005/8/layout/lProcess2"/>
    <dgm:cxn modelId="{32BDCDD7-052D-4875-B637-BA3F9E2A4140}" type="presParOf" srcId="{C5D35551-ED89-46D3-A79F-62D3AE42A3AF}" destId="{38FA240C-84CF-4D63-96F6-6967CDEBE770}" srcOrd="4" destOrd="0" presId="urn:microsoft.com/office/officeart/2005/8/layout/lProcess2"/>
    <dgm:cxn modelId="{A99420E7-8A0A-430A-91E4-636BED43DFA9}" type="presParOf" srcId="{38FA240C-84CF-4D63-96F6-6967CDEBE770}" destId="{118A0777-C1FC-409B-B0D3-82D0ADDB56CA}" srcOrd="0" destOrd="0" presId="urn:microsoft.com/office/officeart/2005/8/layout/lProcess2"/>
    <dgm:cxn modelId="{8957F4D5-8DD3-4F63-AACA-C2C4A8FED857}" type="presParOf" srcId="{38FA240C-84CF-4D63-96F6-6967CDEBE770}" destId="{89D6696C-88D2-4229-843B-422C0843CA2D}" srcOrd="1" destOrd="0" presId="urn:microsoft.com/office/officeart/2005/8/layout/lProcess2"/>
    <dgm:cxn modelId="{CFC90390-DD09-4CAA-B45F-1B78FB09885B}" type="presParOf" srcId="{38FA240C-84CF-4D63-96F6-6967CDEBE770}" destId="{76C2F2D8-4782-465A-8A66-B25C7BCCDE24}" srcOrd="2" destOrd="0" presId="urn:microsoft.com/office/officeart/2005/8/layout/lProcess2"/>
    <dgm:cxn modelId="{A4304896-8F7A-488B-92F3-B292DC2AD220}" type="presParOf" srcId="{76C2F2D8-4782-465A-8A66-B25C7BCCDE24}" destId="{79D8DD83-DA65-486D-A85E-7182BF99346F}" srcOrd="0" destOrd="0" presId="urn:microsoft.com/office/officeart/2005/8/layout/lProcess2"/>
    <dgm:cxn modelId="{16AAE2CC-6512-4AC7-83BC-0049587D65BD}" type="presParOf" srcId="{79D8DD83-DA65-486D-A85E-7182BF99346F}" destId="{61838908-64F3-47C5-A86D-2A6D8F44A0E3}" srcOrd="0" destOrd="0" presId="urn:microsoft.com/office/officeart/2005/8/layout/lProcess2"/>
    <dgm:cxn modelId="{D826FAB1-AC35-496B-9EC3-0ABFB5447523}" type="presParOf" srcId="{79D8DD83-DA65-486D-A85E-7182BF99346F}" destId="{2C56DEE8-5C4B-42B1-8F3E-B960C88BB863}" srcOrd="1" destOrd="0" presId="urn:microsoft.com/office/officeart/2005/8/layout/lProcess2"/>
    <dgm:cxn modelId="{F5F62815-E96A-4CF8-B182-BF890C029F17}" type="presParOf" srcId="{79D8DD83-DA65-486D-A85E-7182BF99346F}" destId="{311A5314-D52B-40F1-8288-FE0073C2B291}" srcOrd="2" destOrd="0" presId="urn:microsoft.com/office/officeart/2005/8/layout/lProcess2"/>
    <dgm:cxn modelId="{5E92D273-1688-4B3B-83B0-9F37035AD70B}" type="presParOf" srcId="{79D8DD83-DA65-486D-A85E-7182BF99346F}" destId="{42A34A40-F23B-4CAA-BBF3-5F2514A3B78F}" srcOrd="3" destOrd="0" presId="urn:microsoft.com/office/officeart/2005/8/layout/lProcess2"/>
    <dgm:cxn modelId="{FF100B1F-3345-421F-857B-9BAF96998811}" type="presParOf" srcId="{79D8DD83-DA65-486D-A85E-7182BF99346F}" destId="{4341055F-33F2-4BF2-8F91-5C6630CFF19C}" srcOrd="4" destOrd="0" presId="urn:microsoft.com/office/officeart/2005/8/layout/lProcess2"/>
    <dgm:cxn modelId="{50567454-85A3-4414-9E96-341A5E8D353E}" type="presParOf" srcId="{C5D35551-ED89-46D3-A79F-62D3AE42A3AF}" destId="{A1A73069-9C27-4243-9247-7C41F9201879}" srcOrd="5" destOrd="0" presId="urn:microsoft.com/office/officeart/2005/8/layout/lProcess2"/>
    <dgm:cxn modelId="{235CA2E5-E070-4CC0-8010-DE024478502F}" type="presParOf" srcId="{C5D35551-ED89-46D3-A79F-62D3AE42A3AF}" destId="{944D883A-5DB0-4EE6-B031-32D409C4E5B7}" srcOrd="6" destOrd="0" presId="urn:microsoft.com/office/officeart/2005/8/layout/lProcess2"/>
    <dgm:cxn modelId="{EEF8DCE2-4718-4EB0-B8B8-BD2A502C1A8F}" type="presParOf" srcId="{944D883A-5DB0-4EE6-B031-32D409C4E5B7}" destId="{DE39DF0A-351C-4538-955C-07DF7A62D204}" srcOrd="0" destOrd="0" presId="urn:microsoft.com/office/officeart/2005/8/layout/lProcess2"/>
    <dgm:cxn modelId="{E103E1F6-6829-4D6D-A0C8-ED0B7961EC98}" type="presParOf" srcId="{944D883A-5DB0-4EE6-B031-32D409C4E5B7}" destId="{09D18F0D-3333-40CA-9207-F4D6ED973D9C}" srcOrd="1" destOrd="0" presId="urn:microsoft.com/office/officeart/2005/8/layout/lProcess2"/>
    <dgm:cxn modelId="{1CA6282A-C910-4FEF-98AD-EE16737B3BAC}" type="presParOf" srcId="{944D883A-5DB0-4EE6-B031-32D409C4E5B7}" destId="{AADC8707-2D19-4983-A7F1-DA6295CD8D55}" srcOrd="2" destOrd="0" presId="urn:microsoft.com/office/officeart/2005/8/layout/lProcess2"/>
    <dgm:cxn modelId="{236A5570-C2AB-4AEE-BF2A-6D0D43D98141}" type="presParOf" srcId="{AADC8707-2D19-4983-A7F1-DA6295CD8D55}" destId="{91AA3747-020E-4F05-AA82-7D0230C849B7}" srcOrd="0" destOrd="0" presId="urn:microsoft.com/office/officeart/2005/8/layout/lProcess2"/>
    <dgm:cxn modelId="{42EE42E0-BABA-48C9-AB03-838DB30F10B4}" type="presParOf" srcId="{91AA3747-020E-4F05-AA82-7D0230C849B7}" destId="{FDDBD7BC-EA21-4CF2-9A66-D63F1A29806A}" srcOrd="0" destOrd="0" presId="urn:microsoft.com/office/officeart/2005/8/layout/lProcess2"/>
    <dgm:cxn modelId="{7611EEC8-2F9D-40CE-927B-3240DA1144A6}" type="presParOf" srcId="{91AA3747-020E-4F05-AA82-7D0230C849B7}" destId="{D2E5BAFE-BB02-455D-84E8-1800A1163FDC}" srcOrd="1" destOrd="0" presId="urn:microsoft.com/office/officeart/2005/8/layout/lProcess2"/>
    <dgm:cxn modelId="{387C2611-6062-482C-BD1F-3220B1378973}" type="presParOf" srcId="{91AA3747-020E-4F05-AA82-7D0230C849B7}" destId="{572B8765-6D48-4B8B-9DE2-8F5627FD3387}" srcOrd="2" destOrd="0" presId="urn:microsoft.com/office/officeart/2005/8/layout/lProcess2"/>
    <dgm:cxn modelId="{3A6ACF3D-C9D1-4151-9C26-DF0F110F3A30}" type="presParOf" srcId="{91AA3747-020E-4F05-AA82-7D0230C849B7}" destId="{C454C962-1B11-4D50-B06C-2CE039E96BEA}" srcOrd="3" destOrd="0" presId="urn:microsoft.com/office/officeart/2005/8/layout/lProcess2"/>
    <dgm:cxn modelId="{70DD402F-21C8-4C34-A15F-FD65C4F327C2}" type="presParOf" srcId="{91AA3747-020E-4F05-AA82-7D0230C849B7}" destId="{36C748D2-73E8-49DD-8395-5FDDC3399964}" srcOrd="4" destOrd="0" presId="urn:microsoft.com/office/officeart/2005/8/layout/lProcess2"/>
    <dgm:cxn modelId="{BC9B5341-E3CA-4952-9F49-8FD2573C33D5}" type="presParOf" srcId="{91AA3747-020E-4F05-AA82-7D0230C849B7}" destId="{E3EAC9A1-7D2A-444C-8F65-654002961B48}" srcOrd="5" destOrd="0" presId="urn:microsoft.com/office/officeart/2005/8/layout/lProcess2"/>
    <dgm:cxn modelId="{92E49D40-B333-4FAF-AB52-5A853B804205}" type="presParOf" srcId="{91AA3747-020E-4F05-AA82-7D0230C849B7}" destId="{C9BC4A27-0F03-4262-A03D-913C5773E69D}" srcOrd="6" destOrd="0" presId="urn:microsoft.com/office/officeart/2005/8/layout/lProcess2"/>
    <dgm:cxn modelId="{3BE4B881-5557-4F5F-9BDA-5F5424BE6161}" type="presParOf" srcId="{91AA3747-020E-4F05-AA82-7D0230C849B7}" destId="{BB765F90-64C3-4460-9382-C721F4F3EE32}" srcOrd="7" destOrd="0" presId="urn:microsoft.com/office/officeart/2005/8/layout/lProcess2"/>
    <dgm:cxn modelId="{D134085B-ED19-4C0D-B312-DC6850B056AB}" type="presParOf" srcId="{91AA3747-020E-4F05-AA82-7D0230C849B7}" destId="{5EBD4222-2F8F-4DFD-97DA-AC699AF66E4A}" srcOrd="8" destOrd="0" presId="urn:microsoft.com/office/officeart/2005/8/layout/lProcess2"/>
    <dgm:cxn modelId="{89E5245E-4B1E-4B47-AA48-48C96A1CC3F1}" type="presParOf" srcId="{C5D35551-ED89-46D3-A79F-62D3AE42A3AF}" destId="{CA2BA737-A88D-4274-A3E7-A445313A60C9}" srcOrd="7" destOrd="0" presId="urn:microsoft.com/office/officeart/2005/8/layout/lProcess2"/>
    <dgm:cxn modelId="{DE2C9E53-25F5-46D6-B79A-D8BC02211CAE}" type="presParOf" srcId="{C5D35551-ED89-46D3-A79F-62D3AE42A3AF}" destId="{14ABAB62-3A17-45E6-9383-8A99A528D7E4}" srcOrd="8" destOrd="0" presId="urn:microsoft.com/office/officeart/2005/8/layout/lProcess2"/>
    <dgm:cxn modelId="{C6DEB8DA-BB10-4993-9C72-59D4EEDAC9BF}" type="presParOf" srcId="{14ABAB62-3A17-45E6-9383-8A99A528D7E4}" destId="{6059F9DB-61E9-4AA2-9BCD-3FFD98F9AF51}" srcOrd="0" destOrd="0" presId="urn:microsoft.com/office/officeart/2005/8/layout/lProcess2"/>
    <dgm:cxn modelId="{AC71523A-CD51-47F6-94A9-8769AE0C99A1}" type="presParOf" srcId="{14ABAB62-3A17-45E6-9383-8A99A528D7E4}" destId="{43AEA42A-F142-4158-B977-A19EDEB3938F}" srcOrd="1" destOrd="0" presId="urn:microsoft.com/office/officeart/2005/8/layout/lProcess2"/>
    <dgm:cxn modelId="{50DDD8F7-F08F-447B-A782-4AE689673C12}" type="presParOf" srcId="{14ABAB62-3A17-45E6-9383-8A99A528D7E4}" destId="{E6C3A57F-129F-4B34-99DC-949F5DAD13E5}" srcOrd="2" destOrd="0" presId="urn:microsoft.com/office/officeart/2005/8/layout/lProcess2"/>
    <dgm:cxn modelId="{272D6039-55B8-4268-9292-172C86843C81}" type="presParOf" srcId="{E6C3A57F-129F-4B34-99DC-949F5DAD13E5}" destId="{926D9D6D-C7E2-44D6-9D52-B6686631561D}" srcOrd="0" destOrd="0" presId="urn:microsoft.com/office/officeart/2005/8/layout/lProcess2"/>
    <dgm:cxn modelId="{D6B349E3-99CF-4A7B-9A02-A7736CCF0B57}" type="presParOf" srcId="{926D9D6D-C7E2-44D6-9D52-B6686631561D}" destId="{C608909E-02D4-4B6F-BA99-F9C09FCA7FEB}" srcOrd="0" destOrd="0" presId="urn:microsoft.com/office/officeart/2005/8/layout/lProcess2"/>
    <dgm:cxn modelId="{3506C407-8224-4E29-800D-42895593C460}" type="presParOf" srcId="{926D9D6D-C7E2-44D6-9D52-B6686631561D}" destId="{5C038E82-4885-45E6-82C2-3281D962EBB7}" srcOrd="1" destOrd="0" presId="urn:microsoft.com/office/officeart/2005/8/layout/lProcess2"/>
    <dgm:cxn modelId="{53F23B4D-62DB-46A6-B732-9B56C064D1B3}" type="presParOf" srcId="{926D9D6D-C7E2-44D6-9D52-B6686631561D}" destId="{C34636F1-FFD5-4F20-BBDE-AEBB497D1B18}" srcOrd="2" destOrd="0" presId="urn:microsoft.com/office/officeart/2005/8/layout/lProcess2"/>
    <dgm:cxn modelId="{F4993845-487D-4054-8F6B-F099050494B3}" type="presParOf" srcId="{926D9D6D-C7E2-44D6-9D52-B6686631561D}" destId="{EE3ED69B-F76F-468E-9B4F-5447DF517BD3}" srcOrd="3" destOrd="0" presId="urn:microsoft.com/office/officeart/2005/8/layout/lProcess2"/>
    <dgm:cxn modelId="{E15ED43A-1591-448D-AA46-FF498F0362CD}" type="presParOf" srcId="{926D9D6D-C7E2-44D6-9D52-B6686631561D}" destId="{79AC6589-DC85-492D-BA90-C9A1DE959FC0}" srcOrd="4" destOrd="0" presId="urn:microsoft.com/office/officeart/2005/8/layout/lProcess2"/>
    <dgm:cxn modelId="{58C393E5-9E30-4597-B2B7-454A3674DDFF}" type="presParOf" srcId="{926D9D6D-C7E2-44D6-9D52-B6686631561D}" destId="{BF549D4A-FCFC-41E1-A0FA-D8E1887ED3E9}" srcOrd="5" destOrd="0" presId="urn:microsoft.com/office/officeart/2005/8/layout/lProcess2"/>
    <dgm:cxn modelId="{63414497-0590-4046-AC2E-C3008B467B85}" type="presParOf" srcId="{926D9D6D-C7E2-44D6-9D52-B6686631561D}" destId="{BFC70E42-2D94-4035-B49A-905DB4AA98B3}" srcOrd="6" destOrd="0" presId="urn:microsoft.com/office/officeart/2005/8/layout/lProcess2"/>
    <dgm:cxn modelId="{B9E61186-F026-413D-9A13-12232AEA2015}" type="presParOf" srcId="{926D9D6D-C7E2-44D6-9D52-B6686631561D}" destId="{8CB90E95-16C0-4F7E-8DD1-7811FDD1FCC2}" srcOrd="7" destOrd="0" presId="urn:microsoft.com/office/officeart/2005/8/layout/lProcess2"/>
    <dgm:cxn modelId="{93EC50D1-9EE8-48B7-96A9-974137A82D91}" type="presParOf" srcId="{926D9D6D-C7E2-44D6-9D52-B6686631561D}" destId="{7E8CEEF3-A25E-4697-820D-92C80712AF4A}" srcOrd="8" destOrd="0" presId="urn:microsoft.com/office/officeart/2005/8/layout/lProcess2"/>
    <dgm:cxn modelId="{64769CEF-5F95-4EA1-AFBD-3D4488C479A8}" type="presParOf" srcId="{C5D35551-ED89-46D3-A79F-62D3AE42A3AF}" destId="{FCC0655B-FCA5-46C8-9F9F-325CBF0F53BD}" srcOrd="9" destOrd="0" presId="urn:microsoft.com/office/officeart/2005/8/layout/lProcess2"/>
    <dgm:cxn modelId="{1EA9F5A1-2CF6-4148-A720-738C88729AC9}" type="presParOf" srcId="{C5D35551-ED89-46D3-A79F-62D3AE42A3AF}" destId="{B8CBC38A-549B-4A5B-9E25-6FE26E2215A8}" srcOrd="10" destOrd="0" presId="urn:microsoft.com/office/officeart/2005/8/layout/lProcess2"/>
    <dgm:cxn modelId="{9922A6F1-618B-4943-AEAF-5E5FEE29EF07}" type="presParOf" srcId="{B8CBC38A-549B-4A5B-9E25-6FE26E2215A8}" destId="{690E68F6-80A9-4605-8A97-4805BE346825}" srcOrd="0" destOrd="0" presId="urn:microsoft.com/office/officeart/2005/8/layout/lProcess2"/>
    <dgm:cxn modelId="{CD4AE745-41A3-48D9-8CCE-E31E76090A26}" type="presParOf" srcId="{B8CBC38A-549B-4A5B-9E25-6FE26E2215A8}" destId="{BA110D70-8EDD-4284-A44D-4229C9DE9042}" srcOrd="1" destOrd="0" presId="urn:microsoft.com/office/officeart/2005/8/layout/lProcess2"/>
    <dgm:cxn modelId="{6760BDE3-8850-491F-BA8F-05DB515CC1C3}" type="presParOf" srcId="{B8CBC38A-549B-4A5B-9E25-6FE26E2215A8}" destId="{24B51BAD-E015-4EA1-B058-704BA8165394}" srcOrd="2" destOrd="0" presId="urn:microsoft.com/office/officeart/2005/8/layout/lProcess2"/>
    <dgm:cxn modelId="{51619CC3-E2D7-46AE-9836-1B1C850F7F29}" type="presParOf" srcId="{24B51BAD-E015-4EA1-B058-704BA8165394}" destId="{21C72C43-E692-4630-8FA9-DA06110671FB}" srcOrd="0" destOrd="0" presId="urn:microsoft.com/office/officeart/2005/8/layout/lProcess2"/>
    <dgm:cxn modelId="{23CA83F6-8C19-4DA5-BBD5-3AEF7EC48DE7}" type="presParOf" srcId="{21C72C43-E692-4630-8FA9-DA06110671FB}" destId="{7D49BD64-563D-418C-9A5E-FAAD3ED461FD}" srcOrd="0" destOrd="0" presId="urn:microsoft.com/office/officeart/2005/8/layout/lProcess2"/>
    <dgm:cxn modelId="{7BA7AEB6-96B8-4283-8F27-0DA8BE28D3B2}" type="presParOf" srcId="{21C72C43-E692-4630-8FA9-DA06110671FB}" destId="{C9FE8425-84A2-40E8-8859-3A466E4B05B5}" srcOrd="1" destOrd="0" presId="urn:microsoft.com/office/officeart/2005/8/layout/lProcess2"/>
    <dgm:cxn modelId="{83072821-4251-42B1-BB21-91B19C7C3019}" type="presParOf" srcId="{21C72C43-E692-4630-8FA9-DA06110671FB}" destId="{D7AC0F70-DA32-4ADD-8E87-AD81C0BE2EF8}"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EA4B94A3-3112-47D6-836A-629D704D93EA}"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zh-CN" altLang="en-US"/>
        </a:p>
      </dgm:t>
    </dgm:pt>
    <dgm:pt modelId="{41D7C3CF-F642-49FA-B6FE-70C2440290DD}">
      <dgm:prSet phldrT="[文本]"/>
      <dgm:spPr/>
      <dgm:t>
        <a:bodyPr/>
        <a:lstStyle/>
        <a:p>
          <a:r>
            <a:rPr lang="zh-CN" altLang="en-US" dirty="0" smtClean="0"/>
            <a:t>嗅探踩点</a:t>
          </a:r>
          <a:endParaRPr lang="zh-CN" altLang="en-US" dirty="0"/>
        </a:p>
      </dgm:t>
    </dgm:pt>
    <dgm:pt modelId="{ED0CA4E3-345B-462F-AC02-28C712D28656}" type="parTrans" cxnId="{799D8CFB-E9B8-49FE-8712-D51690CC44DE}">
      <dgm:prSet/>
      <dgm:spPr/>
      <dgm:t>
        <a:bodyPr/>
        <a:lstStyle/>
        <a:p>
          <a:endParaRPr lang="zh-CN" altLang="en-US"/>
        </a:p>
      </dgm:t>
    </dgm:pt>
    <dgm:pt modelId="{4224314C-D4C3-4332-844E-9DDBBC326ECC}" type="sibTrans" cxnId="{799D8CFB-E9B8-49FE-8712-D51690CC44DE}">
      <dgm:prSet/>
      <dgm:spPr/>
      <dgm:t>
        <a:bodyPr/>
        <a:lstStyle/>
        <a:p>
          <a:endParaRPr lang="zh-CN" altLang="en-US"/>
        </a:p>
      </dgm:t>
    </dgm:pt>
    <dgm:pt modelId="{2DD1B35B-BC70-4449-94C2-BEB17AF2B304}">
      <dgm:prSet phldrT="[文本]"/>
      <dgm:spPr/>
      <dgm:t>
        <a:bodyPr/>
        <a:lstStyle/>
        <a:p>
          <a:r>
            <a:rPr lang="zh-CN" altLang="en-US" dirty="0" smtClean="0"/>
            <a:t>侧重点在于锁定范围</a:t>
          </a:r>
          <a:endParaRPr lang="zh-CN" altLang="en-US" dirty="0"/>
        </a:p>
      </dgm:t>
    </dgm:pt>
    <dgm:pt modelId="{2472829A-D15E-4456-935D-4107D208E1D6}" type="parTrans" cxnId="{E4C76CFE-19C5-499D-96CA-C6C3116D5C89}">
      <dgm:prSet/>
      <dgm:spPr/>
      <dgm:t>
        <a:bodyPr/>
        <a:lstStyle/>
        <a:p>
          <a:endParaRPr lang="zh-CN" altLang="en-US"/>
        </a:p>
      </dgm:t>
    </dgm:pt>
    <dgm:pt modelId="{2D5534BF-9480-4C2B-93CC-4562D34B9C8A}" type="sibTrans" cxnId="{E4C76CFE-19C5-499D-96CA-C6C3116D5C89}">
      <dgm:prSet/>
      <dgm:spPr/>
      <dgm:t>
        <a:bodyPr/>
        <a:lstStyle/>
        <a:p>
          <a:endParaRPr lang="zh-CN" altLang="en-US"/>
        </a:p>
      </dgm:t>
    </dgm:pt>
    <dgm:pt modelId="{4DB5276A-F7F0-46CB-A545-5946F0275519}">
      <dgm:prSet phldrT="[文本]"/>
      <dgm:spPr/>
      <dgm:t>
        <a:bodyPr/>
        <a:lstStyle/>
        <a:p>
          <a:r>
            <a:rPr lang="zh-CN" altLang="en-US" dirty="0" smtClean="0"/>
            <a:t>入侵环境</a:t>
          </a:r>
          <a:endParaRPr lang="zh-CN" altLang="en-US" dirty="0"/>
        </a:p>
      </dgm:t>
    </dgm:pt>
    <dgm:pt modelId="{347323F0-C6C0-46BD-B9D6-8923FFABC3F1}" type="parTrans" cxnId="{00B579A4-F9EB-49F5-966E-2395665A3543}">
      <dgm:prSet/>
      <dgm:spPr/>
      <dgm:t>
        <a:bodyPr/>
        <a:lstStyle/>
        <a:p>
          <a:endParaRPr lang="zh-CN" altLang="en-US"/>
        </a:p>
      </dgm:t>
    </dgm:pt>
    <dgm:pt modelId="{4D3B347E-0DE1-401A-9A67-22DCB20B5C51}" type="sibTrans" cxnId="{00B579A4-F9EB-49F5-966E-2395665A3543}">
      <dgm:prSet/>
      <dgm:spPr/>
      <dgm:t>
        <a:bodyPr/>
        <a:lstStyle/>
        <a:p>
          <a:endParaRPr lang="zh-CN" altLang="en-US"/>
        </a:p>
      </dgm:t>
    </dgm:pt>
    <dgm:pt modelId="{22C591C4-0C52-4225-BE79-5147B210D6FF}">
      <dgm:prSet phldrT="[文本]"/>
      <dgm:spPr/>
      <dgm:t>
        <a:bodyPr/>
        <a:lstStyle/>
        <a:p>
          <a:r>
            <a:rPr lang="zh-CN" altLang="en-US" dirty="0" smtClean="0"/>
            <a:t>侧重点在于锁定目标</a:t>
          </a:r>
          <a:endParaRPr lang="zh-CN" altLang="en-US" dirty="0"/>
        </a:p>
      </dgm:t>
    </dgm:pt>
    <dgm:pt modelId="{4050423B-C633-4018-8C5D-90E689DDF513}" type="parTrans" cxnId="{A6D75A09-CEB7-4CA6-97C6-3C27074C9F77}">
      <dgm:prSet/>
      <dgm:spPr/>
      <dgm:t>
        <a:bodyPr/>
        <a:lstStyle/>
        <a:p>
          <a:endParaRPr lang="zh-CN" altLang="en-US"/>
        </a:p>
      </dgm:t>
    </dgm:pt>
    <dgm:pt modelId="{50051F63-2C5C-4C5D-9FDB-93A89782122E}" type="sibTrans" cxnId="{A6D75A09-CEB7-4CA6-97C6-3C27074C9F77}">
      <dgm:prSet/>
      <dgm:spPr/>
      <dgm:t>
        <a:bodyPr/>
        <a:lstStyle/>
        <a:p>
          <a:endParaRPr lang="zh-CN" altLang="en-US"/>
        </a:p>
      </dgm:t>
    </dgm:pt>
    <dgm:pt modelId="{C47034C5-A520-4948-8833-265A30237DDE}">
      <dgm:prSet phldrT="[文本]"/>
      <dgm:spPr/>
      <dgm:t>
        <a:bodyPr/>
        <a:lstStyle/>
        <a:p>
          <a:r>
            <a:rPr lang="zh-CN" altLang="en-US" dirty="0" smtClean="0"/>
            <a:t>是入侵开始侦查阶段</a:t>
          </a:r>
          <a:endParaRPr lang="zh-CN" altLang="en-US" dirty="0"/>
        </a:p>
      </dgm:t>
    </dgm:pt>
    <dgm:pt modelId="{7B9BD1B8-0C9A-4178-A1A4-38388425F6D3}" type="parTrans" cxnId="{E0539388-F116-436E-931E-329A6E969D68}">
      <dgm:prSet/>
      <dgm:spPr/>
      <dgm:t>
        <a:bodyPr/>
        <a:lstStyle/>
        <a:p>
          <a:endParaRPr lang="zh-CN" altLang="en-US"/>
        </a:p>
      </dgm:t>
    </dgm:pt>
    <dgm:pt modelId="{6177B173-3C5D-42A3-BC96-35EA7A010169}" type="sibTrans" cxnId="{E0539388-F116-436E-931E-329A6E969D68}">
      <dgm:prSet/>
      <dgm:spPr/>
      <dgm:t>
        <a:bodyPr/>
        <a:lstStyle/>
        <a:p>
          <a:endParaRPr lang="zh-CN" altLang="en-US"/>
        </a:p>
      </dgm:t>
    </dgm:pt>
    <dgm:pt modelId="{4D65B4E6-1D5C-42B8-B75B-6271F30F4EAE}">
      <dgm:prSet phldrT="[文本]"/>
      <dgm:spPr/>
      <dgm:t>
        <a:bodyPr/>
        <a:lstStyle/>
        <a:p>
          <a:r>
            <a:rPr lang="zh-CN" altLang="en-US" dirty="0" smtClean="0"/>
            <a:t>为锁目标的建立条件</a:t>
          </a:r>
          <a:endParaRPr lang="zh-CN" altLang="en-US" dirty="0"/>
        </a:p>
      </dgm:t>
    </dgm:pt>
    <dgm:pt modelId="{197B02FE-389F-4955-AC34-DDBA2F21F86F}" type="parTrans" cxnId="{97CB2B87-419E-476C-B596-B5E21F72E0D2}">
      <dgm:prSet/>
      <dgm:spPr/>
      <dgm:t>
        <a:bodyPr/>
        <a:lstStyle/>
        <a:p>
          <a:endParaRPr lang="zh-CN" altLang="en-US"/>
        </a:p>
      </dgm:t>
    </dgm:pt>
    <dgm:pt modelId="{6F5F0A97-A8D1-4300-9179-0FC11A5D5873}" type="sibTrans" cxnId="{97CB2B87-419E-476C-B596-B5E21F72E0D2}">
      <dgm:prSet/>
      <dgm:spPr/>
      <dgm:t>
        <a:bodyPr/>
        <a:lstStyle/>
        <a:p>
          <a:endParaRPr lang="zh-CN" altLang="en-US"/>
        </a:p>
      </dgm:t>
    </dgm:pt>
    <dgm:pt modelId="{A15B85EE-DFEF-4E68-A8CB-A554DFBFE35C}">
      <dgm:prSet phldrT="[文本]"/>
      <dgm:spPr/>
      <dgm:t>
        <a:bodyPr/>
        <a:lstStyle/>
        <a:p>
          <a:r>
            <a:rPr lang="zh-CN" altLang="en-US" dirty="0" smtClean="0"/>
            <a:t>是实施全面入侵阶段</a:t>
          </a:r>
          <a:endParaRPr lang="zh-CN" altLang="en-US" dirty="0"/>
        </a:p>
      </dgm:t>
    </dgm:pt>
    <dgm:pt modelId="{84FD5147-A233-4E6F-A767-3B5C87C7338C}" type="parTrans" cxnId="{5646AA4D-F0D3-4C02-891D-2E31F0621E84}">
      <dgm:prSet/>
      <dgm:spPr/>
      <dgm:t>
        <a:bodyPr/>
        <a:lstStyle/>
        <a:p>
          <a:endParaRPr lang="zh-CN" altLang="en-US"/>
        </a:p>
      </dgm:t>
    </dgm:pt>
    <dgm:pt modelId="{4ED15726-F87A-48A8-AB66-567E40D5FADA}" type="sibTrans" cxnId="{5646AA4D-F0D3-4C02-891D-2E31F0621E84}">
      <dgm:prSet/>
      <dgm:spPr/>
      <dgm:t>
        <a:bodyPr/>
        <a:lstStyle/>
        <a:p>
          <a:endParaRPr lang="zh-CN" altLang="en-US"/>
        </a:p>
      </dgm:t>
    </dgm:pt>
    <dgm:pt modelId="{2F54F64D-4F68-43AE-8F3C-7FAB47CB8115}">
      <dgm:prSet phldrT="[文本]"/>
      <dgm:spPr/>
      <dgm:t>
        <a:bodyPr/>
        <a:lstStyle/>
        <a:p>
          <a:r>
            <a:rPr lang="zh-CN" altLang="en-US" dirty="0" smtClean="0"/>
            <a:t>为实施入侵建立条件</a:t>
          </a:r>
          <a:endParaRPr lang="zh-CN" altLang="en-US" dirty="0"/>
        </a:p>
      </dgm:t>
    </dgm:pt>
    <dgm:pt modelId="{6C01008B-0060-4530-BC31-465543EF5224}" type="parTrans" cxnId="{39C365E0-9D56-4CC5-B0E9-66C64B644BC8}">
      <dgm:prSet/>
      <dgm:spPr/>
      <dgm:t>
        <a:bodyPr/>
        <a:lstStyle/>
        <a:p>
          <a:endParaRPr lang="zh-CN" altLang="en-US"/>
        </a:p>
      </dgm:t>
    </dgm:pt>
    <dgm:pt modelId="{C9C18BF5-8178-4ED1-9EE3-49E2A4241CA7}" type="sibTrans" cxnId="{39C365E0-9D56-4CC5-B0E9-66C64B644BC8}">
      <dgm:prSet/>
      <dgm:spPr/>
      <dgm:t>
        <a:bodyPr/>
        <a:lstStyle/>
        <a:p>
          <a:endParaRPr lang="zh-CN" altLang="en-US"/>
        </a:p>
      </dgm:t>
    </dgm:pt>
    <dgm:pt modelId="{4569A133-7D1E-43A3-939F-94B858B3CF63}">
      <dgm:prSet phldrT="[文本]"/>
      <dgm:spPr/>
      <dgm:t>
        <a:bodyPr/>
        <a:lstStyle/>
        <a:p>
          <a:r>
            <a:rPr lang="zh-CN" altLang="en-US" dirty="0" smtClean="0"/>
            <a:t>重在侦查，程度广浅</a:t>
          </a:r>
          <a:endParaRPr lang="zh-CN" altLang="en-US" dirty="0"/>
        </a:p>
      </dgm:t>
    </dgm:pt>
    <dgm:pt modelId="{0DFAF1B1-50BF-4317-B549-E09E54E290B1}" type="parTrans" cxnId="{BC7BDC98-49E9-4AC1-82D8-1B66446E6037}">
      <dgm:prSet/>
      <dgm:spPr/>
      <dgm:t>
        <a:bodyPr/>
        <a:lstStyle/>
        <a:p>
          <a:endParaRPr lang="zh-CN" altLang="en-US"/>
        </a:p>
      </dgm:t>
    </dgm:pt>
    <dgm:pt modelId="{854C58AE-9F24-4F5A-B3F5-0B66A8360B2D}" type="sibTrans" cxnId="{BC7BDC98-49E9-4AC1-82D8-1B66446E6037}">
      <dgm:prSet/>
      <dgm:spPr/>
      <dgm:t>
        <a:bodyPr/>
        <a:lstStyle/>
        <a:p>
          <a:endParaRPr lang="zh-CN" altLang="en-US"/>
        </a:p>
      </dgm:t>
    </dgm:pt>
    <dgm:pt modelId="{C323F3E7-3A72-4064-9FB5-3A75C2637F7B}">
      <dgm:prSet phldrT="[文本]"/>
      <dgm:spPr/>
      <dgm:t>
        <a:bodyPr/>
        <a:lstStyle/>
        <a:p>
          <a:r>
            <a:rPr lang="zh-CN" altLang="en-US" dirty="0" smtClean="0"/>
            <a:t>重在突破，程度窄深</a:t>
          </a:r>
          <a:endParaRPr lang="zh-CN" altLang="en-US" dirty="0"/>
        </a:p>
      </dgm:t>
    </dgm:pt>
    <dgm:pt modelId="{F9E2D528-4064-47A7-B85D-3FF865E5548D}" type="parTrans" cxnId="{C693A8D8-0578-4F2E-9905-5F9081341039}">
      <dgm:prSet/>
      <dgm:spPr/>
      <dgm:t>
        <a:bodyPr/>
        <a:lstStyle/>
        <a:p>
          <a:endParaRPr lang="zh-CN" altLang="en-US"/>
        </a:p>
      </dgm:t>
    </dgm:pt>
    <dgm:pt modelId="{074568B2-108B-45A9-8F0A-B85102E170C9}" type="sibTrans" cxnId="{C693A8D8-0578-4F2E-9905-5F9081341039}">
      <dgm:prSet/>
      <dgm:spPr/>
      <dgm:t>
        <a:bodyPr/>
        <a:lstStyle/>
        <a:p>
          <a:endParaRPr lang="zh-CN" altLang="en-US"/>
        </a:p>
      </dgm:t>
    </dgm:pt>
    <dgm:pt modelId="{68FA4EBF-2555-4609-95BC-067CF2F65B03}" type="pres">
      <dgm:prSet presAssocID="{EA4B94A3-3112-47D6-836A-629D704D93EA}" presName="layout" presStyleCnt="0">
        <dgm:presLayoutVars>
          <dgm:chMax/>
          <dgm:chPref/>
          <dgm:dir/>
          <dgm:resizeHandles/>
        </dgm:presLayoutVars>
      </dgm:prSet>
      <dgm:spPr/>
      <dgm:t>
        <a:bodyPr/>
        <a:lstStyle/>
        <a:p>
          <a:endParaRPr lang="zh-CN" altLang="en-US"/>
        </a:p>
      </dgm:t>
    </dgm:pt>
    <dgm:pt modelId="{F58658DF-9275-4DD2-A698-4A531D81BB03}" type="pres">
      <dgm:prSet presAssocID="{41D7C3CF-F642-49FA-B6FE-70C2440290DD}" presName="root" presStyleCnt="0">
        <dgm:presLayoutVars>
          <dgm:chMax/>
          <dgm:chPref/>
        </dgm:presLayoutVars>
      </dgm:prSet>
      <dgm:spPr/>
    </dgm:pt>
    <dgm:pt modelId="{A24FCE91-1FFE-4AE6-B13F-2046F58DC82B}" type="pres">
      <dgm:prSet presAssocID="{41D7C3CF-F642-49FA-B6FE-70C2440290DD}" presName="rootComposite" presStyleCnt="0">
        <dgm:presLayoutVars/>
      </dgm:prSet>
      <dgm:spPr/>
    </dgm:pt>
    <dgm:pt modelId="{0579CA71-F2F0-4C83-9730-4B3D952E49E1}" type="pres">
      <dgm:prSet presAssocID="{41D7C3CF-F642-49FA-B6FE-70C2440290DD}" presName="ParentAccent" presStyleLbl="alignNode1" presStyleIdx="0" presStyleCnt="2"/>
      <dgm:spPr/>
    </dgm:pt>
    <dgm:pt modelId="{7656A053-444F-49B3-B476-2F892A1F2C66}" type="pres">
      <dgm:prSet presAssocID="{41D7C3CF-F642-49FA-B6FE-70C2440290DD}" presName="ParentSmallAccent" presStyleLbl="fgAcc1" presStyleIdx="0" presStyleCnt="2"/>
      <dgm:spPr/>
    </dgm:pt>
    <dgm:pt modelId="{F1E47671-9B38-4415-9970-00697DA64C77}" type="pres">
      <dgm:prSet presAssocID="{41D7C3CF-F642-49FA-B6FE-70C2440290DD}" presName="Parent" presStyleLbl="revTx" presStyleIdx="0" presStyleCnt="10">
        <dgm:presLayoutVars>
          <dgm:chMax/>
          <dgm:chPref val="4"/>
          <dgm:bulletEnabled val="1"/>
        </dgm:presLayoutVars>
      </dgm:prSet>
      <dgm:spPr/>
      <dgm:t>
        <a:bodyPr/>
        <a:lstStyle/>
        <a:p>
          <a:endParaRPr lang="zh-CN" altLang="en-US"/>
        </a:p>
      </dgm:t>
    </dgm:pt>
    <dgm:pt modelId="{4BCD6B04-667A-47FA-92EE-F570AD33ED3C}" type="pres">
      <dgm:prSet presAssocID="{41D7C3CF-F642-49FA-B6FE-70C2440290DD}" presName="childShape" presStyleCnt="0">
        <dgm:presLayoutVars>
          <dgm:chMax val="0"/>
          <dgm:chPref val="0"/>
        </dgm:presLayoutVars>
      </dgm:prSet>
      <dgm:spPr/>
    </dgm:pt>
    <dgm:pt modelId="{7614A972-C28D-40B4-B202-01035EF49DD7}" type="pres">
      <dgm:prSet presAssocID="{2DD1B35B-BC70-4449-94C2-BEB17AF2B304}" presName="childComposite" presStyleCnt="0">
        <dgm:presLayoutVars>
          <dgm:chMax val="0"/>
          <dgm:chPref val="0"/>
        </dgm:presLayoutVars>
      </dgm:prSet>
      <dgm:spPr/>
    </dgm:pt>
    <dgm:pt modelId="{89D9D401-5738-4EF0-9CEA-DF18CDC1CC34}" type="pres">
      <dgm:prSet presAssocID="{2DD1B35B-BC70-4449-94C2-BEB17AF2B304}" presName="ChildAccent" presStyleLbl="solidFgAcc1" presStyleIdx="0" presStyleCnt="8"/>
      <dgm:spPr/>
    </dgm:pt>
    <dgm:pt modelId="{5171FEDF-B17C-466D-9CCB-D85C5D523D82}" type="pres">
      <dgm:prSet presAssocID="{2DD1B35B-BC70-4449-94C2-BEB17AF2B304}" presName="Child" presStyleLbl="revTx" presStyleIdx="1" presStyleCnt="10">
        <dgm:presLayoutVars>
          <dgm:chMax val="0"/>
          <dgm:chPref val="0"/>
          <dgm:bulletEnabled val="1"/>
        </dgm:presLayoutVars>
      </dgm:prSet>
      <dgm:spPr/>
      <dgm:t>
        <a:bodyPr/>
        <a:lstStyle/>
        <a:p>
          <a:endParaRPr lang="zh-CN" altLang="en-US"/>
        </a:p>
      </dgm:t>
    </dgm:pt>
    <dgm:pt modelId="{6F0408E8-7031-4419-9447-D93A8FC4BCF9}" type="pres">
      <dgm:prSet presAssocID="{C47034C5-A520-4948-8833-265A30237DDE}" presName="childComposite" presStyleCnt="0">
        <dgm:presLayoutVars>
          <dgm:chMax val="0"/>
          <dgm:chPref val="0"/>
        </dgm:presLayoutVars>
      </dgm:prSet>
      <dgm:spPr/>
    </dgm:pt>
    <dgm:pt modelId="{4DED667C-C50F-492A-B751-073AA8B5F708}" type="pres">
      <dgm:prSet presAssocID="{C47034C5-A520-4948-8833-265A30237DDE}" presName="ChildAccent" presStyleLbl="solidFgAcc1" presStyleIdx="1" presStyleCnt="8"/>
      <dgm:spPr/>
    </dgm:pt>
    <dgm:pt modelId="{45EB499E-C82F-4BCA-9DDC-6BFA3803FF34}" type="pres">
      <dgm:prSet presAssocID="{C47034C5-A520-4948-8833-265A30237DDE}" presName="Child" presStyleLbl="revTx" presStyleIdx="2" presStyleCnt="10">
        <dgm:presLayoutVars>
          <dgm:chMax val="0"/>
          <dgm:chPref val="0"/>
          <dgm:bulletEnabled val="1"/>
        </dgm:presLayoutVars>
      </dgm:prSet>
      <dgm:spPr/>
      <dgm:t>
        <a:bodyPr/>
        <a:lstStyle/>
        <a:p>
          <a:endParaRPr lang="zh-CN" altLang="en-US"/>
        </a:p>
      </dgm:t>
    </dgm:pt>
    <dgm:pt modelId="{D264A6E2-EE16-4B56-B308-79A9DA2E7534}" type="pres">
      <dgm:prSet presAssocID="{2F54F64D-4F68-43AE-8F3C-7FAB47CB8115}" presName="childComposite" presStyleCnt="0">
        <dgm:presLayoutVars>
          <dgm:chMax val="0"/>
          <dgm:chPref val="0"/>
        </dgm:presLayoutVars>
      </dgm:prSet>
      <dgm:spPr/>
    </dgm:pt>
    <dgm:pt modelId="{5F815BAD-F8F1-4558-9EF4-380811457384}" type="pres">
      <dgm:prSet presAssocID="{2F54F64D-4F68-43AE-8F3C-7FAB47CB8115}" presName="ChildAccent" presStyleLbl="solidFgAcc1" presStyleIdx="2" presStyleCnt="8"/>
      <dgm:spPr/>
    </dgm:pt>
    <dgm:pt modelId="{9B1E46C9-B961-4E5E-B706-B5F51B7914A3}" type="pres">
      <dgm:prSet presAssocID="{2F54F64D-4F68-43AE-8F3C-7FAB47CB8115}" presName="Child" presStyleLbl="revTx" presStyleIdx="3" presStyleCnt="10">
        <dgm:presLayoutVars>
          <dgm:chMax val="0"/>
          <dgm:chPref val="0"/>
          <dgm:bulletEnabled val="1"/>
        </dgm:presLayoutVars>
      </dgm:prSet>
      <dgm:spPr/>
      <dgm:t>
        <a:bodyPr/>
        <a:lstStyle/>
        <a:p>
          <a:endParaRPr lang="zh-CN" altLang="en-US"/>
        </a:p>
      </dgm:t>
    </dgm:pt>
    <dgm:pt modelId="{5224345F-45F6-4427-B3A8-A1620A074F34}" type="pres">
      <dgm:prSet presAssocID="{4569A133-7D1E-43A3-939F-94B858B3CF63}" presName="childComposite" presStyleCnt="0">
        <dgm:presLayoutVars>
          <dgm:chMax val="0"/>
          <dgm:chPref val="0"/>
        </dgm:presLayoutVars>
      </dgm:prSet>
      <dgm:spPr/>
    </dgm:pt>
    <dgm:pt modelId="{4E68C556-69F7-4CE6-8C0E-C65DAF8506D2}" type="pres">
      <dgm:prSet presAssocID="{4569A133-7D1E-43A3-939F-94B858B3CF63}" presName="ChildAccent" presStyleLbl="solidFgAcc1" presStyleIdx="3" presStyleCnt="8"/>
      <dgm:spPr/>
    </dgm:pt>
    <dgm:pt modelId="{4E2D5A6A-C57F-4E9A-BBD4-26F241F3D599}" type="pres">
      <dgm:prSet presAssocID="{4569A133-7D1E-43A3-939F-94B858B3CF63}" presName="Child" presStyleLbl="revTx" presStyleIdx="4" presStyleCnt="10">
        <dgm:presLayoutVars>
          <dgm:chMax val="0"/>
          <dgm:chPref val="0"/>
          <dgm:bulletEnabled val="1"/>
        </dgm:presLayoutVars>
      </dgm:prSet>
      <dgm:spPr/>
      <dgm:t>
        <a:bodyPr/>
        <a:lstStyle/>
        <a:p>
          <a:endParaRPr lang="zh-CN" altLang="en-US"/>
        </a:p>
      </dgm:t>
    </dgm:pt>
    <dgm:pt modelId="{18B2BC53-9F49-48AE-B108-7D71B455FD5D}" type="pres">
      <dgm:prSet presAssocID="{4DB5276A-F7F0-46CB-A545-5946F0275519}" presName="root" presStyleCnt="0">
        <dgm:presLayoutVars>
          <dgm:chMax/>
          <dgm:chPref/>
        </dgm:presLayoutVars>
      </dgm:prSet>
      <dgm:spPr/>
    </dgm:pt>
    <dgm:pt modelId="{C98E655D-8D81-4C11-B829-1F016FADBF7B}" type="pres">
      <dgm:prSet presAssocID="{4DB5276A-F7F0-46CB-A545-5946F0275519}" presName="rootComposite" presStyleCnt="0">
        <dgm:presLayoutVars/>
      </dgm:prSet>
      <dgm:spPr/>
    </dgm:pt>
    <dgm:pt modelId="{30107116-7402-4665-AF2E-049EC1ED365F}" type="pres">
      <dgm:prSet presAssocID="{4DB5276A-F7F0-46CB-A545-5946F0275519}" presName="ParentAccent" presStyleLbl="alignNode1" presStyleIdx="1" presStyleCnt="2"/>
      <dgm:spPr/>
    </dgm:pt>
    <dgm:pt modelId="{CA0D1418-3614-4B65-9D06-6F26B59EF890}" type="pres">
      <dgm:prSet presAssocID="{4DB5276A-F7F0-46CB-A545-5946F0275519}" presName="ParentSmallAccent" presStyleLbl="fgAcc1" presStyleIdx="1" presStyleCnt="2"/>
      <dgm:spPr/>
    </dgm:pt>
    <dgm:pt modelId="{237D98C8-440D-41BC-898B-5A98262A8BDC}" type="pres">
      <dgm:prSet presAssocID="{4DB5276A-F7F0-46CB-A545-5946F0275519}" presName="Parent" presStyleLbl="revTx" presStyleIdx="5" presStyleCnt="10">
        <dgm:presLayoutVars>
          <dgm:chMax/>
          <dgm:chPref val="4"/>
          <dgm:bulletEnabled val="1"/>
        </dgm:presLayoutVars>
      </dgm:prSet>
      <dgm:spPr/>
      <dgm:t>
        <a:bodyPr/>
        <a:lstStyle/>
        <a:p>
          <a:endParaRPr lang="zh-CN" altLang="en-US"/>
        </a:p>
      </dgm:t>
    </dgm:pt>
    <dgm:pt modelId="{6B34BFB4-C4E2-45F0-8738-9301828B958C}" type="pres">
      <dgm:prSet presAssocID="{4DB5276A-F7F0-46CB-A545-5946F0275519}" presName="childShape" presStyleCnt="0">
        <dgm:presLayoutVars>
          <dgm:chMax val="0"/>
          <dgm:chPref val="0"/>
        </dgm:presLayoutVars>
      </dgm:prSet>
      <dgm:spPr/>
    </dgm:pt>
    <dgm:pt modelId="{F4115A45-C0AF-40DC-B051-2E79160014F4}" type="pres">
      <dgm:prSet presAssocID="{22C591C4-0C52-4225-BE79-5147B210D6FF}" presName="childComposite" presStyleCnt="0">
        <dgm:presLayoutVars>
          <dgm:chMax val="0"/>
          <dgm:chPref val="0"/>
        </dgm:presLayoutVars>
      </dgm:prSet>
      <dgm:spPr/>
    </dgm:pt>
    <dgm:pt modelId="{00B54D3A-8453-472B-A415-F6226CD42EE5}" type="pres">
      <dgm:prSet presAssocID="{22C591C4-0C52-4225-BE79-5147B210D6FF}" presName="ChildAccent" presStyleLbl="solidFgAcc1" presStyleIdx="4" presStyleCnt="8"/>
      <dgm:spPr/>
    </dgm:pt>
    <dgm:pt modelId="{A5C95A4E-A54E-4AF1-A064-02BB8E307E2F}" type="pres">
      <dgm:prSet presAssocID="{22C591C4-0C52-4225-BE79-5147B210D6FF}" presName="Child" presStyleLbl="revTx" presStyleIdx="6" presStyleCnt="10">
        <dgm:presLayoutVars>
          <dgm:chMax val="0"/>
          <dgm:chPref val="0"/>
          <dgm:bulletEnabled val="1"/>
        </dgm:presLayoutVars>
      </dgm:prSet>
      <dgm:spPr/>
      <dgm:t>
        <a:bodyPr/>
        <a:lstStyle/>
        <a:p>
          <a:endParaRPr lang="zh-CN" altLang="en-US"/>
        </a:p>
      </dgm:t>
    </dgm:pt>
    <dgm:pt modelId="{6E221D50-7D71-494A-A38F-30EF9EC8B517}" type="pres">
      <dgm:prSet presAssocID="{A15B85EE-DFEF-4E68-A8CB-A554DFBFE35C}" presName="childComposite" presStyleCnt="0">
        <dgm:presLayoutVars>
          <dgm:chMax val="0"/>
          <dgm:chPref val="0"/>
        </dgm:presLayoutVars>
      </dgm:prSet>
      <dgm:spPr/>
    </dgm:pt>
    <dgm:pt modelId="{1B5FA4A0-1C23-4FE2-8D82-6FA2A32025BA}" type="pres">
      <dgm:prSet presAssocID="{A15B85EE-DFEF-4E68-A8CB-A554DFBFE35C}" presName="ChildAccent" presStyleLbl="solidFgAcc1" presStyleIdx="5" presStyleCnt="8"/>
      <dgm:spPr/>
    </dgm:pt>
    <dgm:pt modelId="{FE0289C0-BB5E-4BDD-BBC1-792961050072}" type="pres">
      <dgm:prSet presAssocID="{A15B85EE-DFEF-4E68-A8CB-A554DFBFE35C}" presName="Child" presStyleLbl="revTx" presStyleIdx="7" presStyleCnt="10">
        <dgm:presLayoutVars>
          <dgm:chMax val="0"/>
          <dgm:chPref val="0"/>
          <dgm:bulletEnabled val="1"/>
        </dgm:presLayoutVars>
      </dgm:prSet>
      <dgm:spPr/>
      <dgm:t>
        <a:bodyPr/>
        <a:lstStyle/>
        <a:p>
          <a:endParaRPr lang="zh-CN" altLang="en-US"/>
        </a:p>
      </dgm:t>
    </dgm:pt>
    <dgm:pt modelId="{FB9334F5-2729-43A8-A35E-173D0C6C3098}" type="pres">
      <dgm:prSet presAssocID="{4D65B4E6-1D5C-42B8-B75B-6271F30F4EAE}" presName="childComposite" presStyleCnt="0">
        <dgm:presLayoutVars>
          <dgm:chMax val="0"/>
          <dgm:chPref val="0"/>
        </dgm:presLayoutVars>
      </dgm:prSet>
      <dgm:spPr/>
    </dgm:pt>
    <dgm:pt modelId="{8960A6D1-6A3A-41AB-9038-8BE9C9CE584F}" type="pres">
      <dgm:prSet presAssocID="{4D65B4E6-1D5C-42B8-B75B-6271F30F4EAE}" presName="ChildAccent" presStyleLbl="solidFgAcc1" presStyleIdx="6" presStyleCnt="8"/>
      <dgm:spPr/>
    </dgm:pt>
    <dgm:pt modelId="{4B81DDE6-9C51-4455-948F-6DF67AB525F0}" type="pres">
      <dgm:prSet presAssocID="{4D65B4E6-1D5C-42B8-B75B-6271F30F4EAE}" presName="Child" presStyleLbl="revTx" presStyleIdx="8" presStyleCnt="10">
        <dgm:presLayoutVars>
          <dgm:chMax val="0"/>
          <dgm:chPref val="0"/>
          <dgm:bulletEnabled val="1"/>
        </dgm:presLayoutVars>
      </dgm:prSet>
      <dgm:spPr/>
      <dgm:t>
        <a:bodyPr/>
        <a:lstStyle/>
        <a:p>
          <a:endParaRPr lang="zh-CN" altLang="en-US"/>
        </a:p>
      </dgm:t>
    </dgm:pt>
    <dgm:pt modelId="{E231F3BA-D1B8-4520-8036-C8B9215A0AD5}" type="pres">
      <dgm:prSet presAssocID="{C323F3E7-3A72-4064-9FB5-3A75C2637F7B}" presName="childComposite" presStyleCnt="0">
        <dgm:presLayoutVars>
          <dgm:chMax val="0"/>
          <dgm:chPref val="0"/>
        </dgm:presLayoutVars>
      </dgm:prSet>
      <dgm:spPr/>
    </dgm:pt>
    <dgm:pt modelId="{625E35A6-441D-4EAA-937F-EE63E3FF9112}" type="pres">
      <dgm:prSet presAssocID="{C323F3E7-3A72-4064-9FB5-3A75C2637F7B}" presName="ChildAccent" presStyleLbl="solidFgAcc1" presStyleIdx="7" presStyleCnt="8"/>
      <dgm:spPr/>
    </dgm:pt>
    <dgm:pt modelId="{AF58B0B3-1D1D-4B90-9131-78C79744BCE6}" type="pres">
      <dgm:prSet presAssocID="{C323F3E7-3A72-4064-9FB5-3A75C2637F7B}" presName="Child" presStyleLbl="revTx" presStyleIdx="9" presStyleCnt="10">
        <dgm:presLayoutVars>
          <dgm:chMax val="0"/>
          <dgm:chPref val="0"/>
          <dgm:bulletEnabled val="1"/>
        </dgm:presLayoutVars>
      </dgm:prSet>
      <dgm:spPr/>
      <dgm:t>
        <a:bodyPr/>
        <a:lstStyle/>
        <a:p>
          <a:endParaRPr lang="zh-CN" altLang="en-US"/>
        </a:p>
      </dgm:t>
    </dgm:pt>
  </dgm:ptLst>
  <dgm:cxnLst>
    <dgm:cxn modelId="{B22EB092-028E-439E-8D2C-47EA4CFB8CEE}" type="presOf" srcId="{A15B85EE-DFEF-4E68-A8CB-A554DFBFE35C}" destId="{FE0289C0-BB5E-4BDD-BBC1-792961050072}" srcOrd="0" destOrd="0" presId="urn:microsoft.com/office/officeart/2008/layout/SquareAccentList"/>
    <dgm:cxn modelId="{52591F6E-D35F-4574-9733-3A70705EA2AD}" type="presOf" srcId="{4DB5276A-F7F0-46CB-A545-5946F0275519}" destId="{237D98C8-440D-41BC-898B-5A98262A8BDC}" srcOrd="0" destOrd="0" presId="urn:microsoft.com/office/officeart/2008/layout/SquareAccentList"/>
    <dgm:cxn modelId="{39C365E0-9D56-4CC5-B0E9-66C64B644BC8}" srcId="{41D7C3CF-F642-49FA-B6FE-70C2440290DD}" destId="{2F54F64D-4F68-43AE-8F3C-7FAB47CB8115}" srcOrd="2" destOrd="0" parTransId="{6C01008B-0060-4530-BC31-465543EF5224}" sibTransId="{C9C18BF5-8178-4ED1-9EE3-49E2A4241CA7}"/>
    <dgm:cxn modelId="{BC7BDC98-49E9-4AC1-82D8-1B66446E6037}" srcId="{41D7C3CF-F642-49FA-B6FE-70C2440290DD}" destId="{4569A133-7D1E-43A3-939F-94B858B3CF63}" srcOrd="3" destOrd="0" parTransId="{0DFAF1B1-50BF-4317-B549-E09E54E290B1}" sibTransId="{854C58AE-9F24-4F5A-B3F5-0B66A8360B2D}"/>
    <dgm:cxn modelId="{00B579A4-F9EB-49F5-966E-2395665A3543}" srcId="{EA4B94A3-3112-47D6-836A-629D704D93EA}" destId="{4DB5276A-F7F0-46CB-A545-5946F0275519}" srcOrd="1" destOrd="0" parTransId="{347323F0-C6C0-46BD-B9D6-8923FFABC3F1}" sibTransId="{4D3B347E-0DE1-401A-9A67-22DCB20B5C51}"/>
    <dgm:cxn modelId="{5646AA4D-F0D3-4C02-891D-2E31F0621E84}" srcId="{4DB5276A-F7F0-46CB-A545-5946F0275519}" destId="{A15B85EE-DFEF-4E68-A8CB-A554DFBFE35C}" srcOrd="1" destOrd="0" parTransId="{84FD5147-A233-4E6F-A767-3B5C87C7338C}" sibTransId="{4ED15726-F87A-48A8-AB66-567E40D5FADA}"/>
    <dgm:cxn modelId="{A6D75A09-CEB7-4CA6-97C6-3C27074C9F77}" srcId="{4DB5276A-F7F0-46CB-A545-5946F0275519}" destId="{22C591C4-0C52-4225-BE79-5147B210D6FF}" srcOrd="0" destOrd="0" parTransId="{4050423B-C633-4018-8C5D-90E689DDF513}" sibTransId="{50051F63-2C5C-4C5D-9FDB-93A89782122E}"/>
    <dgm:cxn modelId="{03D7072D-83CF-44B5-9597-A96E286E7FAB}" type="presOf" srcId="{41D7C3CF-F642-49FA-B6FE-70C2440290DD}" destId="{F1E47671-9B38-4415-9970-00697DA64C77}" srcOrd="0" destOrd="0" presId="urn:microsoft.com/office/officeart/2008/layout/SquareAccentList"/>
    <dgm:cxn modelId="{8BD8CC9C-CF9B-4340-9CBD-79B5B5F6BB13}" type="presOf" srcId="{2F54F64D-4F68-43AE-8F3C-7FAB47CB8115}" destId="{9B1E46C9-B961-4E5E-B706-B5F51B7914A3}" srcOrd="0" destOrd="0" presId="urn:microsoft.com/office/officeart/2008/layout/SquareAccentList"/>
    <dgm:cxn modelId="{E0539388-F116-436E-931E-329A6E969D68}" srcId="{41D7C3CF-F642-49FA-B6FE-70C2440290DD}" destId="{C47034C5-A520-4948-8833-265A30237DDE}" srcOrd="1" destOrd="0" parTransId="{7B9BD1B8-0C9A-4178-A1A4-38388425F6D3}" sibTransId="{6177B173-3C5D-42A3-BC96-35EA7A010169}"/>
    <dgm:cxn modelId="{E4C76CFE-19C5-499D-96CA-C6C3116D5C89}" srcId="{41D7C3CF-F642-49FA-B6FE-70C2440290DD}" destId="{2DD1B35B-BC70-4449-94C2-BEB17AF2B304}" srcOrd="0" destOrd="0" parTransId="{2472829A-D15E-4456-935D-4107D208E1D6}" sibTransId="{2D5534BF-9480-4C2B-93CC-4562D34B9C8A}"/>
    <dgm:cxn modelId="{10726CAC-BE57-4234-AC9F-6B3C53D52D35}" type="presOf" srcId="{4D65B4E6-1D5C-42B8-B75B-6271F30F4EAE}" destId="{4B81DDE6-9C51-4455-948F-6DF67AB525F0}" srcOrd="0" destOrd="0" presId="urn:microsoft.com/office/officeart/2008/layout/SquareAccentList"/>
    <dgm:cxn modelId="{C693A8D8-0578-4F2E-9905-5F9081341039}" srcId="{4DB5276A-F7F0-46CB-A545-5946F0275519}" destId="{C323F3E7-3A72-4064-9FB5-3A75C2637F7B}" srcOrd="3" destOrd="0" parTransId="{F9E2D528-4064-47A7-B85D-3FF865E5548D}" sibTransId="{074568B2-108B-45A9-8F0A-B85102E170C9}"/>
    <dgm:cxn modelId="{59D2C615-BCAF-4ED3-90DD-39E08D6526F8}" type="presOf" srcId="{EA4B94A3-3112-47D6-836A-629D704D93EA}" destId="{68FA4EBF-2555-4609-95BC-067CF2F65B03}" srcOrd="0" destOrd="0" presId="urn:microsoft.com/office/officeart/2008/layout/SquareAccentList"/>
    <dgm:cxn modelId="{5C6BAFDE-3B8C-4318-AA3E-E6B0E18BDE1B}" type="presOf" srcId="{4569A133-7D1E-43A3-939F-94B858B3CF63}" destId="{4E2D5A6A-C57F-4E9A-BBD4-26F241F3D599}" srcOrd="0" destOrd="0" presId="urn:microsoft.com/office/officeart/2008/layout/SquareAccentList"/>
    <dgm:cxn modelId="{799D8CFB-E9B8-49FE-8712-D51690CC44DE}" srcId="{EA4B94A3-3112-47D6-836A-629D704D93EA}" destId="{41D7C3CF-F642-49FA-B6FE-70C2440290DD}" srcOrd="0" destOrd="0" parTransId="{ED0CA4E3-345B-462F-AC02-28C712D28656}" sibTransId="{4224314C-D4C3-4332-844E-9DDBBC326ECC}"/>
    <dgm:cxn modelId="{5AC13A8F-3BFD-454F-83B1-217BC4F49075}" type="presOf" srcId="{22C591C4-0C52-4225-BE79-5147B210D6FF}" destId="{A5C95A4E-A54E-4AF1-A064-02BB8E307E2F}" srcOrd="0" destOrd="0" presId="urn:microsoft.com/office/officeart/2008/layout/SquareAccentList"/>
    <dgm:cxn modelId="{5797E5C1-A65E-4951-B776-AB5C915019DD}" type="presOf" srcId="{C47034C5-A520-4948-8833-265A30237DDE}" destId="{45EB499E-C82F-4BCA-9DDC-6BFA3803FF34}" srcOrd="0" destOrd="0" presId="urn:microsoft.com/office/officeart/2008/layout/SquareAccentList"/>
    <dgm:cxn modelId="{97CB2B87-419E-476C-B596-B5E21F72E0D2}" srcId="{4DB5276A-F7F0-46CB-A545-5946F0275519}" destId="{4D65B4E6-1D5C-42B8-B75B-6271F30F4EAE}" srcOrd="2" destOrd="0" parTransId="{197B02FE-389F-4955-AC34-DDBA2F21F86F}" sibTransId="{6F5F0A97-A8D1-4300-9179-0FC11A5D5873}"/>
    <dgm:cxn modelId="{395AF8EE-DBB9-4931-96C0-0F03E974D752}" type="presOf" srcId="{2DD1B35B-BC70-4449-94C2-BEB17AF2B304}" destId="{5171FEDF-B17C-466D-9CCB-D85C5D523D82}" srcOrd="0" destOrd="0" presId="urn:microsoft.com/office/officeart/2008/layout/SquareAccentList"/>
    <dgm:cxn modelId="{A2EBC1C9-E046-464D-87E5-3171C81858A4}" type="presOf" srcId="{C323F3E7-3A72-4064-9FB5-3A75C2637F7B}" destId="{AF58B0B3-1D1D-4B90-9131-78C79744BCE6}" srcOrd="0" destOrd="0" presId="urn:microsoft.com/office/officeart/2008/layout/SquareAccentList"/>
    <dgm:cxn modelId="{2D362FD0-958C-4378-BCB2-4B4D3B5FDD61}" type="presParOf" srcId="{68FA4EBF-2555-4609-95BC-067CF2F65B03}" destId="{F58658DF-9275-4DD2-A698-4A531D81BB03}" srcOrd="0" destOrd="0" presId="urn:microsoft.com/office/officeart/2008/layout/SquareAccentList"/>
    <dgm:cxn modelId="{E20250FE-6FA9-414A-9810-708142EF16D2}" type="presParOf" srcId="{F58658DF-9275-4DD2-A698-4A531D81BB03}" destId="{A24FCE91-1FFE-4AE6-B13F-2046F58DC82B}" srcOrd="0" destOrd="0" presId="urn:microsoft.com/office/officeart/2008/layout/SquareAccentList"/>
    <dgm:cxn modelId="{3EA36AD5-9FF8-419C-8C78-6C41FA83F3A1}" type="presParOf" srcId="{A24FCE91-1FFE-4AE6-B13F-2046F58DC82B}" destId="{0579CA71-F2F0-4C83-9730-4B3D952E49E1}" srcOrd="0" destOrd="0" presId="urn:microsoft.com/office/officeart/2008/layout/SquareAccentList"/>
    <dgm:cxn modelId="{1D798450-AC44-46CA-B4C7-DEF38F09A010}" type="presParOf" srcId="{A24FCE91-1FFE-4AE6-B13F-2046F58DC82B}" destId="{7656A053-444F-49B3-B476-2F892A1F2C66}" srcOrd="1" destOrd="0" presId="urn:microsoft.com/office/officeart/2008/layout/SquareAccentList"/>
    <dgm:cxn modelId="{472FBBAC-7EF3-4FBC-8751-7ACBF1EE18D9}" type="presParOf" srcId="{A24FCE91-1FFE-4AE6-B13F-2046F58DC82B}" destId="{F1E47671-9B38-4415-9970-00697DA64C77}" srcOrd="2" destOrd="0" presId="urn:microsoft.com/office/officeart/2008/layout/SquareAccentList"/>
    <dgm:cxn modelId="{15A00402-B17E-49D9-9653-A8EA8ADD5272}" type="presParOf" srcId="{F58658DF-9275-4DD2-A698-4A531D81BB03}" destId="{4BCD6B04-667A-47FA-92EE-F570AD33ED3C}" srcOrd="1" destOrd="0" presId="urn:microsoft.com/office/officeart/2008/layout/SquareAccentList"/>
    <dgm:cxn modelId="{7F9DD374-E460-4EC9-B497-2F6E4DD28E6F}" type="presParOf" srcId="{4BCD6B04-667A-47FA-92EE-F570AD33ED3C}" destId="{7614A972-C28D-40B4-B202-01035EF49DD7}" srcOrd="0" destOrd="0" presId="urn:microsoft.com/office/officeart/2008/layout/SquareAccentList"/>
    <dgm:cxn modelId="{89E121A8-39DE-4BE7-9C41-3FA127856201}" type="presParOf" srcId="{7614A972-C28D-40B4-B202-01035EF49DD7}" destId="{89D9D401-5738-4EF0-9CEA-DF18CDC1CC34}" srcOrd="0" destOrd="0" presId="urn:microsoft.com/office/officeart/2008/layout/SquareAccentList"/>
    <dgm:cxn modelId="{8B0BB07C-AD01-4DCC-8B2F-0FA71307696D}" type="presParOf" srcId="{7614A972-C28D-40B4-B202-01035EF49DD7}" destId="{5171FEDF-B17C-466D-9CCB-D85C5D523D82}" srcOrd="1" destOrd="0" presId="urn:microsoft.com/office/officeart/2008/layout/SquareAccentList"/>
    <dgm:cxn modelId="{6F4DABE5-E78F-439D-B437-5B2D78217DF2}" type="presParOf" srcId="{4BCD6B04-667A-47FA-92EE-F570AD33ED3C}" destId="{6F0408E8-7031-4419-9447-D93A8FC4BCF9}" srcOrd="1" destOrd="0" presId="urn:microsoft.com/office/officeart/2008/layout/SquareAccentList"/>
    <dgm:cxn modelId="{2DCF0E27-654D-4451-AD5A-5D66A3B30858}" type="presParOf" srcId="{6F0408E8-7031-4419-9447-D93A8FC4BCF9}" destId="{4DED667C-C50F-492A-B751-073AA8B5F708}" srcOrd="0" destOrd="0" presId="urn:microsoft.com/office/officeart/2008/layout/SquareAccentList"/>
    <dgm:cxn modelId="{E151189A-FCAD-4E44-AD4D-B4E4858112EA}" type="presParOf" srcId="{6F0408E8-7031-4419-9447-D93A8FC4BCF9}" destId="{45EB499E-C82F-4BCA-9DDC-6BFA3803FF34}" srcOrd="1" destOrd="0" presId="urn:microsoft.com/office/officeart/2008/layout/SquareAccentList"/>
    <dgm:cxn modelId="{F5F22497-A8ED-4A86-91F7-D5455601561F}" type="presParOf" srcId="{4BCD6B04-667A-47FA-92EE-F570AD33ED3C}" destId="{D264A6E2-EE16-4B56-B308-79A9DA2E7534}" srcOrd="2" destOrd="0" presId="urn:microsoft.com/office/officeart/2008/layout/SquareAccentList"/>
    <dgm:cxn modelId="{5A8DD57D-BD29-4605-ADCB-4B518E54E609}" type="presParOf" srcId="{D264A6E2-EE16-4B56-B308-79A9DA2E7534}" destId="{5F815BAD-F8F1-4558-9EF4-380811457384}" srcOrd="0" destOrd="0" presId="urn:microsoft.com/office/officeart/2008/layout/SquareAccentList"/>
    <dgm:cxn modelId="{7C838F8D-397D-4F87-82DF-38B847D9D81A}" type="presParOf" srcId="{D264A6E2-EE16-4B56-B308-79A9DA2E7534}" destId="{9B1E46C9-B961-4E5E-B706-B5F51B7914A3}" srcOrd="1" destOrd="0" presId="urn:microsoft.com/office/officeart/2008/layout/SquareAccentList"/>
    <dgm:cxn modelId="{E33C2CE5-C180-4577-A25E-CD3D27360E91}" type="presParOf" srcId="{4BCD6B04-667A-47FA-92EE-F570AD33ED3C}" destId="{5224345F-45F6-4427-B3A8-A1620A074F34}" srcOrd="3" destOrd="0" presId="urn:microsoft.com/office/officeart/2008/layout/SquareAccentList"/>
    <dgm:cxn modelId="{BAAC6260-53AB-4C9F-80AE-D96EFACE7BDF}" type="presParOf" srcId="{5224345F-45F6-4427-B3A8-A1620A074F34}" destId="{4E68C556-69F7-4CE6-8C0E-C65DAF8506D2}" srcOrd="0" destOrd="0" presId="urn:microsoft.com/office/officeart/2008/layout/SquareAccentList"/>
    <dgm:cxn modelId="{80B0B89B-38AC-4951-800C-259BAAEE94FD}" type="presParOf" srcId="{5224345F-45F6-4427-B3A8-A1620A074F34}" destId="{4E2D5A6A-C57F-4E9A-BBD4-26F241F3D599}" srcOrd="1" destOrd="0" presId="urn:microsoft.com/office/officeart/2008/layout/SquareAccentList"/>
    <dgm:cxn modelId="{19991177-D02B-4886-8913-B155AE11AF4B}" type="presParOf" srcId="{68FA4EBF-2555-4609-95BC-067CF2F65B03}" destId="{18B2BC53-9F49-48AE-B108-7D71B455FD5D}" srcOrd="1" destOrd="0" presId="urn:microsoft.com/office/officeart/2008/layout/SquareAccentList"/>
    <dgm:cxn modelId="{FC399CC3-E235-4AAA-BE73-D1FA10F5C0FC}" type="presParOf" srcId="{18B2BC53-9F49-48AE-B108-7D71B455FD5D}" destId="{C98E655D-8D81-4C11-B829-1F016FADBF7B}" srcOrd="0" destOrd="0" presId="urn:microsoft.com/office/officeart/2008/layout/SquareAccentList"/>
    <dgm:cxn modelId="{450D5DED-6DA4-4947-BC3C-DDD2B8DA5CDC}" type="presParOf" srcId="{C98E655D-8D81-4C11-B829-1F016FADBF7B}" destId="{30107116-7402-4665-AF2E-049EC1ED365F}" srcOrd="0" destOrd="0" presId="urn:microsoft.com/office/officeart/2008/layout/SquareAccentList"/>
    <dgm:cxn modelId="{BEC08361-317A-44EE-976C-D451A3294651}" type="presParOf" srcId="{C98E655D-8D81-4C11-B829-1F016FADBF7B}" destId="{CA0D1418-3614-4B65-9D06-6F26B59EF890}" srcOrd="1" destOrd="0" presId="urn:microsoft.com/office/officeart/2008/layout/SquareAccentList"/>
    <dgm:cxn modelId="{98921E29-7121-44A2-9674-96F0AA25386D}" type="presParOf" srcId="{C98E655D-8D81-4C11-B829-1F016FADBF7B}" destId="{237D98C8-440D-41BC-898B-5A98262A8BDC}" srcOrd="2" destOrd="0" presId="urn:microsoft.com/office/officeart/2008/layout/SquareAccentList"/>
    <dgm:cxn modelId="{AA8EA912-B1E8-4E7A-889A-DB7CEF0A12D2}" type="presParOf" srcId="{18B2BC53-9F49-48AE-B108-7D71B455FD5D}" destId="{6B34BFB4-C4E2-45F0-8738-9301828B958C}" srcOrd="1" destOrd="0" presId="urn:microsoft.com/office/officeart/2008/layout/SquareAccentList"/>
    <dgm:cxn modelId="{3CCF6AE9-F944-4557-A908-882ECB993B48}" type="presParOf" srcId="{6B34BFB4-C4E2-45F0-8738-9301828B958C}" destId="{F4115A45-C0AF-40DC-B051-2E79160014F4}" srcOrd="0" destOrd="0" presId="urn:microsoft.com/office/officeart/2008/layout/SquareAccentList"/>
    <dgm:cxn modelId="{BA5023B3-62F5-41A1-BD4B-3360D0747E00}" type="presParOf" srcId="{F4115A45-C0AF-40DC-B051-2E79160014F4}" destId="{00B54D3A-8453-472B-A415-F6226CD42EE5}" srcOrd="0" destOrd="0" presId="urn:microsoft.com/office/officeart/2008/layout/SquareAccentList"/>
    <dgm:cxn modelId="{C39C9DB7-D1F0-4552-98E8-3D1C340F7351}" type="presParOf" srcId="{F4115A45-C0AF-40DC-B051-2E79160014F4}" destId="{A5C95A4E-A54E-4AF1-A064-02BB8E307E2F}" srcOrd="1" destOrd="0" presId="urn:microsoft.com/office/officeart/2008/layout/SquareAccentList"/>
    <dgm:cxn modelId="{A9683A83-1C82-45B3-A99A-79F5617B7AF2}" type="presParOf" srcId="{6B34BFB4-C4E2-45F0-8738-9301828B958C}" destId="{6E221D50-7D71-494A-A38F-30EF9EC8B517}" srcOrd="1" destOrd="0" presId="urn:microsoft.com/office/officeart/2008/layout/SquareAccentList"/>
    <dgm:cxn modelId="{9AC8DCC6-3C59-44F8-8D9E-D570892CDC89}" type="presParOf" srcId="{6E221D50-7D71-494A-A38F-30EF9EC8B517}" destId="{1B5FA4A0-1C23-4FE2-8D82-6FA2A32025BA}" srcOrd="0" destOrd="0" presId="urn:microsoft.com/office/officeart/2008/layout/SquareAccentList"/>
    <dgm:cxn modelId="{CA37E982-9692-4EFF-AA7A-5D594961171E}" type="presParOf" srcId="{6E221D50-7D71-494A-A38F-30EF9EC8B517}" destId="{FE0289C0-BB5E-4BDD-BBC1-792961050072}" srcOrd="1" destOrd="0" presId="urn:microsoft.com/office/officeart/2008/layout/SquareAccentList"/>
    <dgm:cxn modelId="{EF156B9F-B051-4E11-885A-097AC8A1BA4D}" type="presParOf" srcId="{6B34BFB4-C4E2-45F0-8738-9301828B958C}" destId="{FB9334F5-2729-43A8-A35E-173D0C6C3098}" srcOrd="2" destOrd="0" presId="urn:microsoft.com/office/officeart/2008/layout/SquareAccentList"/>
    <dgm:cxn modelId="{5C9B7162-D463-4D56-A70C-1AEA73822FFF}" type="presParOf" srcId="{FB9334F5-2729-43A8-A35E-173D0C6C3098}" destId="{8960A6D1-6A3A-41AB-9038-8BE9C9CE584F}" srcOrd="0" destOrd="0" presId="urn:microsoft.com/office/officeart/2008/layout/SquareAccentList"/>
    <dgm:cxn modelId="{531DAC83-1503-434B-88EB-FF0BE1B5B7DE}" type="presParOf" srcId="{FB9334F5-2729-43A8-A35E-173D0C6C3098}" destId="{4B81DDE6-9C51-4455-948F-6DF67AB525F0}" srcOrd="1" destOrd="0" presId="urn:microsoft.com/office/officeart/2008/layout/SquareAccentList"/>
    <dgm:cxn modelId="{7A2B1A23-0B4B-4686-AFD8-A19CCAA77617}" type="presParOf" srcId="{6B34BFB4-C4E2-45F0-8738-9301828B958C}" destId="{E231F3BA-D1B8-4520-8036-C8B9215A0AD5}" srcOrd="3" destOrd="0" presId="urn:microsoft.com/office/officeart/2008/layout/SquareAccentList"/>
    <dgm:cxn modelId="{125834CA-62BF-4E87-8448-4261EAA8C40B}" type="presParOf" srcId="{E231F3BA-D1B8-4520-8036-C8B9215A0AD5}" destId="{625E35A6-441D-4EAA-937F-EE63E3FF9112}" srcOrd="0" destOrd="0" presId="urn:microsoft.com/office/officeart/2008/layout/SquareAccentList"/>
    <dgm:cxn modelId="{E881F71A-3E0B-4E83-9BC5-EBAD9A4E214C}" type="presParOf" srcId="{E231F3BA-D1B8-4520-8036-C8B9215A0AD5}" destId="{AF58B0B3-1D1D-4B90-9131-78C79744BCE6}"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2D52A23D-6518-4A32-B1B8-B10F8512B756}"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zh-CN" altLang="en-US"/>
        </a:p>
      </dgm:t>
    </dgm:pt>
    <dgm:pt modelId="{808BA20E-E965-4CF7-BBBF-3894D2D9389E}">
      <dgm:prSet phldrT="[文本]" custT="1"/>
      <dgm:spPr/>
      <dgm:t>
        <a:bodyPr/>
        <a:lstStyle/>
        <a:p>
          <a:r>
            <a:rPr lang="zh-CN" altLang="en-US" sz="3600" dirty="0" smtClean="0"/>
            <a:t>突破提权</a:t>
          </a:r>
          <a:endParaRPr lang="zh-CN" altLang="en-US" sz="3600" dirty="0"/>
        </a:p>
      </dgm:t>
    </dgm:pt>
    <dgm:pt modelId="{A8D3C99B-EAE5-4C42-AFBB-0D9EEC7171C7}" type="parTrans" cxnId="{B53C750E-65A8-4150-925F-63E40BE59BA2}">
      <dgm:prSet/>
      <dgm:spPr/>
      <dgm:t>
        <a:bodyPr/>
        <a:lstStyle/>
        <a:p>
          <a:endParaRPr lang="zh-CN" altLang="en-US"/>
        </a:p>
      </dgm:t>
    </dgm:pt>
    <dgm:pt modelId="{4244E7A2-7D4F-43B7-A9FF-D6C54C1597BE}" type="sibTrans" cxnId="{B53C750E-65A8-4150-925F-63E40BE59BA2}">
      <dgm:prSet/>
      <dgm:spPr/>
      <dgm:t>
        <a:bodyPr/>
        <a:lstStyle/>
        <a:p>
          <a:endParaRPr lang="zh-CN" altLang="en-US"/>
        </a:p>
      </dgm:t>
    </dgm:pt>
    <dgm:pt modelId="{835F2679-B190-483A-BC16-69F80394D343}">
      <dgm:prSet phldrT="[文本]"/>
      <dgm:spPr/>
      <dgm:t>
        <a:bodyPr/>
        <a:lstStyle/>
        <a:p>
          <a:r>
            <a:rPr lang="zh-CN" altLang="en-US" dirty="0" smtClean="0"/>
            <a:t>入侵突破</a:t>
          </a:r>
          <a:endParaRPr lang="zh-CN" altLang="en-US" dirty="0"/>
        </a:p>
      </dgm:t>
    </dgm:pt>
    <dgm:pt modelId="{32090BF3-FD5F-48C1-8749-B56955B9E418}" type="parTrans" cxnId="{73F0C42D-5B12-4EF0-A74F-8D865A549BFB}">
      <dgm:prSet/>
      <dgm:spPr/>
      <dgm:t>
        <a:bodyPr/>
        <a:lstStyle/>
        <a:p>
          <a:endParaRPr lang="zh-CN" altLang="en-US"/>
        </a:p>
      </dgm:t>
    </dgm:pt>
    <dgm:pt modelId="{0BBE610B-6904-4151-B4DD-6CB7DEEE8E54}" type="sibTrans" cxnId="{73F0C42D-5B12-4EF0-A74F-8D865A549BFB}">
      <dgm:prSet/>
      <dgm:spPr/>
      <dgm:t>
        <a:bodyPr/>
        <a:lstStyle/>
        <a:p>
          <a:endParaRPr lang="zh-CN" altLang="en-US"/>
        </a:p>
      </dgm:t>
    </dgm:pt>
    <dgm:pt modelId="{1745B56C-7559-4112-9579-F356079DFE0B}">
      <dgm:prSet phldrT="[文本]" custT="1"/>
      <dgm:spPr/>
      <dgm:t>
        <a:bodyPr/>
        <a:lstStyle/>
        <a:p>
          <a:r>
            <a:rPr lang="zh-CN" altLang="en-US" sz="3600" dirty="0" smtClean="0"/>
            <a:t>控制目标</a:t>
          </a:r>
          <a:endParaRPr lang="zh-CN" altLang="en-US" sz="3600" dirty="0"/>
        </a:p>
      </dgm:t>
    </dgm:pt>
    <dgm:pt modelId="{83381565-6E33-4FA0-A364-D3E644996CB5}" type="parTrans" cxnId="{7CD390D5-7AE4-4159-A1F3-4A6A2BE0EB69}">
      <dgm:prSet/>
      <dgm:spPr/>
      <dgm:t>
        <a:bodyPr/>
        <a:lstStyle/>
        <a:p>
          <a:endParaRPr lang="zh-CN" altLang="en-US"/>
        </a:p>
      </dgm:t>
    </dgm:pt>
    <dgm:pt modelId="{FF3096A5-9827-4EC2-AEF5-0C7F1E143137}" type="sibTrans" cxnId="{7CD390D5-7AE4-4159-A1F3-4A6A2BE0EB69}">
      <dgm:prSet/>
      <dgm:spPr/>
      <dgm:t>
        <a:bodyPr/>
        <a:lstStyle/>
        <a:p>
          <a:endParaRPr lang="zh-CN" altLang="en-US"/>
        </a:p>
      </dgm:t>
    </dgm:pt>
    <dgm:pt modelId="{EF82F4E2-80B3-4709-822F-B6702D0EDF7D}">
      <dgm:prSet phldrT="[文本]"/>
      <dgm:spPr/>
      <dgm:t>
        <a:bodyPr/>
        <a:lstStyle/>
        <a:p>
          <a:r>
            <a:rPr lang="zh-CN" altLang="en-US" dirty="0" smtClean="0"/>
            <a:t>目标权限</a:t>
          </a:r>
          <a:endParaRPr lang="zh-CN" altLang="en-US" dirty="0"/>
        </a:p>
      </dgm:t>
    </dgm:pt>
    <dgm:pt modelId="{0DE2FFFF-BD39-4445-93C9-CD81C2EC3B8F}" type="parTrans" cxnId="{30B72D3C-F417-4BDD-9CE3-95F28A4CA899}">
      <dgm:prSet/>
      <dgm:spPr/>
      <dgm:t>
        <a:bodyPr/>
        <a:lstStyle/>
        <a:p>
          <a:endParaRPr lang="zh-CN" altLang="en-US"/>
        </a:p>
      </dgm:t>
    </dgm:pt>
    <dgm:pt modelId="{F741E1A5-798A-4480-91C8-5B45B4E6721C}" type="sibTrans" cxnId="{30B72D3C-F417-4BDD-9CE3-95F28A4CA899}">
      <dgm:prSet/>
      <dgm:spPr/>
      <dgm:t>
        <a:bodyPr/>
        <a:lstStyle/>
        <a:p>
          <a:endParaRPr lang="zh-CN" altLang="en-US"/>
        </a:p>
      </dgm:t>
    </dgm:pt>
    <dgm:pt modelId="{69751312-6651-4AE4-800B-C84CDBC3562D}">
      <dgm:prSet phldrT="[文本]"/>
      <dgm:spPr/>
      <dgm:t>
        <a:bodyPr/>
        <a:lstStyle/>
        <a:p>
          <a:r>
            <a:rPr lang="zh-CN" altLang="en-US" dirty="0" smtClean="0"/>
            <a:t>目标数据</a:t>
          </a:r>
          <a:endParaRPr lang="zh-CN" altLang="en-US" dirty="0"/>
        </a:p>
      </dgm:t>
    </dgm:pt>
    <dgm:pt modelId="{7072AA94-F2B8-4595-834C-0891A1273CF7}" type="parTrans" cxnId="{7DD2ABCF-858F-4E10-B3CC-F2FFB4F91FA4}">
      <dgm:prSet/>
      <dgm:spPr/>
      <dgm:t>
        <a:bodyPr/>
        <a:lstStyle/>
        <a:p>
          <a:endParaRPr lang="zh-CN" altLang="en-US"/>
        </a:p>
      </dgm:t>
    </dgm:pt>
    <dgm:pt modelId="{6899D867-41DE-48AF-A1A4-E0506AEAFF5A}" type="sibTrans" cxnId="{7DD2ABCF-858F-4E10-B3CC-F2FFB4F91FA4}">
      <dgm:prSet/>
      <dgm:spPr/>
      <dgm:t>
        <a:bodyPr/>
        <a:lstStyle/>
        <a:p>
          <a:endParaRPr lang="zh-CN" altLang="en-US"/>
        </a:p>
      </dgm:t>
    </dgm:pt>
    <dgm:pt modelId="{08AF03F0-0EC1-49D3-8594-77A5CFF5F47A}">
      <dgm:prSet phldrT="[文本]"/>
      <dgm:spPr/>
      <dgm:t>
        <a:bodyPr/>
        <a:lstStyle/>
        <a:p>
          <a:r>
            <a:rPr lang="zh-CN" altLang="en-US" dirty="0" smtClean="0"/>
            <a:t>控制权限</a:t>
          </a:r>
          <a:endParaRPr lang="zh-CN" altLang="en-US" dirty="0"/>
        </a:p>
      </dgm:t>
    </dgm:pt>
    <dgm:pt modelId="{37247370-11DD-451F-96D2-9AC67B980931}" type="parTrans" cxnId="{94EA1D22-8FCB-40EF-9351-F82246854A00}">
      <dgm:prSet/>
      <dgm:spPr/>
      <dgm:t>
        <a:bodyPr/>
        <a:lstStyle/>
        <a:p>
          <a:endParaRPr lang="zh-CN" altLang="en-US"/>
        </a:p>
      </dgm:t>
    </dgm:pt>
    <dgm:pt modelId="{7140785E-ADE1-4DFB-A76D-BF5BAD183E78}" type="sibTrans" cxnId="{94EA1D22-8FCB-40EF-9351-F82246854A00}">
      <dgm:prSet/>
      <dgm:spPr/>
      <dgm:t>
        <a:bodyPr/>
        <a:lstStyle/>
        <a:p>
          <a:endParaRPr lang="zh-CN" altLang="en-US"/>
        </a:p>
      </dgm:t>
    </dgm:pt>
    <dgm:pt modelId="{BA74B700-63F6-46CB-AF2A-50E0609679F2}">
      <dgm:prSet phldrT="[文本]"/>
      <dgm:spPr/>
      <dgm:t>
        <a:bodyPr/>
        <a:lstStyle/>
        <a:p>
          <a:r>
            <a:rPr lang="zh-CN" altLang="en-US" dirty="0" smtClean="0"/>
            <a:t>访问权限</a:t>
          </a:r>
          <a:endParaRPr lang="zh-CN" altLang="en-US" dirty="0"/>
        </a:p>
      </dgm:t>
    </dgm:pt>
    <dgm:pt modelId="{EDD7A904-B5FB-436B-A81C-9EF02CD9822A}" type="parTrans" cxnId="{C39ACC38-9FC0-4DFD-9CC6-6F61ECFDD367}">
      <dgm:prSet/>
      <dgm:spPr/>
      <dgm:t>
        <a:bodyPr/>
        <a:lstStyle/>
        <a:p>
          <a:endParaRPr lang="zh-CN" altLang="en-US"/>
        </a:p>
      </dgm:t>
    </dgm:pt>
    <dgm:pt modelId="{DABD49DE-4845-484B-AFB5-8A4A230E4D77}" type="sibTrans" cxnId="{C39ACC38-9FC0-4DFD-9CC6-6F61ECFDD367}">
      <dgm:prSet/>
      <dgm:spPr/>
      <dgm:t>
        <a:bodyPr/>
        <a:lstStyle/>
        <a:p>
          <a:endParaRPr lang="zh-CN" altLang="en-US"/>
        </a:p>
      </dgm:t>
    </dgm:pt>
    <dgm:pt modelId="{9272D36E-242C-47B3-9CA4-DEC71A902FB9}" type="pres">
      <dgm:prSet presAssocID="{2D52A23D-6518-4A32-B1B8-B10F8512B756}" presName="Name0" presStyleCnt="0">
        <dgm:presLayoutVars>
          <dgm:chMax val="7"/>
          <dgm:dir/>
          <dgm:animLvl val="lvl"/>
          <dgm:resizeHandles val="exact"/>
        </dgm:presLayoutVars>
      </dgm:prSet>
      <dgm:spPr/>
      <dgm:t>
        <a:bodyPr/>
        <a:lstStyle/>
        <a:p>
          <a:endParaRPr lang="zh-CN" altLang="en-US"/>
        </a:p>
      </dgm:t>
    </dgm:pt>
    <dgm:pt modelId="{9AD051EA-41FD-425A-A068-FB5FF29F209C}" type="pres">
      <dgm:prSet presAssocID="{808BA20E-E965-4CF7-BBBF-3894D2D9389E}" presName="circle1" presStyleLbl="node1" presStyleIdx="0" presStyleCnt="2"/>
      <dgm:spPr/>
    </dgm:pt>
    <dgm:pt modelId="{9352A92C-3B95-42A5-9D4A-6D04FC1E6F67}" type="pres">
      <dgm:prSet presAssocID="{808BA20E-E965-4CF7-BBBF-3894D2D9389E}" presName="space" presStyleCnt="0"/>
      <dgm:spPr/>
    </dgm:pt>
    <dgm:pt modelId="{8F3CB03F-BEF6-4FD2-A8C7-7DC85D57D513}" type="pres">
      <dgm:prSet presAssocID="{808BA20E-E965-4CF7-BBBF-3894D2D9389E}" presName="rect1" presStyleLbl="alignAcc1" presStyleIdx="0" presStyleCnt="2" custScaleY="100000" custLinFactNeighborY="125"/>
      <dgm:spPr/>
      <dgm:t>
        <a:bodyPr/>
        <a:lstStyle/>
        <a:p>
          <a:endParaRPr lang="zh-CN" altLang="en-US"/>
        </a:p>
      </dgm:t>
    </dgm:pt>
    <dgm:pt modelId="{74C05978-7216-414B-8593-4BE07E57B969}" type="pres">
      <dgm:prSet presAssocID="{1745B56C-7559-4112-9579-F356079DFE0B}" presName="vertSpace2" presStyleLbl="node1" presStyleIdx="0" presStyleCnt="2"/>
      <dgm:spPr/>
    </dgm:pt>
    <dgm:pt modelId="{4591C7D8-0C02-45C6-8E4F-3C56CD94702F}" type="pres">
      <dgm:prSet presAssocID="{1745B56C-7559-4112-9579-F356079DFE0B}" presName="circle2" presStyleLbl="node1" presStyleIdx="1" presStyleCnt="2"/>
      <dgm:spPr/>
    </dgm:pt>
    <dgm:pt modelId="{90CCCB54-1673-4BE6-A845-BA2CFD3F4804}" type="pres">
      <dgm:prSet presAssocID="{1745B56C-7559-4112-9579-F356079DFE0B}" presName="rect2" presStyleLbl="alignAcc1" presStyleIdx="1" presStyleCnt="2"/>
      <dgm:spPr/>
      <dgm:t>
        <a:bodyPr/>
        <a:lstStyle/>
        <a:p>
          <a:endParaRPr lang="zh-CN" altLang="en-US"/>
        </a:p>
      </dgm:t>
    </dgm:pt>
    <dgm:pt modelId="{864EAE40-1E91-4598-8A0D-78877A3793F8}" type="pres">
      <dgm:prSet presAssocID="{808BA20E-E965-4CF7-BBBF-3894D2D9389E}" presName="rect1ParTx" presStyleLbl="alignAcc1" presStyleIdx="1" presStyleCnt="2">
        <dgm:presLayoutVars>
          <dgm:chMax val="1"/>
          <dgm:bulletEnabled val="1"/>
        </dgm:presLayoutVars>
      </dgm:prSet>
      <dgm:spPr/>
      <dgm:t>
        <a:bodyPr/>
        <a:lstStyle/>
        <a:p>
          <a:endParaRPr lang="zh-CN" altLang="en-US"/>
        </a:p>
      </dgm:t>
    </dgm:pt>
    <dgm:pt modelId="{71918C33-7E50-4407-8F86-6491062A1A2C}" type="pres">
      <dgm:prSet presAssocID="{808BA20E-E965-4CF7-BBBF-3894D2D9389E}" presName="rect1ChTx" presStyleLbl="alignAcc1" presStyleIdx="1" presStyleCnt="2">
        <dgm:presLayoutVars>
          <dgm:bulletEnabled val="1"/>
        </dgm:presLayoutVars>
      </dgm:prSet>
      <dgm:spPr/>
      <dgm:t>
        <a:bodyPr/>
        <a:lstStyle/>
        <a:p>
          <a:endParaRPr lang="zh-CN" altLang="en-US"/>
        </a:p>
      </dgm:t>
    </dgm:pt>
    <dgm:pt modelId="{46EC9756-8F5B-499B-9EB2-409A5BCFE504}" type="pres">
      <dgm:prSet presAssocID="{1745B56C-7559-4112-9579-F356079DFE0B}" presName="rect2ParTx" presStyleLbl="alignAcc1" presStyleIdx="1" presStyleCnt="2">
        <dgm:presLayoutVars>
          <dgm:chMax val="1"/>
          <dgm:bulletEnabled val="1"/>
        </dgm:presLayoutVars>
      </dgm:prSet>
      <dgm:spPr/>
      <dgm:t>
        <a:bodyPr/>
        <a:lstStyle/>
        <a:p>
          <a:endParaRPr lang="zh-CN" altLang="en-US"/>
        </a:p>
      </dgm:t>
    </dgm:pt>
    <dgm:pt modelId="{6DE670D1-3801-4653-AD62-506B301D5B31}" type="pres">
      <dgm:prSet presAssocID="{1745B56C-7559-4112-9579-F356079DFE0B}" presName="rect2ChTx" presStyleLbl="alignAcc1" presStyleIdx="1" presStyleCnt="2">
        <dgm:presLayoutVars>
          <dgm:bulletEnabled val="1"/>
        </dgm:presLayoutVars>
      </dgm:prSet>
      <dgm:spPr/>
      <dgm:t>
        <a:bodyPr/>
        <a:lstStyle/>
        <a:p>
          <a:endParaRPr lang="zh-CN" altLang="en-US"/>
        </a:p>
      </dgm:t>
    </dgm:pt>
  </dgm:ptLst>
  <dgm:cxnLst>
    <dgm:cxn modelId="{84F2AF33-75BB-454A-B230-0EEBEF4D70BF}" type="presOf" srcId="{2D52A23D-6518-4A32-B1B8-B10F8512B756}" destId="{9272D36E-242C-47B3-9CA4-DEC71A902FB9}" srcOrd="0" destOrd="0" presId="urn:microsoft.com/office/officeart/2005/8/layout/target3"/>
    <dgm:cxn modelId="{8F69F4DF-A36D-4124-B5BB-5CB8D148D35D}" type="presOf" srcId="{808BA20E-E965-4CF7-BBBF-3894D2D9389E}" destId="{8F3CB03F-BEF6-4FD2-A8C7-7DC85D57D513}" srcOrd="0" destOrd="0" presId="urn:microsoft.com/office/officeart/2005/8/layout/target3"/>
    <dgm:cxn modelId="{7DD2ABCF-858F-4E10-B3CC-F2FFB4F91FA4}" srcId="{1745B56C-7559-4112-9579-F356079DFE0B}" destId="{69751312-6651-4AE4-800B-C84CDBC3562D}" srcOrd="1" destOrd="0" parTransId="{7072AA94-F2B8-4595-834C-0891A1273CF7}" sibTransId="{6899D867-41DE-48AF-A1A4-E0506AEAFF5A}"/>
    <dgm:cxn modelId="{24765274-3FCA-4595-B10E-AE014592C92C}" type="presOf" srcId="{69751312-6651-4AE4-800B-C84CDBC3562D}" destId="{6DE670D1-3801-4653-AD62-506B301D5B31}" srcOrd="0" destOrd="1" presId="urn:microsoft.com/office/officeart/2005/8/layout/target3"/>
    <dgm:cxn modelId="{158FCBE0-3D58-4D3E-B06A-0E6297FCFEA6}" type="presOf" srcId="{EF82F4E2-80B3-4709-822F-B6702D0EDF7D}" destId="{6DE670D1-3801-4653-AD62-506B301D5B31}" srcOrd="0" destOrd="0" presId="urn:microsoft.com/office/officeart/2005/8/layout/target3"/>
    <dgm:cxn modelId="{7C679A82-80BC-4DF6-85E8-1064F5B24C3F}" type="presOf" srcId="{1745B56C-7559-4112-9579-F356079DFE0B}" destId="{90CCCB54-1673-4BE6-A845-BA2CFD3F4804}" srcOrd="0" destOrd="0" presId="urn:microsoft.com/office/officeart/2005/8/layout/target3"/>
    <dgm:cxn modelId="{30B72D3C-F417-4BDD-9CE3-95F28A4CA899}" srcId="{1745B56C-7559-4112-9579-F356079DFE0B}" destId="{EF82F4E2-80B3-4709-822F-B6702D0EDF7D}" srcOrd="0" destOrd="0" parTransId="{0DE2FFFF-BD39-4445-93C9-CD81C2EC3B8F}" sibTransId="{F741E1A5-798A-4480-91C8-5B45B4E6721C}"/>
    <dgm:cxn modelId="{AE84A60F-B4A0-4A2E-89B6-11964720A72B}" type="presOf" srcId="{835F2679-B190-483A-BC16-69F80394D343}" destId="{71918C33-7E50-4407-8F86-6491062A1A2C}" srcOrd="0" destOrd="0" presId="urn:microsoft.com/office/officeart/2005/8/layout/target3"/>
    <dgm:cxn modelId="{94EA1D22-8FCB-40EF-9351-F82246854A00}" srcId="{808BA20E-E965-4CF7-BBBF-3894D2D9389E}" destId="{08AF03F0-0EC1-49D3-8594-77A5CFF5F47A}" srcOrd="2" destOrd="0" parTransId="{37247370-11DD-451F-96D2-9AC67B980931}" sibTransId="{7140785E-ADE1-4DFB-A76D-BF5BAD183E78}"/>
    <dgm:cxn modelId="{A1743235-3570-468B-9070-3E6143F34956}" type="presOf" srcId="{808BA20E-E965-4CF7-BBBF-3894D2D9389E}" destId="{864EAE40-1E91-4598-8A0D-78877A3793F8}" srcOrd="1" destOrd="0" presId="urn:microsoft.com/office/officeart/2005/8/layout/target3"/>
    <dgm:cxn modelId="{B53C750E-65A8-4150-925F-63E40BE59BA2}" srcId="{2D52A23D-6518-4A32-B1B8-B10F8512B756}" destId="{808BA20E-E965-4CF7-BBBF-3894D2D9389E}" srcOrd="0" destOrd="0" parTransId="{A8D3C99B-EAE5-4C42-AFBB-0D9EEC7171C7}" sibTransId="{4244E7A2-7D4F-43B7-A9FF-D6C54C1597BE}"/>
    <dgm:cxn modelId="{7CD390D5-7AE4-4159-A1F3-4A6A2BE0EB69}" srcId="{2D52A23D-6518-4A32-B1B8-B10F8512B756}" destId="{1745B56C-7559-4112-9579-F356079DFE0B}" srcOrd="1" destOrd="0" parTransId="{83381565-6E33-4FA0-A364-D3E644996CB5}" sibTransId="{FF3096A5-9827-4EC2-AEF5-0C7F1E143137}"/>
    <dgm:cxn modelId="{C39ACC38-9FC0-4DFD-9CC6-6F61ECFDD367}" srcId="{808BA20E-E965-4CF7-BBBF-3894D2D9389E}" destId="{BA74B700-63F6-46CB-AF2A-50E0609679F2}" srcOrd="1" destOrd="0" parTransId="{EDD7A904-B5FB-436B-A81C-9EF02CD9822A}" sibTransId="{DABD49DE-4845-484B-AFB5-8A4A230E4D77}"/>
    <dgm:cxn modelId="{73F0C42D-5B12-4EF0-A74F-8D865A549BFB}" srcId="{808BA20E-E965-4CF7-BBBF-3894D2D9389E}" destId="{835F2679-B190-483A-BC16-69F80394D343}" srcOrd="0" destOrd="0" parTransId="{32090BF3-FD5F-48C1-8749-B56955B9E418}" sibTransId="{0BBE610B-6904-4151-B4DD-6CB7DEEE8E54}"/>
    <dgm:cxn modelId="{AFA21BF4-DE6D-4EF1-8233-F9CB31DC5CE4}" type="presOf" srcId="{08AF03F0-0EC1-49D3-8594-77A5CFF5F47A}" destId="{71918C33-7E50-4407-8F86-6491062A1A2C}" srcOrd="0" destOrd="2" presId="urn:microsoft.com/office/officeart/2005/8/layout/target3"/>
    <dgm:cxn modelId="{4CBE826A-1A37-4DD8-8EE9-4FACC4A84A13}" type="presOf" srcId="{1745B56C-7559-4112-9579-F356079DFE0B}" destId="{46EC9756-8F5B-499B-9EB2-409A5BCFE504}" srcOrd="1" destOrd="0" presId="urn:microsoft.com/office/officeart/2005/8/layout/target3"/>
    <dgm:cxn modelId="{C0CA72B5-042C-46B8-9129-693C5F0E13B2}" type="presOf" srcId="{BA74B700-63F6-46CB-AF2A-50E0609679F2}" destId="{71918C33-7E50-4407-8F86-6491062A1A2C}" srcOrd="0" destOrd="1" presId="urn:microsoft.com/office/officeart/2005/8/layout/target3"/>
    <dgm:cxn modelId="{5D60232C-9D6C-403F-B4AE-0A666DB0D996}" type="presParOf" srcId="{9272D36E-242C-47B3-9CA4-DEC71A902FB9}" destId="{9AD051EA-41FD-425A-A068-FB5FF29F209C}" srcOrd="0" destOrd="0" presId="urn:microsoft.com/office/officeart/2005/8/layout/target3"/>
    <dgm:cxn modelId="{D2C1A334-6F29-4820-8852-62A372B6E691}" type="presParOf" srcId="{9272D36E-242C-47B3-9CA4-DEC71A902FB9}" destId="{9352A92C-3B95-42A5-9D4A-6D04FC1E6F67}" srcOrd="1" destOrd="0" presId="urn:microsoft.com/office/officeart/2005/8/layout/target3"/>
    <dgm:cxn modelId="{D3BC64BA-CBD7-4D24-8CEE-6E1496F9A551}" type="presParOf" srcId="{9272D36E-242C-47B3-9CA4-DEC71A902FB9}" destId="{8F3CB03F-BEF6-4FD2-A8C7-7DC85D57D513}" srcOrd="2" destOrd="0" presId="urn:microsoft.com/office/officeart/2005/8/layout/target3"/>
    <dgm:cxn modelId="{BA46B87F-1275-4103-8259-8D584A632E3B}" type="presParOf" srcId="{9272D36E-242C-47B3-9CA4-DEC71A902FB9}" destId="{74C05978-7216-414B-8593-4BE07E57B969}" srcOrd="3" destOrd="0" presId="urn:microsoft.com/office/officeart/2005/8/layout/target3"/>
    <dgm:cxn modelId="{A7F71BCA-3703-4EBF-A528-0B3446451F7A}" type="presParOf" srcId="{9272D36E-242C-47B3-9CA4-DEC71A902FB9}" destId="{4591C7D8-0C02-45C6-8E4F-3C56CD94702F}" srcOrd="4" destOrd="0" presId="urn:microsoft.com/office/officeart/2005/8/layout/target3"/>
    <dgm:cxn modelId="{2972A922-ED03-4A25-B4BB-1B4EB1474F3C}" type="presParOf" srcId="{9272D36E-242C-47B3-9CA4-DEC71A902FB9}" destId="{90CCCB54-1673-4BE6-A845-BA2CFD3F4804}" srcOrd="5" destOrd="0" presId="urn:microsoft.com/office/officeart/2005/8/layout/target3"/>
    <dgm:cxn modelId="{5970A58C-DCC3-4851-B156-88F29C48CA8A}" type="presParOf" srcId="{9272D36E-242C-47B3-9CA4-DEC71A902FB9}" destId="{864EAE40-1E91-4598-8A0D-78877A3793F8}" srcOrd="6" destOrd="0" presId="urn:microsoft.com/office/officeart/2005/8/layout/target3"/>
    <dgm:cxn modelId="{C5754F3A-2566-41D9-BDDB-E1B4F63DEE31}" type="presParOf" srcId="{9272D36E-242C-47B3-9CA4-DEC71A902FB9}" destId="{71918C33-7E50-4407-8F86-6491062A1A2C}" srcOrd="7" destOrd="0" presId="urn:microsoft.com/office/officeart/2005/8/layout/target3"/>
    <dgm:cxn modelId="{FA8DCD45-5C91-4333-9B30-209E4300849A}" type="presParOf" srcId="{9272D36E-242C-47B3-9CA4-DEC71A902FB9}" destId="{46EC9756-8F5B-499B-9EB2-409A5BCFE504}" srcOrd="8" destOrd="0" presId="urn:microsoft.com/office/officeart/2005/8/layout/target3"/>
    <dgm:cxn modelId="{FD6E2EF8-3BD6-4A79-985B-FECDDD728650}" type="presParOf" srcId="{9272D36E-242C-47B3-9CA4-DEC71A902FB9}" destId="{6DE670D1-3801-4653-AD62-506B301D5B31}" srcOrd="9"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D380DBE6-70D9-432E-8037-0B6AB9F5BFF7}" type="doc">
      <dgm:prSet loTypeId="urn:microsoft.com/office/officeart/2005/8/layout/venn1" loCatId="relationship" qsTypeId="urn:microsoft.com/office/officeart/2005/8/quickstyle/simple1" qsCatId="simple" csTypeId="urn:microsoft.com/office/officeart/2005/8/colors/accent1_2" csCatId="accent1"/>
      <dgm:spPr/>
      <dgm:t>
        <a:bodyPr/>
        <a:lstStyle/>
        <a:p>
          <a:endParaRPr lang="zh-CN" altLang="en-US"/>
        </a:p>
      </dgm:t>
    </dgm:pt>
    <dgm:pt modelId="{466AD35D-A7DE-4D07-8CF0-28AAC01EC9C5}">
      <dgm:prSet/>
      <dgm:spPr/>
      <dgm:t>
        <a:bodyPr/>
        <a:lstStyle/>
        <a:p>
          <a:pPr rtl="0"/>
          <a:r>
            <a:rPr lang="zh-CN" b="1" smtClean="0"/>
            <a:t>人员</a:t>
          </a:r>
          <a:endParaRPr lang="zh-CN"/>
        </a:p>
      </dgm:t>
    </dgm:pt>
    <dgm:pt modelId="{5883E216-88DD-43C3-84BA-8E6F7E1BF965}" type="parTrans" cxnId="{0AC6E800-B8F4-4923-96B8-1ABC85F7EC2E}">
      <dgm:prSet/>
      <dgm:spPr/>
      <dgm:t>
        <a:bodyPr/>
        <a:lstStyle/>
        <a:p>
          <a:endParaRPr lang="zh-CN" altLang="en-US"/>
        </a:p>
      </dgm:t>
    </dgm:pt>
    <dgm:pt modelId="{7D8A1EAD-B42E-4480-BB18-E9EC8DA4F34E}" type="sibTrans" cxnId="{0AC6E800-B8F4-4923-96B8-1ABC85F7EC2E}">
      <dgm:prSet/>
      <dgm:spPr/>
      <dgm:t>
        <a:bodyPr/>
        <a:lstStyle/>
        <a:p>
          <a:endParaRPr lang="zh-CN" altLang="en-US"/>
        </a:p>
      </dgm:t>
    </dgm:pt>
    <dgm:pt modelId="{28C9DADE-C932-4053-8BF9-EADB0D9BA00F}">
      <dgm:prSet/>
      <dgm:spPr/>
      <dgm:t>
        <a:bodyPr/>
        <a:lstStyle/>
        <a:p>
          <a:pPr rtl="0"/>
          <a:r>
            <a:rPr lang="zh-CN" b="1" smtClean="0"/>
            <a:t>技术</a:t>
          </a:r>
          <a:endParaRPr lang="zh-CN"/>
        </a:p>
      </dgm:t>
    </dgm:pt>
    <dgm:pt modelId="{14F7098B-96E1-4617-A9DD-63D72EE6B528}" type="parTrans" cxnId="{5EC35634-E853-4B83-956A-11FDE6ECED6B}">
      <dgm:prSet/>
      <dgm:spPr/>
      <dgm:t>
        <a:bodyPr/>
        <a:lstStyle/>
        <a:p>
          <a:endParaRPr lang="zh-CN" altLang="en-US"/>
        </a:p>
      </dgm:t>
    </dgm:pt>
    <dgm:pt modelId="{3EFDBBD7-B6D7-44E1-90B5-D4FE4E111FD3}" type="sibTrans" cxnId="{5EC35634-E853-4B83-956A-11FDE6ECED6B}">
      <dgm:prSet/>
      <dgm:spPr/>
      <dgm:t>
        <a:bodyPr/>
        <a:lstStyle/>
        <a:p>
          <a:endParaRPr lang="zh-CN" altLang="en-US"/>
        </a:p>
      </dgm:t>
    </dgm:pt>
    <dgm:pt modelId="{8B5CEE5B-EB75-41E7-9355-1EBCBE5C1DB8}">
      <dgm:prSet/>
      <dgm:spPr/>
      <dgm:t>
        <a:bodyPr/>
        <a:lstStyle/>
        <a:p>
          <a:pPr rtl="0"/>
          <a:r>
            <a:rPr lang="zh-CN" b="1" smtClean="0"/>
            <a:t>管理</a:t>
          </a:r>
          <a:endParaRPr lang="zh-CN"/>
        </a:p>
      </dgm:t>
    </dgm:pt>
    <dgm:pt modelId="{7FBA3A0F-6704-4F04-BFE6-92C130FDE13F}" type="parTrans" cxnId="{E6F27A1A-0590-472C-8605-B67FC769AF69}">
      <dgm:prSet/>
      <dgm:spPr/>
      <dgm:t>
        <a:bodyPr/>
        <a:lstStyle/>
        <a:p>
          <a:endParaRPr lang="zh-CN" altLang="en-US"/>
        </a:p>
      </dgm:t>
    </dgm:pt>
    <dgm:pt modelId="{D906DE46-DD07-4DB9-B82F-59D85E72E96D}" type="sibTrans" cxnId="{E6F27A1A-0590-472C-8605-B67FC769AF69}">
      <dgm:prSet/>
      <dgm:spPr/>
      <dgm:t>
        <a:bodyPr/>
        <a:lstStyle/>
        <a:p>
          <a:endParaRPr lang="zh-CN" altLang="en-US"/>
        </a:p>
      </dgm:t>
    </dgm:pt>
    <dgm:pt modelId="{1A210774-1D5B-42AD-A2D2-A6CB8705088D}" type="pres">
      <dgm:prSet presAssocID="{D380DBE6-70D9-432E-8037-0B6AB9F5BFF7}" presName="compositeShape" presStyleCnt="0">
        <dgm:presLayoutVars>
          <dgm:chMax val="7"/>
          <dgm:dir/>
          <dgm:resizeHandles val="exact"/>
        </dgm:presLayoutVars>
      </dgm:prSet>
      <dgm:spPr/>
      <dgm:t>
        <a:bodyPr/>
        <a:lstStyle/>
        <a:p>
          <a:endParaRPr lang="zh-CN" altLang="en-US"/>
        </a:p>
      </dgm:t>
    </dgm:pt>
    <dgm:pt modelId="{924DED6C-8237-4145-8912-139FB9D628B2}" type="pres">
      <dgm:prSet presAssocID="{466AD35D-A7DE-4D07-8CF0-28AAC01EC9C5}" presName="circ1" presStyleLbl="vennNode1" presStyleIdx="0" presStyleCnt="3"/>
      <dgm:spPr/>
      <dgm:t>
        <a:bodyPr/>
        <a:lstStyle/>
        <a:p>
          <a:endParaRPr lang="zh-CN" altLang="en-US"/>
        </a:p>
      </dgm:t>
    </dgm:pt>
    <dgm:pt modelId="{1FC69755-6DE8-4A27-A46F-A3353C99D915}" type="pres">
      <dgm:prSet presAssocID="{466AD35D-A7DE-4D07-8CF0-28AAC01EC9C5}" presName="circ1Tx" presStyleLbl="revTx" presStyleIdx="0" presStyleCnt="0">
        <dgm:presLayoutVars>
          <dgm:chMax val="0"/>
          <dgm:chPref val="0"/>
          <dgm:bulletEnabled val="1"/>
        </dgm:presLayoutVars>
      </dgm:prSet>
      <dgm:spPr/>
      <dgm:t>
        <a:bodyPr/>
        <a:lstStyle/>
        <a:p>
          <a:endParaRPr lang="zh-CN" altLang="en-US"/>
        </a:p>
      </dgm:t>
    </dgm:pt>
    <dgm:pt modelId="{95A812DF-6C2C-4994-930D-594C0F01C5C5}" type="pres">
      <dgm:prSet presAssocID="{28C9DADE-C932-4053-8BF9-EADB0D9BA00F}" presName="circ2" presStyleLbl="vennNode1" presStyleIdx="1" presStyleCnt="3"/>
      <dgm:spPr/>
      <dgm:t>
        <a:bodyPr/>
        <a:lstStyle/>
        <a:p>
          <a:endParaRPr lang="zh-CN" altLang="en-US"/>
        </a:p>
      </dgm:t>
    </dgm:pt>
    <dgm:pt modelId="{F0372287-7FFF-48F6-94D3-144F6D8D1A2F}" type="pres">
      <dgm:prSet presAssocID="{28C9DADE-C932-4053-8BF9-EADB0D9BA00F}" presName="circ2Tx" presStyleLbl="revTx" presStyleIdx="0" presStyleCnt="0">
        <dgm:presLayoutVars>
          <dgm:chMax val="0"/>
          <dgm:chPref val="0"/>
          <dgm:bulletEnabled val="1"/>
        </dgm:presLayoutVars>
      </dgm:prSet>
      <dgm:spPr/>
      <dgm:t>
        <a:bodyPr/>
        <a:lstStyle/>
        <a:p>
          <a:endParaRPr lang="zh-CN" altLang="en-US"/>
        </a:p>
      </dgm:t>
    </dgm:pt>
    <dgm:pt modelId="{F135EC9A-C518-4C7C-BAC2-E3D9F69EE95E}" type="pres">
      <dgm:prSet presAssocID="{8B5CEE5B-EB75-41E7-9355-1EBCBE5C1DB8}" presName="circ3" presStyleLbl="vennNode1" presStyleIdx="2" presStyleCnt="3"/>
      <dgm:spPr/>
      <dgm:t>
        <a:bodyPr/>
        <a:lstStyle/>
        <a:p>
          <a:endParaRPr lang="zh-CN" altLang="en-US"/>
        </a:p>
      </dgm:t>
    </dgm:pt>
    <dgm:pt modelId="{3121B26F-1910-4D13-8C2E-1FCB22BE42ED}" type="pres">
      <dgm:prSet presAssocID="{8B5CEE5B-EB75-41E7-9355-1EBCBE5C1DB8}" presName="circ3Tx" presStyleLbl="revTx" presStyleIdx="0" presStyleCnt="0">
        <dgm:presLayoutVars>
          <dgm:chMax val="0"/>
          <dgm:chPref val="0"/>
          <dgm:bulletEnabled val="1"/>
        </dgm:presLayoutVars>
      </dgm:prSet>
      <dgm:spPr/>
      <dgm:t>
        <a:bodyPr/>
        <a:lstStyle/>
        <a:p>
          <a:endParaRPr lang="zh-CN" altLang="en-US"/>
        </a:p>
      </dgm:t>
    </dgm:pt>
  </dgm:ptLst>
  <dgm:cxnLst>
    <dgm:cxn modelId="{E6F27A1A-0590-472C-8605-B67FC769AF69}" srcId="{D380DBE6-70D9-432E-8037-0B6AB9F5BFF7}" destId="{8B5CEE5B-EB75-41E7-9355-1EBCBE5C1DB8}" srcOrd="2" destOrd="0" parTransId="{7FBA3A0F-6704-4F04-BFE6-92C130FDE13F}" sibTransId="{D906DE46-DD07-4DB9-B82F-59D85E72E96D}"/>
    <dgm:cxn modelId="{70148CA7-32A2-4E3F-94C5-5F75D0D05A3F}" type="presOf" srcId="{466AD35D-A7DE-4D07-8CF0-28AAC01EC9C5}" destId="{1FC69755-6DE8-4A27-A46F-A3353C99D915}" srcOrd="1" destOrd="0" presId="urn:microsoft.com/office/officeart/2005/8/layout/venn1"/>
    <dgm:cxn modelId="{569FF574-EF84-4616-8B9C-1BBA1E2D9158}" type="presOf" srcId="{8B5CEE5B-EB75-41E7-9355-1EBCBE5C1DB8}" destId="{3121B26F-1910-4D13-8C2E-1FCB22BE42ED}" srcOrd="1" destOrd="0" presId="urn:microsoft.com/office/officeart/2005/8/layout/venn1"/>
    <dgm:cxn modelId="{D019BFCE-5358-4551-9906-D15E6E632C68}" type="presOf" srcId="{28C9DADE-C932-4053-8BF9-EADB0D9BA00F}" destId="{95A812DF-6C2C-4994-930D-594C0F01C5C5}" srcOrd="0" destOrd="0" presId="urn:microsoft.com/office/officeart/2005/8/layout/venn1"/>
    <dgm:cxn modelId="{92AC5BC9-690A-4D70-95B2-5D1B1635E6AF}" type="presOf" srcId="{466AD35D-A7DE-4D07-8CF0-28AAC01EC9C5}" destId="{924DED6C-8237-4145-8912-139FB9D628B2}" srcOrd="0" destOrd="0" presId="urn:microsoft.com/office/officeart/2005/8/layout/venn1"/>
    <dgm:cxn modelId="{86DC12F9-AE37-451E-A2E7-13085F1C54FD}" type="presOf" srcId="{28C9DADE-C932-4053-8BF9-EADB0D9BA00F}" destId="{F0372287-7FFF-48F6-94D3-144F6D8D1A2F}" srcOrd="1" destOrd="0" presId="urn:microsoft.com/office/officeart/2005/8/layout/venn1"/>
    <dgm:cxn modelId="{0AC6E800-B8F4-4923-96B8-1ABC85F7EC2E}" srcId="{D380DBE6-70D9-432E-8037-0B6AB9F5BFF7}" destId="{466AD35D-A7DE-4D07-8CF0-28AAC01EC9C5}" srcOrd="0" destOrd="0" parTransId="{5883E216-88DD-43C3-84BA-8E6F7E1BF965}" sibTransId="{7D8A1EAD-B42E-4480-BB18-E9EC8DA4F34E}"/>
    <dgm:cxn modelId="{5EC35634-E853-4B83-956A-11FDE6ECED6B}" srcId="{D380DBE6-70D9-432E-8037-0B6AB9F5BFF7}" destId="{28C9DADE-C932-4053-8BF9-EADB0D9BA00F}" srcOrd="1" destOrd="0" parTransId="{14F7098B-96E1-4617-A9DD-63D72EE6B528}" sibTransId="{3EFDBBD7-B6D7-44E1-90B5-D4FE4E111FD3}"/>
    <dgm:cxn modelId="{52022AC8-DFFE-4271-BD3E-51749A34B80C}" type="presOf" srcId="{8B5CEE5B-EB75-41E7-9355-1EBCBE5C1DB8}" destId="{F135EC9A-C518-4C7C-BAC2-E3D9F69EE95E}" srcOrd="0" destOrd="0" presId="urn:microsoft.com/office/officeart/2005/8/layout/venn1"/>
    <dgm:cxn modelId="{5347B0C7-B2DC-4E83-AFDF-55D45FD3EF87}" type="presOf" srcId="{D380DBE6-70D9-432E-8037-0B6AB9F5BFF7}" destId="{1A210774-1D5B-42AD-A2D2-A6CB8705088D}" srcOrd="0" destOrd="0" presId="urn:microsoft.com/office/officeart/2005/8/layout/venn1"/>
    <dgm:cxn modelId="{0054520B-0D2C-4E18-B39F-3DB7307BDA88}" type="presParOf" srcId="{1A210774-1D5B-42AD-A2D2-A6CB8705088D}" destId="{924DED6C-8237-4145-8912-139FB9D628B2}" srcOrd="0" destOrd="0" presId="urn:microsoft.com/office/officeart/2005/8/layout/venn1"/>
    <dgm:cxn modelId="{D8905709-4FDA-4E44-B5E9-B0F7FF58BF6B}" type="presParOf" srcId="{1A210774-1D5B-42AD-A2D2-A6CB8705088D}" destId="{1FC69755-6DE8-4A27-A46F-A3353C99D915}" srcOrd="1" destOrd="0" presId="urn:microsoft.com/office/officeart/2005/8/layout/venn1"/>
    <dgm:cxn modelId="{484E5978-3908-40AC-8D93-930039625E34}" type="presParOf" srcId="{1A210774-1D5B-42AD-A2D2-A6CB8705088D}" destId="{95A812DF-6C2C-4994-930D-594C0F01C5C5}" srcOrd="2" destOrd="0" presId="urn:microsoft.com/office/officeart/2005/8/layout/venn1"/>
    <dgm:cxn modelId="{ED960820-7D79-4DEB-B473-6E703AF6EC3B}" type="presParOf" srcId="{1A210774-1D5B-42AD-A2D2-A6CB8705088D}" destId="{F0372287-7FFF-48F6-94D3-144F6D8D1A2F}" srcOrd="3" destOrd="0" presId="urn:microsoft.com/office/officeart/2005/8/layout/venn1"/>
    <dgm:cxn modelId="{D58E2C69-C1BA-4AE5-A853-EA5978AC89A1}" type="presParOf" srcId="{1A210774-1D5B-42AD-A2D2-A6CB8705088D}" destId="{F135EC9A-C518-4C7C-BAC2-E3D9F69EE95E}" srcOrd="4" destOrd="0" presId="urn:microsoft.com/office/officeart/2005/8/layout/venn1"/>
    <dgm:cxn modelId="{AAA3B5A9-B058-4179-A5CE-9AFD9D414E0E}" type="presParOf" srcId="{1A210774-1D5B-42AD-A2D2-A6CB8705088D}" destId="{3121B26F-1910-4D13-8C2E-1FCB22BE42ED}"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47399AAC-F10C-4375-8648-F04DB66E8287}" type="doc">
      <dgm:prSet loTypeId="urn:microsoft.com/office/officeart/2008/layout/HexagonCluster" loCatId="relationship" qsTypeId="urn:microsoft.com/office/officeart/2005/8/quickstyle/simple1" qsCatId="simple" csTypeId="urn:microsoft.com/office/officeart/2005/8/colors/accent1_2" csCatId="accent1" phldr="1"/>
      <dgm:spPr/>
      <dgm:t>
        <a:bodyPr/>
        <a:lstStyle/>
        <a:p>
          <a:endParaRPr lang="zh-CN" altLang="en-US"/>
        </a:p>
      </dgm:t>
    </dgm:pt>
    <dgm:pt modelId="{8B877584-D340-4092-B0CA-CAF9E353D777}">
      <dgm:prSet phldrT="[文本]"/>
      <dgm:spPr/>
      <dgm:t>
        <a:bodyPr/>
        <a:lstStyle/>
        <a:p>
          <a:r>
            <a:rPr lang="zh-CN" altLang="en-US" dirty="0" smtClean="0">
              <a:solidFill>
                <a:schemeClr val="tx1"/>
              </a:solidFill>
            </a:rPr>
            <a:t>网络漏洞</a:t>
          </a:r>
          <a:endParaRPr lang="zh-CN" altLang="en-US" dirty="0">
            <a:solidFill>
              <a:schemeClr val="tx1"/>
            </a:solidFill>
          </a:endParaRPr>
        </a:p>
      </dgm:t>
    </dgm:pt>
    <dgm:pt modelId="{B1768C73-93A2-4882-8E12-6C0518BAD7A7}" type="parTrans" cxnId="{530F8812-7449-49AA-AC6B-47C13F647C3F}">
      <dgm:prSet/>
      <dgm:spPr/>
      <dgm:t>
        <a:bodyPr/>
        <a:lstStyle/>
        <a:p>
          <a:endParaRPr lang="zh-CN" altLang="en-US">
            <a:solidFill>
              <a:schemeClr val="tx1"/>
            </a:solidFill>
          </a:endParaRPr>
        </a:p>
      </dgm:t>
    </dgm:pt>
    <dgm:pt modelId="{83179FD8-4DA6-4F16-AA57-6276C9DA5F5F}" type="sibTrans" cxnId="{530F8812-7449-49AA-AC6B-47C13F647C3F}">
      <dgm:prSet/>
      <dgm:spPr/>
      <dgm:t>
        <a:bodyPr/>
        <a:lstStyle/>
        <a:p>
          <a:endParaRPr lang="zh-CN" altLang="en-US">
            <a:solidFill>
              <a:schemeClr val="tx1"/>
            </a:solidFill>
          </a:endParaRPr>
        </a:p>
      </dgm:t>
    </dgm:pt>
    <dgm:pt modelId="{F4B1BA96-32CF-4BC8-8D6A-9BE78CC374AE}">
      <dgm:prSet phldrT="[文本]"/>
      <dgm:spPr/>
      <dgm:t>
        <a:bodyPr/>
        <a:lstStyle/>
        <a:p>
          <a:r>
            <a:rPr lang="zh-CN" altLang="en-US" dirty="0" smtClean="0">
              <a:solidFill>
                <a:schemeClr val="tx1"/>
              </a:solidFill>
            </a:rPr>
            <a:t>数据库漏洞</a:t>
          </a:r>
          <a:endParaRPr lang="zh-CN" altLang="en-US" dirty="0">
            <a:solidFill>
              <a:schemeClr val="tx1"/>
            </a:solidFill>
          </a:endParaRPr>
        </a:p>
      </dgm:t>
    </dgm:pt>
    <dgm:pt modelId="{80D530FB-D4DC-4929-8863-CC9DD54805D9}" type="parTrans" cxnId="{708199D6-6936-4A3C-8914-9A8C36E03BED}">
      <dgm:prSet/>
      <dgm:spPr/>
      <dgm:t>
        <a:bodyPr/>
        <a:lstStyle/>
        <a:p>
          <a:endParaRPr lang="zh-CN" altLang="en-US">
            <a:solidFill>
              <a:schemeClr val="tx1"/>
            </a:solidFill>
          </a:endParaRPr>
        </a:p>
      </dgm:t>
    </dgm:pt>
    <dgm:pt modelId="{0A6EFC40-6EDF-436B-A2EC-031B95CEF259}" type="sibTrans" cxnId="{708199D6-6936-4A3C-8914-9A8C36E03BED}">
      <dgm:prSet/>
      <dgm:spPr/>
      <dgm:t>
        <a:bodyPr/>
        <a:lstStyle/>
        <a:p>
          <a:endParaRPr lang="zh-CN" altLang="en-US">
            <a:solidFill>
              <a:schemeClr val="tx1"/>
            </a:solidFill>
          </a:endParaRPr>
        </a:p>
      </dgm:t>
    </dgm:pt>
    <dgm:pt modelId="{6D4D9A31-126C-409E-85EB-F34536A1AFD1}">
      <dgm:prSet phldrT="[文本]"/>
      <dgm:spPr/>
      <dgm:t>
        <a:bodyPr/>
        <a:lstStyle/>
        <a:p>
          <a:r>
            <a:rPr lang="zh-CN" altLang="en-US" dirty="0" smtClean="0">
              <a:solidFill>
                <a:schemeClr val="tx1"/>
              </a:solidFill>
            </a:rPr>
            <a:t>中间件漏洞</a:t>
          </a:r>
          <a:endParaRPr lang="zh-CN" altLang="en-US" dirty="0">
            <a:solidFill>
              <a:schemeClr val="tx1"/>
            </a:solidFill>
          </a:endParaRPr>
        </a:p>
      </dgm:t>
    </dgm:pt>
    <dgm:pt modelId="{530C1AF1-5353-4076-847A-459495C12D11}" type="parTrans" cxnId="{B6F6A83F-F96B-4236-A904-5C57E1999126}">
      <dgm:prSet/>
      <dgm:spPr/>
      <dgm:t>
        <a:bodyPr/>
        <a:lstStyle/>
        <a:p>
          <a:endParaRPr lang="zh-CN" altLang="en-US">
            <a:solidFill>
              <a:schemeClr val="tx1"/>
            </a:solidFill>
          </a:endParaRPr>
        </a:p>
      </dgm:t>
    </dgm:pt>
    <dgm:pt modelId="{41F02580-3706-4BC3-8BE5-50715559B6B5}" type="sibTrans" cxnId="{B6F6A83F-F96B-4236-A904-5C57E1999126}">
      <dgm:prSet/>
      <dgm:spPr/>
      <dgm:t>
        <a:bodyPr/>
        <a:lstStyle/>
        <a:p>
          <a:endParaRPr lang="zh-CN" altLang="en-US">
            <a:solidFill>
              <a:schemeClr val="tx1"/>
            </a:solidFill>
          </a:endParaRPr>
        </a:p>
      </dgm:t>
    </dgm:pt>
    <dgm:pt modelId="{C18DD933-8B21-4D07-A4DB-41AA8B2BF808}">
      <dgm:prSet phldrT="[文本]"/>
      <dgm:spPr/>
      <dgm:t>
        <a:bodyPr/>
        <a:lstStyle/>
        <a:p>
          <a:r>
            <a:rPr lang="zh-CN" altLang="en-US" dirty="0" smtClean="0">
              <a:solidFill>
                <a:schemeClr val="tx1"/>
              </a:solidFill>
            </a:rPr>
            <a:t>应用漏洞</a:t>
          </a:r>
          <a:endParaRPr lang="zh-CN" altLang="en-US" dirty="0">
            <a:solidFill>
              <a:schemeClr val="tx1"/>
            </a:solidFill>
          </a:endParaRPr>
        </a:p>
      </dgm:t>
    </dgm:pt>
    <dgm:pt modelId="{97DC0DA7-94C0-4FA9-8740-409AEEDF6A96}" type="parTrans" cxnId="{A696D8C5-328E-4306-8D18-655B88CBDC27}">
      <dgm:prSet/>
      <dgm:spPr/>
      <dgm:t>
        <a:bodyPr/>
        <a:lstStyle/>
        <a:p>
          <a:endParaRPr lang="zh-CN" altLang="en-US">
            <a:solidFill>
              <a:schemeClr val="tx1"/>
            </a:solidFill>
          </a:endParaRPr>
        </a:p>
      </dgm:t>
    </dgm:pt>
    <dgm:pt modelId="{8C435E28-E810-4C82-979C-B70CC9B92EC8}" type="sibTrans" cxnId="{A696D8C5-328E-4306-8D18-655B88CBDC27}">
      <dgm:prSet/>
      <dgm:spPr/>
      <dgm:t>
        <a:bodyPr/>
        <a:lstStyle/>
        <a:p>
          <a:endParaRPr lang="zh-CN" altLang="en-US">
            <a:solidFill>
              <a:schemeClr val="tx1"/>
            </a:solidFill>
          </a:endParaRPr>
        </a:p>
      </dgm:t>
    </dgm:pt>
    <dgm:pt modelId="{C6E569C7-C769-45A6-B8C6-CC806CC1CFC4}">
      <dgm:prSet phldrT="[文本]"/>
      <dgm:spPr/>
      <dgm:t>
        <a:bodyPr/>
        <a:lstStyle/>
        <a:p>
          <a:r>
            <a:rPr lang="zh-CN" altLang="en-US" dirty="0" smtClean="0">
              <a:solidFill>
                <a:schemeClr val="tx1"/>
              </a:solidFill>
            </a:rPr>
            <a:t>操作系统漏洞</a:t>
          </a:r>
          <a:endParaRPr lang="zh-CN" altLang="en-US" dirty="0">
            <a:solidFill>
              <a:schemeClr val="tx1"/>
            </a:solidFill>
          </a:endParaRPr>
        </a:p>
      </dgm:t>
    </dgm:pt>
    <dgm:pt modelId="{FAFB8EF6-780E-455F-8C83-04E0CBCEE4C5}" type="parTrans" cxnId="{47366A57-9567-4393-BCD6-604D70CB7825}">
      <dgm:prSet/>
      <dgm:spPr/>
      <dgm:t>
        <a:bodyPr/>
        <a:lstStyle/>
        <a:p>
          <a:endParaRPr lang="zh-CN" altLang="en-US">
            <a:solidFill>
              <a:schemeClr val="tx1"/>
            </a:solidFill>
          </a:endParaRPr>
        </a:p>
      </dgm:t>
    </dgm:pt>
    <dgm:pt modelId="{77D1DD1F-5947-452F-B068-891ECE3E39E3}" type="sibTrans" cxnId="{47366A57-9567-4393-BCD6-604D70CB7825}">
      <dgm:prSet/>
      <dgm:spPr/>
      <dgm:t>
        <a:bodyPr/>
        <a:lstStyle/>
        <a:p>
          <a:endParaRPr lang="zh-CN" altLang="en-US">
            <a:solidFill>
              <a:schemeClr val="tx1"/>
            </a:solidFill>
          </a:endParaRPr>
        </a:p>
      </dgm:t>
    </dgm:pt>
    <dgm:pt modelId="{B38B4276-082D-4A8A-8C47-2C5701347186}" type="pres">
      <dgm:prSet presAssocID="{47399AAC-F10C-4375-8648-F04DB66E8287}" presName="Name0" presStyleCnt="0">
        <dgm:presLayoutVars>
          <dgm:chMax val="21"/>
          <dgm:chPref val="21"/>
        </dgm:presLayoutVars>
      </dgm:prSet>
      <dgm:spPr/>
      <dgm:t>
        <a:bodyPr/>
        <a:lstStyle/>
        <a:p>
          <a:endParaRPr lang="zh-CN" altLang="en-US"/>
        </a:p>
      </dgm:t>
    </dgm:pt>
    <dgm:pt modelId="{D8DB21FC-8763-4ABC-9DFA-2088F5AE49F0}" type="pres">
      <dgm:prSet presAssocID="{8B877584-D340-4092-B0CA-CAF9E353D777}" presName="text1" presStyleCnt="0"/>
      <dgm:spPr/>
    </dgm:pt>
    <dgm:pt modelId="{30616770-71C8-48A1-AEE1-A75282FF0551}" type="pres">
      <dgm:prSet presAssocID="{8B877584-D340-4092-B0CA-CAF9E353D777}" presName="textRepeatNode" presStyleLbl="alignNode1" presStyleIdx="0" presStyleCnt="5">
        <dgm:presLayoutVars>
          <dgm:chMax val="0"/>
          <dgm:chPref val="0"/>
          <dgm:bulletEnabled val="1"/>
        </dgm:presLayoutVars>
      </dgm:prSet>
      <dgm:spPr/>
      <dgm:t>
        <a:bodyPr/>
        <a:lstStyle/>
        <a:p>
          <a:endParaRPr lang="zh-CN" altLang="en-US"/>
        </a:p>
      </dgm:t>
    </dgm:pt>
    <dgm:pt modelId="{F2DBE121-16CC-493F-A771-9D8F449BA7F8}" type="pres">
      <dgm:prSet presAssocID="{8B877584-D340-4092-B0CA-CAF9E353D777}" presName="textaccent1" presStyleCnt="0"/>
      <dgm:spPr/>
    </dgm:pt>
    <dgm:pt modelId="{CEC1F958-99D7-4592-BB20-AA46415E2EC1}" type="pres">
      <dgm:prSet presAssocID="{8B877584-D340-4092-B0CA-CAF9E353D777}" presName="accentRepeatNode" presStyleLbl="solidAlignAcc1" presStyleIdx="0" presStyleCnt="10"/>
      <dgm:spPr/>
    </dgm:pt>
    <dgm:pt modelId="{AA239E90-AAD5-463B-B5C2-59DE6C5560FD}" type="pres">
      <dgm:prSet presAssocID="{83179FD8-4DA6-4F16-AA57-6276C9DA5F5F}" presName="image1" presStyleCnt="0"/>
      <dgm:spPr/>
    </dgm:pt>
    <dgm:pt modelId="{A8B2CD6D-A222-4BF1-A4CC-516E24D817CD}" type="pres">
      <dgm:prSet presAssocID="{83179FD8-4DA6-4F16-AA57-6276C9DA5F5F}" presName="imageRepeatNode" presStyleLbl="alignAcc1" presStyleIdx="0" presStyleCnt="5"/>
      <dgm:spPr/>
      <dgm:t>
        <a:bodyPr/>
        <a:lstStyle/>
        <a:p>
          <a:endParaRPr lang="zh-CN" altLang="en-US"/>
        </a:p>
      </dgm:t>
    </dgm:pt>
    <dgm:pt modelId="{6DCBDCEE-EB9B-484B-89F8-09A8F5933B51}" type="pres">
      <dgm:prSet presAssocID="{83179FD8-4DA6-4F16-AA57-6276C9DA5F5F}" presName="imageaccent1" presStyleCnt="0"/>
      <dgm:spPr/>
    </dgm:pt>
    <dgm:pt modelId="{FA98F2FA-A511-44B8-B27B-C1C91598106D}" type="pres">
      <dgm:prSet presAssocID="{83179FD8-4DA6-4F16-AA57-6276C9DA5F5F}" presName="accentRepeatNode" presStyleLbl="solidAlignAcc1" presStyleIdx="1" presStyleCnt="10"/>
      <dgm:spPr/>
    </dgm:pt>
    <dgm:pt modelId="{BB2798D8-54AA-4943-93D7-F7B6520D8101}" type="pres">
      <dgm:prSet presAssocID="{C6E569C7-C769-45A6-B8C6-CC806CC1CFC4}" presName="text2" presStyleCnt="0"/>
      <dgm:spPr/>
    </dgm:pt>
    <dgm:pt modelId="{72E272D4-C8CF-4A70-A88F-C660CD26BD31}" type="pres">
      <dgm:prSet presAssocID="{C6E569C7-C769-45A6-B8C6-CC806CC1CFC4}" presName="textRepeatNode" presStyleLbl="alignNode1" presStyleIdx="1" presStyleCnt="5">
        <dgm:presLayoutVars>
          <dgm:chMax val="0"/>
          <dgm:chPref val="0"/>
          <dgm:bulletEnabled val="1"/>
        </dgm:presLayoutVars>
      </dgm:prSet>
      <dgm:spPr/>
      <dgm:t>
        <a:bodyPr/>
        <a:lstStyle/>
        <a:p>
          <a:endParaRPr lang="zh-CN" altLang="en-US"/>
        </a:p>
      </dgm:t>
    </dgm:pt>
    <dgm:pt modelId="{A0A91586-4E65-4E05-A1E3-886767787C49}" type="pres">
      <dgm:prSet presAssocID="{C6E569C7-C769-45A6-B8C6-CC806CC1CFC4}" presName="textaccent2" presStyleCnt="0"/>
      <dgm:spPr/>
    </dgm:pt>
    <dgm:pt modelId="{CC080141-AE95-48F1-A029-6982C7BCCB70}" type="pres">
      <dgm:prSet presAssocID="{C6E569C7-C769-45A6-B8C6-CC806CC1CFC4}" presName="accentRepeatNode" presStyleLbl="solidAlignAcc1" presStyleIdx="2" presStyleCnt="10"/>
      <dgm:spPr/>
    </dgm:pt>
    <dgm:pt modelId="{4B0B524E-68CF-457E-82C4-40DBBB3EB62B}" type="pres">
      <dgm:prSet presAssocID="{77D1DD1F-5947-452F-B068-891ECE3E39E3}" presName="image2" presStyleCnt="0"/>
      <dgm:spPr/>
    </dgm:pt>
    <dgm:pt modelId="{A3A80B67-5DAC-42CF-8D05-23F9215061FC}" type="pres">
      <dgm:prSet presAssocID="{77D1DD1F-5947-452F-B068-891ECE3E39E3}" presName="imageRepeatNode" presStyleLbl="alignAcc1" presStyleIdx="1" presStyleCnt="5"/>
      <dgm:spPr/>
      <dgm:t>
        <a:bodyPr/>
        <a:lstStyle/>
        <a:p>
          <a:endParaRPr lang="zh-CN" altLang="en-US"/>
        </a:p>
      </dgm:t>
    </dgm:pt>
    <dgm:pt modelId="{8B21D9D1-FDBB-4D68-9356-EF523AA3CF0B}" type="pres">
      <dgm:prSet presAssocID="{77D1DD1F-5947-452F-B068-891ECE3E39E3}" presName="imageaccent2" presStyleCnt="0"/>
      <dgm:spPr/>
    </dgm:pt>
    <dgm:pt modelId="{44243FD2-F066-4A70-9110-5E2389206270}" type="pres">
      <dgm:prSet presAssocID="{77D1DD1F-5947-452F-B068-891ECE3E39E3}" presName="accentRepeatNode" presStyleLbl="solidAlignAcc1" presStyleIdx="3" presStyleCnt="10"/>
      <dgm:spPr/>
    </dgm:pt>
    <dgm:pt modelId="{887428BB-4795-4AFF-9363-E9F56E8E4123}" type="pres">
      <dgm:prSet presAssocID="{C18DD933-8B21-4D07-A4DB-41AA8B2BF808}" presName="text3" presStyleCnt="0"/>
      <dgm:spPr/>
    </dgm:pt>
    <dgm:pt modelId="{9E6F3CEC-269E-4C2F-BD09-46870D08B43D}" type="pres">
      <dgm:prSet presAssocID="{C18DD933-8B21-4D07-A4DB-41AA8B2BF808}" presName="textRepeatNode" presStyleLbl="alignNode1" presStyleIdx="2" presStyleCnt="5">
        <dgm:presLayoutVars>
          <dgm:chMax val="0"/>
          <dgm:chPref val="0"/>
          <dgm:bulletEnabled val="1"/>
        </dgm:presLayoutVars>
      </dgm:prSet>
      <dgm:spPr/>
      <dgm:t>
        <a:bodyPr/>
        <a:lstStyle/>
        <a:p>
          <a:endParaRPr lang="zh-CN" altLang="en-US"/>
        </a:p>
      </dgm:t>
    </dgm:pt>
    <dgm:pt modelId="{96264CF0-36FB-4E31-9CD5-692CC827629D}" type="pres">
      <dgm:prSet presAssocID="{C18DD933-8B21-4D07-A4DB-41AA8B2BF808}" presName="textaccent3" presStyleCnt="0"/>
      <dgm:spPr/>
    </dgm:pt>
    <dgm:pt modelId="{56CB0B01-3B61-487C-968B-541B7AE72E78}" type="pres">
      <dgm:prSet presAssocID="{C18DD933-8B21-4D07-A4DB-41AA8B2BF808}" presName="accentRepeatNode" presStyleLbl="solidAlignAcc1" presStyleIdx="4" presStyleCnt="10"/>
      <dgm:spPr/>
    </dgm:pt>
    <dgm:pt modelId="{220890F2-4CD3-47C3-82D8-E63824628271}" type="pres">
      <dgm:prSet presAssocID="{8C435E28-E810-4C82-979C-B70CC9B92EC8}" presName="image3" presStyleCnt="0"/>
      <dgm:spPr/>
    </dgm:pt>
    <dgm:pt modelId="{9D875EEF-3912-4B14-8C4A-04A3221F31DB}" type="pres">
      <dgm:prSet presAssocID="{8C435E28-E810-4C82-979C-B70CC9B92EC8}" presName="imageRepeatNode" presStyleLbl="alignAcc1" presStyleIdx="2" presStyleCnt="5"/>
      <dgm:spPr/>
      <dgm:t>
        <a:bodyPr/>
        <a:lstStyle/>
        <a:p>
          <a:endParaRPr lang="zh-CN" altLang="en-US"/>
        </a:p>
      </dgm:t>
    </dgm:pt>
    <dgm:pt modelId="{8C20E740-5858-46FF-959B-ED7E4952540F}" type="pres">
      <dgm:prSet presAssocID="{8C435E28-E810-4C82-979C-B70CC9B92EC8}" presName="imageaccent3" presStyleCnt="0"/>
      <dgm:spPr/>
    </dgm:pt>
    <dgm:pt modelId="{CBBFCEC4-A2D8-4D94-AD21-AA402CA363A9}" type="pres">
      <dgm:prSet presAssocID="{8C435E28-E810-4C82-979C-B70CC9B92EC8}" presName="accentRepeatNode" presStyleLbl="solidAlignAcc1" presStyleIdx="5" presStyleCnt="10"/>
      <dgm:spPr/>
    </dgm:pt>
    <dgm:pt modelId="{E2FE0B92-E053-43B9-8A76-091157AACA7D}" type="pres">
      <dgm:prSet presAssocID="{F4B1BA96-32CF-4BC8-8D6A-9BE78CC374AE}" presName="text4" presStyleCnt="0"/>
      <dgm:spPr/>
    </dgm:pt>
    <dgm:pt modelId="{E0318AB8-5AA7-476B-97EB-8748DB2FF312}" type="pres">
      <dgm:prSet presAssocID="{F4B1BA96-32CF-4BC8-8D6A-9BE78CC374AE}" presName="textRepeatNode" presStyleLbl="alignNode1" presStyleIdx="3" presStyleCnt="5">
        <dgm:presLayoutVars>
          <dgm:chMax val="0"/>
          <dgm:chPref val="0"/>
          <dgm:bulletEnabled val="1"/>
        </dgm:presLayoutVars>
      </dgm:prSet>
      <dgm:spPr/>
      <dgm:t>
        <a:bodyPr/>
        <a:lstStyle/>
        <a:p>
          <a:endParaRPr lang="zh-CN" altLang="en-US"/>
        </a:p>
      </dgm:t>
    </dgm:pt>
    <dgm:pt modelId="{AB49A2F2-9F39-4190-8F5C-597282455493}" type="pres">
      <dgm:prSet presAssocID="{F4B1BA96-32CF-4BC8-8D6A-9BE78CC374AE}" presName="textaccent4" presStyleCnt="0"/>
      <dgm:spPr/>
    </dgm:pt>
    <dgm:pt modelId="{B32FF2FD-BBF7-450B-B7A8-F93614E9E6A2}" type="pres">
      <dgm:prSet presAssocID="{F4B1BA96-32CF-4BC8-8D6A-9BE78CC374AE}" presName="accentRepeatNode" presStyleLbl="solidAlignAcc1" presStyleIdx="6" presStyleCnt="10"/>
      <dgm:spPr/>
    </dgm:pt>
    <dgm:pt modelId="{62ECBF7A-10B6-4EB3-8A0E-00E0E1542EE4}" type="pres">
      <dgm:prSet presAssocID="{0A6EFC40-6EDF-436B-A2EC-031B95CEF259}" presName="image4" presStyleCnt="0"/>
      <dgm:spPr/>
    </dgm:pt>
    <dgm:pt modelId="{73A7511C-4648-4104-9383-021A8F0E46B9}" type="pres">
      <dgm:prSet presAssocID="{0A6EFC40-6EDF-436B-A2EC-031B95CEF259}" presName="imageRepeatNode" presStyleLbl="alignAcc1" presStyleIdx="3" presStyleCnt="5"/>
      <dgm:spPr/>
      <dgm:t>
        <a:bodyPr/>
        <a:lstStyle/>
        <a:p>
          <a:endParaRPr lang="zh-CN" altLang="en-US"/>
        </a:p>
      </dgm:t>
    </dgm:pt>
    <dgm:pt modelId="{C12F0311-8558-4DE0-B0C3-DB7522E28C47}" type="pres">
      <dgm:prSet presAssocID="{0A6EFC40-6EDF-436B-A2EC-031B95CEF259}" presName="imageaccent4" presStyleCnt="0"/>
      <dgm:spPr/>
    </dgm:pt>
    <dgm:pt modelId="{501C9EDD-F258-4836-8188-05073BDF330A}" type="pres">
      <dgm:prSet presAssocID="{0A6EFC40-6EDF-436B-A2EC-031B95CEF259}" presName="accentRepeatNode" presStyleLbl="solidAlignAcc1" presStyleIdx="7" presStyleCnt="10"/>
      <dgm:spPr/>
    </dgm:pt>
    <dgm:pt modelId="{30F1D842-A754-469B-8D12-2F82F2735940}" type="pres">
      <dgm:prSet presAssocID="{6D4D9A31-126C-409E-85EB-F34536A1AFD1}" presName="text5" presStyleCnt="0"/>
      <dgm:spPr/>
    </dgm:pt>
    <dgm:pt modelId="{FD704A73-AB97-4ABE-89E7-E7F870CC7815}" type="pres">
      <dgm:prSet presAssocID="{6D4D9A31-126C-409E-85EB-F34536A1AFD1}" presName="textRepeatNode" presStyleLbl="alignNode1" presStyleIdx="4" presStyleCnt="5">
        <dgm:presLayoutVars>
          <dgm:chMax val="0"/>
          <dgm:chPref val="0"/>
          <dgm:bulletEnabled val="1"/>
        </dgm:presLayoutVars>
      </dgm:prSet>
      <dgm:spPr/>
      <dgm:t>
        <a:bodyPr/>
        <a:lstStyle/>
        <a:p>
          <a:endParaRPr lang="zh-CN" altLang="en-US"/>
        </a:p>
      </dgm:t>
    </dgm:pt>
    <dgm:pt modelId="{3C03823A-1776-4DC8-B3C1-7BD24AFB6719}" type="pres">
      <dgm:prSet presAssocID="{6D4D9A31-126C-409E-85EB-F34536A1AFD1}" presName="textaccent5" presStyleCnt="0"/>
      <dgm:spPr/>
    </dgm:pt>
    <dgm:pt modelId="{DDC8CCCB-566B-4B02-BE35-17947894C641}" type="pres">
      <dgm:prSet presAssocID="{6D4D9A31-126C-409E-85EB-F34536A1AFD1}" presName="accentRepeatNode" presStyleLbl="solidAlignAcc1" presStyleIdx="8" presStyleCnt="10"/>
      <dgm:spPr/>
    </dgm:pt>
    <dgm:pt modelId="{58549B12-A2C0-4A1B-A0AC-451768DC5C26}" type="pres">
      <dgm:prSet presAssocID="{41F02580-3706-4BC3-8BE5-50715559B6B5}" presName="image5" presStyleCnt="0"/>
      <dgm:spPr/>
    </dgm:pt>
    <dgm:pt modelId="{7E8191CF-DBCA-417C-8F40-161E08BDB450}" type="pres">
      <dgm:prSet presAssocID="{41F02580-3706-4BC3-8BE5-50715559B6B5}" presName="imageRepeatNode" presStyleLbl="alignAcc1" presStyleIdx="4" presStyleCnt="5"/>
      <dgm:spPr/>
      <dgm:t>
        <a:bodyPr/>
        <a:lstStyle/>
        <a:p>
          <a:endParaRPr lang="zh-CN" altLang="en-US"/>
        </a:p>
      </dgm:t>
    </dgm:pt>
    <dgm:pt modelId="{C4FF64DA-1F51-4DF5-980E-C3262AE3125E}" type="pres">
      <dgm:prSet presAssocID="{41F02580-3706-4BC3-8BE5-50715559B6B5}" presName="imageaccent5" presStyleCnt="0"/>
      <dgm:spPr/>
    </dgm:pt>
    <dgm:pt modelId="{65867113-9D29-4E7B-8504-4AC4AD09142F}" type="pres">
      <dgm:prSet presAssocID="{41F02580-3706-4BC3-8BE5-50715559B6B5}" presName="accentRepeatNode" presStyleLbl="solidAlignAcc1" presStyleIdx="9" presStyleCnt="10"/>
      <dgm:spPr/>
    </dgm:pt>
  </dgm:ptLst>
  <dgm:cxnLst>
    <dgm:cxn modelId="{530F8812-7449-49AA-AC6B-47C13F647C3F}" srcId="{47399AAC-F10C-4375-8648-F04DB66E8287}" destId="{8B877584-D340-4092-B0CA-CAF9E353D777}" srcOrd="0" destOrd="0" parTransId="{B1768C73-93A2-4882-8E12-6C0518BAD7A7}" sibTransId="{83179FD8-4DA6-4F16-AA57-6276C9DA5F5F}"/>
    <dgm:cxn modelId="{A9E06D83-806E-41B9-825E-0492624A241C}" type="presOf" srcId="{C6E569C7-C769-45A6-B8C6-CC806CC1CFC4}" destId="{72E272D4-C8CF-4A70-A88F-C660CD26BD31}" srcOrd="0" destOrd="0" presId="urn:microsoft.com/office/officeart/2008/layout/HexagonCluster"/>
    <dgm:cxn modelId="{8A543C39-FDB5-4BC9-B9B2-027302A212E8}" type="presOf" srcId="{8C435E28-E810-4C82-979C-B70CC9B92EC8}" destId="{9D875EEF-3912-4B14-8C4A-04A3221F31DB}" srcOrd="0" destOrd="0" presId="urn:microsoft.com/office/officeart/2008/layout/HexagonCluster"/>
    <dgm:cxn modelId="{12084D3A-5E3E-4824-B2DA-CF4CBA709555}" type="presOf" srcId="{77D1DD1F-5947-452F-B068-891ECE3E39E3}" destId="{A3A80B67-5DAC-42CF-8D05-23F9215061FC}" srcOrd="0" destOrd="0" presId="urn:microsoft.com/office/officeart/2008/layout/HexagonCluster"/>
    <dgm:cxn modelId="{62614719-C213-4C1B-9140-669E4808C9F7}" type="presOf" srcId="{6D4D9A31-126C-409E-85EB-F34536A1AFD1}" destId="{FD704A73-AB97-4ABE-89E7-E7F870CC7815}" srcOrd="0" destOrd="0" presId="urn:microsoft.com/office/officeart/2008/layout/HexagonCluster"/>
    <dgm:cxn modelId="{A696D8C5-328E-4306-8D18-655B88CBDC27}" srcId="{47399AAC-F10C-4375-8648-F04DB66E8287}" destId="{C18DD933-8B21-4D07-A4DB-41AA8B2BF808}" srcOrd="2" destOrd="0" parTransId="{97DC0DA7-94C0-4FA9-8740-409AEEDF6A96}" sibTransId="{8C435E28-E810-4C82-979C-B70CC9B92EC8}"/>
    <dgm:cxn modelId="{065FA9A3-7B31-4887-95DF-59A1166AA417}" type="presOf" srcId="{47399AAC-F10C-4375-8648-F04DB66E8287}" destId="{B38B4276-082D-4A8A-8C47-2C5701347186}" srcOrd="0" destOrd="0" presId="urn:microsoft.com/office/officeart/2008/layout/HexagonCluster"/>
    <dgm:cxn modelId="{708199D6-6936-4A3C-8914-9A8C36E03BED}" srcId="{47399AAC-F10C-4375-8648-F04DB66E8287}" destId="{F4B1BA96-32CF-4BC8-8D6A-9BE78CC374AE}" srcOrd="3" destOrd="0" parTransId="{80D530FB-D4DC-4929-8863-CC9DD54805D9}" sibTransId="{0A6EFC40-6EDF-436B-A2EC-031B95CEF259}"/>
    <dgm:cxn modelId="{21966A99-25EF-4F56-A74C-B0BD395D73BE}" type="presOf" srcId="{C18DD933-8B21-4D07-A4DB-41AA8B2BF808}" destId="{9E6F3CEC-269E-4C2F-BD09-46870D08B43D}" srcOrd="0" destOrd="0" presId="urn:microsoft.com/office/officeart/2008/layout/HexagonCluster"/>
    <dgm:cxn modelId="{47366A57-9567-4393-BCD6-604D70CB7825}" srcId="{47399AAC-F10C-4375-8648-F04DB66E8287}" destId="{C6E569C7-C769-45A6-B8C6-CC806CC1CFC4}" srcOrd="1" destOrd="0" parTransId="{FAFB8EF6-780E-455F-8C83-04E0CBCEE4C5}" sibTransId="{77D1DD1F-5947-452F-B068-891ECE3E39E3}"/>
    <dgm:cxn modelId="{B6F6A83F-F96B-4236-A904-5C57E1999126}" srcId="{47399AAC-F10C-4375-8648-F04DB66E8287}" destId="{6D4D9A31-126C-409E-85EB-F34536A1AFD1}" srcOrd="4" destOrd="0" parTransId="{530C1AF1-5353-4076-847A-459495C12D11}" sibTransId="{41F02580-3706-4BC3-8BE5-50715559B6B5}"/>
    <dgm:cxn modelId="{F52A2945-585C-4771-8EB3-E7BCF9372A3E}" type="presOf" srcId="{83179FD8-4DA6-4F16-AA57-6276C9DA5F5F}" destId="{A8B2CD6D-A222-4BF1-A4CC-516E24D817CD}" srcOrd="0" destOrd="0" presId="urn:microsoft.com/office/officeart/2008/layout/HexagonCluster"/>
    <dgm:cxn modelId="{490B4DD4-4AE3-4F7C-B74C-E77343917B6F}" type="presOf" srcId="{8B877584-D340-4092-B0CA-CAF9E353D777}" destId="{30616770-71C8-48A1-AEE1-A75282FF0551}" srcOrd="0" destOrd="0" presId="urn:microsoft.com/office/officeart/2008/layout/HexagonCluster"/>
    <dgm:cxn modelId="{C1E4A44E-B8EC-4DEB-9A3C-4A9647B02839}" type="presOf" srcId="{41F02580-3706-4BC3-8BE5-50715559B6B5}" destId="{7E8191CF-DBCA-417C-8F40-161E08BDB450}" srcOrd="0" destOrd="0" presId="urn:microsoft.com/office/officeart/2008/layout/HexagonCluster"/>
    <dgm:cxn modelId="{6A7FE55D-9AAB-4F24-A7F6-C7C7AAE31B9B}" type="presOf" srcId="{0A6EFC40-6EDF-436B-A2EC-031B95CEF259}" destId="{73A7511C-4648-4104-9383-021A8F0E46B9}" srcOrd="0" destOrd="0" presId="urn:microsoft.com/office/officeart/2008/layout/HexagonCluster"/>
    <dgm:cxn modelId="{BEDB4BDA-3A91-457A-AC2B-8C84FCCB5E00}" type="presOf" srcId="{F4B1BA96-32CF-4BC8-8D6A-9BE78CC374AE}" destId="{E0318AB8-5AA7-476B-97EB-8748DB2FF312}" srcOrd="0" destOrd="0" presId="urn:microsoft.com/office/officeart/2008/layout/HexagonCluster"/>
    <dgm:cxn modelId="{CAA570D2-964B-4823-A03A-BF9DF19D53C1}" type="presParOf" srcId="{B38B4276-082D-4A8A-8C47-2C5701347186}" destId="{D8DB21FC-8763-4ABC-9DFA-2088F5AE49F0}" srcOrd="0" destOrd="0" presId="urn:microsoft.com/office/officeart/2008/layout/HexagonCluster"/>
    <dgm:cxn modelId="{DF3785BB-5508-47EA-A593-F5AC389951B2}" type="presParOf" srcId="{D8DB21FC-8763-4ABC-9DFA-2088F5AE49F0}" destId="{30616770-71C8-48A1-AEE1-A75282FF0551}" srcOrd="0" destOrd="0" presId="urn:microsoft.com/office/officeart/2008/layout/HexagonCluster"/>
    <dgm:cxn modelId="{BAB8D75D-52A1-4634-A051-0A48F8146705}" type="presParOf" srcId="{B38B4276-082D-4A8A-8C47-2C5701347186}" destId="{F2DBE121-16CC-493F-A771-9D8F449BA7F8}" srcOrd="1" destOrd="0" presId="urn:microsoft.com/office/officeart/2008/layout/HexagonCluster"/>
    <dgm:cxn modelId="{F41D2C29-F142-4C36-AE3C-C65413588F4D}" type="presParOf" srcId="{F2DBE121-16CC-493F-A771-9D8F449BA7F8}" destId="{CEC1F958-99D7-4592-BB20-AA46415E2EC1}" srcOrd="0" destOrd="0" presId="urn:microsoft.com/office/officeart/2008/layout/HexagonCluster"/>
    <dgm:cxn modelId="{85A9C948-5507-42B9-9256-7A07D9EFF8B3}" type="presParOf" srcId="{B38B4276-082D-4A8A-8C47-2C5701347186}" destId="{AA239E90-AAD5-463B-B5C2-59DE6C5560FD}" srcOrd="2" destOrd="0" presId="urn:microsoft.com/office/officeart/2008/layout/HexagonCluster"/>
    <dgm:cxn modelId="{0F3F74F5-E102-42CF-BD02-EA695227A92C}" type="presParOf" srcId="{AA239E90-AAD5-463B-B5C2-59DE6C5560FD}" destId="{A8B2CD6D-A222-4BF1-A4CC-516E24D817CD}" srcOrd="0" destOrd="0" presId="urn:microsoft.com/office/officeart/2008/layout/HexagonCluster"/>
    <dgm:cxn modelId="{4E1185AF-4B3D-4F44-8037-816F319E8D44}" type="presParOf" srcId="{B38B4276-082D-4A8A-8C47-2C5701347186}" destId="{6DCBDCEE-EB9B-484B-89F8-09A8F5933B51}" srcOrd="3" destOrd="0" presId="urn:microsoft.com/office/officeart/2008/layout/HexagonCluster"/>
    <dgm:cxn modelId="{75ED293F-D759-4084-BFD6-E8E7D4283D6B}" type="presParOf" srcId="{6DCBDCEE-EB9B-484B-89F8-09A8F5933B51}" destId="{FA98F2FA-A511-44B8-B27B-C1C91598106D}" srcOrd="0" destOrd="0" presId="urn:microsoft.com/office/officeart/2008/layout/HexagonCluster"/>
    <dgm:cxn modelId="{0F186782-8FB5-445B-AC06-6D86630C4A82}" type="presParOf" srcId="{B38B4276-082D-4A8A-8C47-2C5701347186}" destId="{BB2798D8-54AA-4943-93D7-F7B6520D8101}" srcOrd="4" destOrd="0" presId="urn:microsoft.com/office/officeart/2008/layout/HexagonCluster"/>
    <dgm:cxn modelId="{C7D9BF91-F27B-4E62-8FD9-4BC5A940A3BC}" type="presParOf" srcId="{BB2798D8-54AA-4943-93D7-F7B6520D8101}" destId="{72E272D4-C8CF-4A70-A88F-C660CD26BD31}" srcOrd="0" destOrd="0" presId="urn:microsoft.com/office/officeart/2008/layout/HexagonCluster"/>
    <dgm:cxn modelId="{A0C1992D-2689-4CDA-8AAC-67B1CFA4E1AF}" type="presParOf" srcId="{B38B4276-082D-4A8A-8C47-2C5701347186}" destId="{A0A91586-4E65-4E05-A1E3-886767787C49}" srcOrd="5" destOrd="0" presId="urn:microsoft.com/office/officeart/2008/layout/HexagonCluster"/>
    <dgm:cxn modelId="{7C6CDA0F-DEF0-4E88-944C-D06F7618880C}" type="presParOf" srcId="{A0A91586-4E65-4E05-A1E3-886767787C49}" destId="{CC080141-AE95-48F1-A029-6982C7BCCB70}" srcOrd="0" destOrd="0" presId="urn:microsoft.com/office/officeart/2008/layout/HexagonCluster"/>
    <dgm:cxn modelId="{B45EB5D3-0DF1-42F6-A49F-C50BB8918AA6}" type="presParOf" srcId="{B38B4276-082D-4A8A-8C47-2C5701347186}" destId="{4B0B524E-68CF-457E-82C4-40DBBB3EB62B}" srcOrd="6" destOrd="0" presId="urn:microsoft.com/office/officeart/2008/layout/HexagonCluster"/>
    <dgm:cxn modelId="{D48F570B-133E-4DDE-B841-D01B7B4EAA19}" type="presParOf" srcId="{4B0B524E-68CF-457E-82C4-40DBBB3EB62B}" destId="{A3A80B67-5DAC-42CF-8D05-23F9215061FC}" srcOrd="0" destOrd="0" presId="urn:microsoft.com/office/officeart/2008/layout/HexagonCluster"/>
    <dgm:cxn modelId="{FAEF0239-A0C0-44C5-BD20-CCF3BD43171D}" type="presParOf" srcId="{B38B4276-082D-4A8A-8C47-2C5701347186}" destId="{8B21D9D1-FDBB-4D68-9356-EF523AA3CF0B}" srcOrd="7" destOrd="0" presId="urn:microsoft.com/office/officeart/2008/layout/HexagonCluster"/>
    <dgm:cxn modelId="{69A2151A-AD3B-43D5-8C8B-A475BD4D3F45}" type="presParOf" srcId="{8B21D9D1-FDBB-4D68-9356-EF523AA3CF0B}" destId="{44243FD2-F066-4A70-9110-5E2389206270}" srcOrd="0" destOrd="0" presId="urn:microsoft.com/office/officeart/2008/layout/HexagonCluster"/>
    <dgm:cxn modelId="{3E0EE555-D8E7-451E-BF9F-BDCCBF845CB2}" type="presParOf" srcId="{B38B4276-082D-4A8A-8C47-2C5701347186}" destId="{887428BB-4795-4AFF-9363-E9F56E8E4123}" srcOrd="8" destOrd="0" presId="urn:microsoft.com/office/officeart/2008/layout/HexagonCluster"/>
    <dgm:cxn modelId="{D88E4497-FB89-495B-8F43-F9FD9ACCA8C4}" type="presParOf" srcId="{887428BB-4795-4AFF-9363-E9F56E8E4123}" destId="{9E6F3CEC-269E-4C2F-BD09-46870D08B43D}" srcOrd="0" destOrd="0" presId="urn:microsoft.com/office/officeart/2008/layout/HexagonCluster"/>
    <dgm:cxn modelId="{13924DC1-9FF2-490B-96D2-AABF3C67D0EE}" type="presParOf" srcId="{B38B4276-082D-4A8A-8C47-2C5701347186}" destId="{96264CF0-36FB-4E31-9CD5-692CC827629D}" srcOrd="9" destOrd="0" presId="urn:microsoft.com/office/officeart/2008/layout/HexagonCluster"/>
    <dgm:cxn modelId="{80FC7BCB-9738-4FF2-947B-C564E8986B32}" type="presParOf" srcId="{96264CF0-36FB-4E31-9CD5-692CC827629D}" destId="{56CB0B01-3B61-487C-968B-541B7AE72E78}" srcOrd="0" destOrd="0" presId="urn:microsoft.com/office/officeart/2008/layout/HexagonCluster"/>
    <dgm:cxn modelId="{AA280E46-A341-40D6-853F-CFF954F41D9F}" type="presParOf" srcId="{B38B4276-082D-4A8A-8C47-2C5701347186}" destId="{220890F2-4CD3-47C3-82D8-E63824628271}" srcOrd="10" destOrd="0" presId="urn:microsoft.com/office/officeart/2008/layout/HexagonCluster"/>
    <dgm:cxn modelId="{CB59D696-41D3-44AD-8C46-059C70F87DAA}" type="presParOf" srcId="{220890F2-4CD3-47C3-82D8-E63824628271}" destId="{9D875EEF-3912-4B14-8C4A-04A3221F31DB}" srcOrd="0" destOrd="0" presId="urn:microsoft.com/office/officeart/2008/layout/HexagonCluster"/>
    <dgm:cxn modelId="{96E23594-6A20-4F40-A200-7B40EFAA6824}" type="presParOf" srcId="{B38B4276-082D-4A8A-8C47-2C5701347186}" destId="{8C20E740-5858-46FF-959B-ED7E4952540F}" srcOrd="11" destOrd="0" presId="urn:microsoft.com/office/officeart/2008/layout/HexagonCluster"/>
    <dgm:cxn modelId="{DDE29CB1-1D76-4C34-9669-722B7845751C}" type="presParOf" srcId="{8C20E740-5858-46FF-959B-ED7E4952540F}" destId="{CBBFCEC4-A2D8-4D94-AD21-AA402CA363A9}" srcOrd="0" destOrd="0" presId="urn:microsoft.com/office/officeart/2008/layout/HexagonCluster"/>
    <dgm:cxn modelId="{32CC344D-0D02-4B3D-B45B-D08FDE7E818C}" type="presParOf" srcId="{B38B4276-082D-4A8A-8C47-2C5701347186}" destId="{E2FE0B92-E053-43B9-8A76-091157AACA7D}" srcOrd="12" destOrd="0" presId="urn:microsoft.com/office/officeart/2008/layout/HexagonCluster"/>
    <dgm:cxn modelId="{098526F0-9DEE-40A5-BE91-A480F89FCACB}" type="presParOf" srcId="{E2FE0B92-E053-43B9-8A76-091157AACA7D}" destId="{E0318AB8-5AA7-476B-97EB-8748DB2FF312}" srcOrd="0" destOrd="0" presId="urn:microsoft.com/office/officeart/2008/layout/HexagonCluster"/>
    <dgm:cxn modelId="{8890FE90-57D2-4FF1-B602-3922BD132C94}" type="presParOf" srcId="{B38B4276-082D-4A8A-8C47-2C5701347186}" destId="{AB49A2F2-9F39-4190-8F5C-597282455493}" srcOrd="13" destOrd="0" presId="urn:microsoft.com/office/officeart/2008/layout/HexagonCluster"/>
    <dgm:cxn modelId="{4A46006F-DDBA-46C8-BD9B-89E6D6980765}" type="presParOf" srcId="{AB49A2F2-9F39-4190-8F5C-597282455493}" destId="{B32FF2FD-BBF7-450B-B7A8-F93614E9E6A2}" srcOrd="0" destOrd="0" presId="urn:microsoft.com/office/officeart/2008/layout/HexagonCluster"/>
    <dgm:cxn modelId="{03C72E71-DA28-47A3-91DA-C8DE61B561F7}" type="presParOf" srcId="{B38B4276-082D-4A8A-8C47-2C5701347186}" destId="{62ECBF7A-10B6-4EB3-8A0E-00E0E1542EE4}" srcOrd="14" destOrd="0" presId="urn:microsoft.com/office/officeart/2008/layout/HexagonCluster"/>
    <dgm:cxn modelId="{C8E23E1A-66C5-4B34-92D7-26F0D178E710}" type="presParOf" srcId="{62ECBF7A-10B6-4EB3-8A0E-00E0E1542EE4}" destId="{73A7511C-4648-4104-9383-021A8F0E46B9}" srcOrd="0" destOrd="0" presId="urn:microsoft.com/office/officeart/2008/layout/HexagonCluster"/>
    <dgm:cxn modelId="{D88B51A0-E00E-4CB6-8EC5-D99804135814}" type="presParOf" srcId="{B38B4276-082D-4A8A-8C47-2C5701347186}" destId="{C12F0311-8558-4DE0-B0C3-DB7522E28C47}" srcOrd="15" destOrd="0" presId="urn:microsoft.com/office/officeart/2008/layout/HexagonCluster"/>
    <dgm:cxn modelId="{9F4633B0-9EB9-4FBF-951B-6C8CD847B22E}" type="presParOf" srcId="{C12F0311-8558-4DE0-B0C3-DB7522E28C47}" destId="{501C9EDD-F258-4836-8188-05073BDF330A}" srcOrd="0" destOrd="0" presId="urn:microsoft.com/office/officeart/2008/layout/HexagonCluster"/>
    <dgm:cxn modelId="{098FB1E5-C13D-45B3-A7B1-693135680693}" type="presParOf" srcId="{B38B4276-082D-4A8A-8C47-2C5701347186}" destId="{30F1D842-A754-469B-8D12-2F82F2735940}" srcOrd="16" destOrd="0" presId="urn:microsoft.com/office/officeart/2008/layout/HexagonCluster"/>
    <dgm:cxn modelId="{86110FEB-FE2B-4138-BF3F-79191D2CC619}" type="presParOf" srcId="{30F1D842-A754-469B-8D12-2F82F2735940}" destId="{FD704A73-AB97-4ABE-89E7-E7F870CC7815}" srcOrd="0" destOrd="0" presId="urn:microsoft.com/office/officeart/2008/layout/HexagonCluster"/>
    <dgm:cxn modelId="{D5D61E6F-2311-4503-9C0C-2F47772EF43D}" type="presParOf" srcId="{B38B4276-082D-4A8A-8C47-2C5701347186}" destId="{3C03823A-1776-4DC8-B3C1-7BD24AFB6719}" srcOrd="17" destOrd="0" presId="urn:microsoft.com/office/officeart/2008/layout/HexagonCluster"/>
    <dgm:cxn modelId="{58AC3C5C-E879-4479-BABA-D85FB9AE91AB}" type="presParOf" srcId="{3C03823A-1776-4DC8-B3C1-7BD24AFB6719}" destId="{DDC8CCCB-566B-4B02-BE35-17947894C641}" srcOrd="0" destOrd="0" presId="urn:microsoft.com/office/officeart/2008/layout/HexagonCluster"/>
    <dgm:cxn modelId="{4D9EF855-D3C4-4DDB-A955-2F1F265D0566}" type="presParOf" srcId="{B38B4276-082D-4A8A-8C47-2C5701347186}" destId="{58549B12-A2C0-4A1B-A0AC-451768DC5C26}" srcOrd="18" destOrd="0" presId="urn:microsoft.com/office/officeart/2008/layout/HexagonCluster"/>
    <dgm:cxn modelId="{E98DAB8D-7253-4B2F-A317-47792CBC43A1}" type="presParOf" srcId="{58549B12-A2C0-4A1B-A0AC-451768DC5C26}" destId="{7E8191CF-DBCA-417C-8F40-161E08BDB450}" srcOrd="0" destOrd="0" presId="urn:microsoft.com/office/officeart/2008/layout/HexagonCluster"/>
    <dgm:cxn modelId="{714E3D8A-1AE1-4331-8367-B0609BE53CDC}" type="presParOf" srcId="{B38B4276-082D-4A8A-8C47-2C5701347186}" destId="{C4FF64DA-1F51-4DF5-980E-C3262AE3125E}" srcOrd="19" destOrd="0" presId="urn:microsoft.com/office/officeart/2008/layout/HexagonCluster"/>
    <dgm:cxn modelId="{7D2681FE-E617-4EDC-BCE9-58B645793F19}" type="presParOf" srcId="{C4FF64DA-1F51-4DF5-980E-C3262AE3125E}" destId="{65867113-9D29-4E7B-8504-4AC4AD09142F}"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6ADF1B9D-279D-433F-9767-6EB285A05E4F}"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zh-CN" altLang="en-US"/>
        </a:p>
      </dgm:t>
    </dgm:pt>
    <dgm:pt modelId="{57DCEBAC-28E7-43BD-ADF3-6DA31443B6D6}">
      <dgm:prSet phldrT="[文本]"/>
      <dgm:spPr/>
      <dgm:t>
        <a:bodyPr/>
        <a:lstStyle/>
        <a:p>
          <a:r>
            <a:rPr lang="zh-CN" altLang="en-US" dirty="0" smtClean="0">
              <a:solidFill>
                <a:schemeClr val="tx1"/>
              </a:solidFill>
            </a:rPr>
            <a:t>收割战果</a:t>
          </a:r>
          <a:endParaRPr lang="zh-CN" altLang="en-US" dirty="0">
            <a:solidFill>
              <a:schemeClr val="tx1"/>
            </a:solidFill>
          </a:endParaRPr>
        </a:p>
      </dgm:t>
    </dgm:pt>
    <dgm:pt modelId="{9CF0992D-10EB-4850-9EDD-73A0C22C4B9E}" type="parTrans" cxnId="{4B832F5F-C181-42DC-AF72-AD815E36F888}">
      <dgm:prSet/>
      <dgm:spPr/>
      <dgm:t>
        <a:bodyPr/>
        <a:lstStyle/>
        <a:p>
          <a:endParaRPr lang="zh-CN" altLang="en-US">
            <a:solidFill>
              <a:schemeClr val="tx1"/>
            </a:solidFill>
          </a:endParaRPr>
        </a:p>
      </dgm:t>
    </dgm:pt>
    <dgm:pt modelId="{621BCA30-5061-452A-8508-E4B3D8AA3A4E}" type="sibTrans" cxnId="{4B832F5F-C181-42DC-AF72-AD815E36F888}">
      <dgm:prSet/>
      <dgm:spPr/>
      <dgm:t>
        <a:bodyPr/>
        <a:lstStyle/>
        <a:p>
          <a:endParaRPr lang="zh-CN" altLang="en-US">
            <a:solidFill>
              <a:schemeClr val="tx1"/>
            </a:solidFill>
          </a:endParaRPr>
        </a:p>
      </dgm:t>
    </dgm:pt>
    <dgm:pt modelId="{FEAF82D5-26EC-40FD-8B3A-B28166812D67}">
      <dgm:prSet phldrT="[文本]"/>
      <dgm:spPr/>
      <dgm:t>
        <a:bodyPr/>
        <a:lstStyle/>
        <a:p>
          <a:r>
            <a:rPr lang="zh-CN" altLang="en-US" dirty="0" smtClean="0">
              <a:solidFill>
                <a:schemeClr val="tx1"/>
              </a:solidFill>
            </a:rPr>
            <a:t>既得战果</a:t>
          </a:r>
          <a:endParaRPr lang="zh-CN" altLang="en-US" dirty="0">
            <a:solidFill>
              <a:schemeClr val="tx1"/>
            </a:solidFill>
          </a:endParaRPr>
        </a:p>
      </dgm:t>
    </dgm:pt>
    <dgm:pt modelId="{A3F3AC5A-B829-4F41-86FF-1D8EFCE58434}" type="parTrans" cxnId="{DE5AF900-9923-44CF-9FF5-6BA40E040F3E}">
      <dgm:prSet/>
      <dgm:spPr/>
      <dgm:t>
        <a:bodyPr/>
        <a:lstStyle/>
        <a:p>
          <a:endParaRPr lang="zh-CN" altLang="en-US">
            <a:solidFill>
              <a:schemeClr val="tx1"/>
            </a:solidFill>
          </a:endParaRPr>
        </a:p>
      </dgm:t>
    </dgm:pt>
    <dgm:pt modelId="{764617D0-381F-4A14-B17E-C8E170074313}" type="sibTrans" cxnId="{DE5AF900-9923-44CF-9FF5-6BA40E040F3E}">
      <dgm:prSet/>
      <dgm:spPr/>
      <dgm:t>
        <a:bodyPr/>
        <a:lstStyle/>
        <a:p>
          <a:endParaRPr lang="zh-CN" altLang="en-US">
            <a:solidFill>
              <a:schemeClr val="tx1"/>
            </a:solidFill>
          </a:endParaRPr>
        </a:p>
      </dgm:t>
    </dgm:pt>
    <dgm:pt modelId="{B1BC2F1F-25DE-4E3C-9CEB-B1A030838D4D}">
      <dgm:prSet phldrT="[文本]"/>
      <dgm:spPr/>
      <dgm:t>
        <a:bodyPr/>
        <a:lstStyle/>
        <a:p>
          <a:r>
            <a:rPr lang="zh-CN" altLang="en-US" dirty="0" smtClean="0">
              <a:solidFill>
                <a:schemeClr val="tx1"/>
              </a:solidFill>
            </a:rPr>
            <a:t>扩大战果</a:t>
          </a:r>
          <a:endParaRPr lang="zh-CN" altLang="en-US" dirty="0">
            <a:solidFill>
              <a:schemeClr val="tx1"/>
            </a:solidFill>
          </a:endParaRPr>
        </a:p>
      </dgm:t>
    </dgm:pt>
    <dgm:pt modelId="{75E67C3A-10BC-418D-A20A-8268A0FEDBA8}" type="parTrans" cxnId="{7B1EED9F-142F-4A66-BCF3-BE2785CDC485}">
      <dgm:prSet/>
      <dgm:spPr/>
      <dgm:t>
        <a:bodyPr/>
        <a:lstStyle/>
        <a:p>
          <a:endParaRPr lang="zh-CN" altLang="en-US">
            <a:solidFill>
              <a:schemeClr val="tx1"/>
            </a:solidFill>
          </a:endParaRPr>
        </a:p>
      </dgm:t>
    </dgm:pt>
    <dgm:pt modelId="{88E25034-0EFF-4DDA-851A-5EE401CE8606}" type="sibTrans" cxnId="{7B1EED9F-142F-4A66-BCF3-BE2785CDC485}">
      <dgm:prSet/>
      <dgm:spPr/>
      <dgm:t>
        <a:bodyPr/>
        <a:lstStyle/>
        <a:p>
          <a:endParaRPr lang="zh-CN" altLang="en-US">
            <a:solidFill>
              <a:schemeClr val="tx1"/>
            </a:solidFill>
          </a:endParaRPr>
        </a:p>
      </dgm:t>
    </dgm:pt>
    <dgm:pt modelId="{5DC4F833-D163-4C5C-803F-AFCC2157099A}">
      <dgm:prSet phldrT="[文本]"/>
      <dgm:spPr/>
      <dgm:t>
        <a:bodyPr/>
        <a:lstStyle/>
        <a:p>
          <a:r>
            <a:rPr lang="zh-CN" altLang="en-US" dirty="0" smtClean="0">
              <a:solidFill>
                <a:schemeClr val="tx1"/>
              </a:solidFill>
            </a:rPr>
            <a:t>伏击未来</a:t>
          </a:r>
          <a:endParaRPr lang="zh-CN" altLang="en-US" dirty="0">
            <a:solidFill>
              <a:schemeClr val="tx1"/>
            </a:solidFill>
          </a:endParaRPr>
        </a:p>
      </dgm:t>
    </dgm:pt>
    <dgm:pt modelId="{B77F1DC0-8F20-42C6-8298-44EE51D63649}" type="parTrans" cxnId="{507C27F1-E316-42AA-BD0A-AF22C2B28DA0}">
      <dgm:prSet/>
      <dgm:spPr/>
      <dgm:t>
        <a:bodyPr/>
        <a:lstStyle/>
        <a:p>
          <a:endParaRPr lang="zh-CN" altLang="en-US">
            <a:solidFill>
              <a:schemeClr val="tx1"/>
            </a:solidFill>
          </a:endParaRPr>
        </a:p>
      </dgm:t>
    </dgm:pt>
    <dgm:pt modelId="{B0CF703D-47FC-4A81-9019-7843F53AA845}" type="sibTrans" cxnId="{507C27F1-E316-42AA-BD0A-AF22C2B28DA0}">
      <dgm:prSet/>
      <dgm:spPr/>
      <dgm:t>
        <a:bodyPr/>
        <a:lstStyle/>
        <a:p>
          <a:endParaRPr lang="zh-CN" altLang="en-US">
            <a:solidFill>
              <a:schemeClr val="tx1"/>
            </a:solidFill>
          </a:endParaRPr>
        </a:p>
      </dgm:t>
    </dgm:pt>
    <dgm:pt modelId="{EEB35180-4EFE-46BE-BB02-2EA6202C0C88}">
      <dgm:prSet phldrT="[文本]"/>
      <dgm:spPr/>
      <dgm:t>
        <a:bodyPr/>
        <a:lstStyle/>
        <a:p>
          <a:r>
            <a:rPr lang="zh-CN" altLang="en-US" dirty="0" smtClean="0">
              <a:solidFill>
                <a:schemeClr val="tx1"/>
              </a:solidFill>
            </a:rPr>
            <a:t>撤退清痕</a:t>
          </a:r>
          <a:endParaRPr lang="zh-CN" altLang="en-US" dirty="0">
            <a:solidFill>
              <a:schemeClr val="tx1"/>
            </a:solidFill>
          </a:endParaRPr>
        </a:p>
      </dgm:t>
    </dgm:pt>
    <dgm:pt modelId="{F029B589-00DF-48B9-AF70-E5EE39869D7D}" type="parTrans" cxnId="{0F9AC3A6-2D42-4919-BDE0-AE77BB80938D}">
      <dgm:prSet/>
      <dgm:spPr/>
      <dgm:t>
        <a:bodyPr/>
        <a:lstStyle/>
        <a:p>
          <a:endParaRPr lang="zh-CN" altLang="en-US">
            <a:solidFill>
              <a:schemeClr val="tx1"/>
            </a:solidFill>
          </a:endParaRPr>
        </a:p>
      </dgm:t>
    </dgm:pt>
    <dgm:pt modelId="{41B25C65-0B6D-470B-92CD-0F40F651E604}" type="sibTrans" cxnId="{0F9AC3A6-2D42-4919-BDE0-AE77BB80938D}">
      <dgm:prSet/>
      <dgm:spPr/>
      <dgm:t>
        <a:bodyPr/>
        <a:lstStyle/>
        <a:p>
          <a:endParaRPr lang="zh-CN" altLang="en-US">
            <a:solidFill>
              <a:schemeClr val="tx1"/>
            </a:solidFill>
          </a:endParaRPr>
        </a:p>
      </dgm:t>
    </dgm:pt>
    <dgm:pt modelId="{D7AAD851-01BB-46B4-A0A6-44737594D2A2}">
      <dgm:prSet phldrT="[文本]"/>
      <dgm:spPr/>
      <dgm:t>
        <a:bodyPr/>
        <a:lstStyle/>
        <a:p>
          <a:r>
            <a:rPr lang="zh-CN" altLang="en-US" dirty="0" smtClean="0">
              <a:solidFill>
                <a:schemeClr val="tx1"/>
              </a:solidFill>
            </a:rPr>
            <a:t>清除痕迹</a:t>
          </a:r>
          <a:endParaRPr lang="zh-CN" altLang="en-US" dirty="0">
            <a:solidFill>
              <a:schemeClr val="tx1"/>
            </a:solidFill>
          </a:endParaRPr>
        </a:p>
      </dgm:t>
    </dgm:pt>
    <dgm:pt modelId="{6E1D394F-4537-4654-9876-D67E0BF7DBEC}" type="parTrans" cxnId="{CC21F4BF-68D8-48F1-9CDC-E6EEF1E41C1E}">
      <dgm:prSet/>
      <dgm:spPr/>
      <dgm:t>
        <a:bodyPr/>
        <a:lstStyle/>
        <a:p>
          <a:endParaRPr lang="zh-CN" altLang="en-US">
            <a:solidFill>
              <a:schemeClr val="tx1"/>
            </a:solidFill>
          </a:endParaRPr>
        </a:p>
      </dgm:t>
    </dgm:pt>
    <dgm:pt modelId="{6D97E395-BB69-45EC-B3AA-0843E1044C07}" type="sibTrans" cxnId="{CC21F4BF-68D8-48F1-9CDC-E6EEF1E41C1E}">
      <dgm:prSet/>
      <dgm:spPr/>
      <dgm:t>
        <a:bodyPr/>
        <a:lstStyle/>
        <a:p>
          <a:endParaRPr lang="zh-CN" altLang="en-US">
            <a:solidFill>
              <a:schemeClr val="tx1"/>
            </a:solidFill>
          </a:endParaRPr>
        </a:p>
      </dgm:t>
    </dgm:pt>
    <dgm:pt modelId="{5D646ABD-5ED6-471A-BE33-DDE1F4232F24}">
      <dgm:prSet phldrT="[文本]"/>
      <dgm:spPr/>
      <dgm:t>
        <a:bodyPr/>
        <a:lstStyle/>
        <a:p>
          <a:r>
            <a:rPr lang="zh-CN" altLang="en-US" dirty="0" smtClean="0">
              <a:solidFill>
                <a:schemeClr val="tx1"/>
              </a:solidFill>
            </a:rPr>
            <a:t>清除权限</a:t>
          </a:r>
          <a:endParaRPr lang="zh-CN" altLang="en-US" dirty="0">
            <a:solidFill>
              <a:schemeClr val="tx1"/>
            </a:solidFill>
          </a:endParaRPr>
        </a:p>
      </dgm:t>
    </dgm:pt>
    <dgm:pt modelId="{635DC6EC-1F93-4C0F-80BE-2A0B8ACF2B8F}" type="parTrans" cxnId="{367FCE17-0B06-4BAF-A253-8B68B3B5FC33}">
      <dgm:prSet/>
      <dgm:spPr/>
      <dgm:t>
        <a:bodyPr/>
        <a:lstStyle/>
        <a:p>
          <a:endParaRPr lang="zh-CN" altLang="en-US">
            <a:solidFill>
              <a:schemeClr val="tx1"/>
            </a:solidFill>
          </a:endParaRPr>
        </a:p>
      </dgm:t>
    </dgm:pt>
    <dgm:pt modelId="{75E1DB2E-8733-4537-B9BA-E77E24EFBB6F}" type="sibTrans" cxnId="{367FCE17-0B06-4BAF-A253-8B68B3B5FC33}">
      <dgm:prSet/>
      <dgm:spPr/>
      <dgm:t>
        <a:bodyPr/>
        <a:lstStyle/>
        <a:p>
          <a:endParaRPr lang="zh-CN" altLang="en-US">
            <a:solidFill>
              <a:schemeClr val="tx1"/>
            </a:solidFill>
          </a:endParaRPr>
        </a:p>
      </dgm:t>
    </dgm:pt>
    <dgm:pt modelId="{0229D269-FAB0-4693-B673-578A64492DF5}">
      <dgm:prSet phldrT="[文本]"/>
      <dgm:spPr/>
      <dgm:t>
        <a:bodyPr/>
        <a:lstStyle/>
        <a:p>
          <a:r>
            <a:rPr lang="zh-CN" altLang="en-US" dirty="0" smtClean="0">
              <a:solidFill>
                <a:schemeClr val="tx1"/>
              </a:solidFill>
            </a:rPr>
            <a:t>清除装备</a:t>
          </a:r>
          <a:endParaRPr lang="zh-CN" altLang="en-US" dirty="0">
            <a:solidFill>
              <a:schemeClr val="tx1"/>
            </a:solidFill>
          </a:endParaRPr>
        </a:p>
      </dgm:t>
    </dgm:pt>
    <dgm:pt modelId="{B768F3F5-42D0-4B96-8718-DB53ED31BECA}" type="parTrans" cxnId="{8F7845E4-4051-40C8-9EE2-3CE408D3B652}">
      <dgm:prSet/>
      <dgm:spPr/>
      <dgm:t>
        <a:bodyPr/>
        <a:lstStyle/>
        <a:p>
          <a:endParaRPr lang="zh-CN" altLang="en-US">
            <a:solidFill>
              <a:schemeClr val="tx1"/>
            </a:solidFill>
          </a:endParaRPr>
        </a:p>
      </dgm:t>
    </dgm:pt>
    <dgm:pt modelId="{683E029A-1545-4000-A7D4-D04BF5FF4F1E}" type="sibTrans" cxnId="{8F7845E4-4051-40C8-9EE2-3CE408D3B652}">
      <dgm:prSet/>
      <dgm:spPr/>
      <dgm:t>
        <a:bodyPr/>
        <a:lstStyle/>
        <a:p>
          <a:endParaRPr lang="zh-CN" altLang="en-US">
            <a:solidFill>
              <a:schemeClr val="tx1"/>
            </a:solidFill>
          </a:endParaRPr>
        </a:p>
      </dgm:t>
    </dgm:pt>
    <dgm:pt modelId="{FBF8EAAD-8252-4413-92D1-99690B79810A}" type="pres">
      <dgm:prSet presAssocID="{6ADF1B9D-279D-433F-9767-6EB285A05E4F}" presName="Name0" presStyleCnt="0">
        <dgm:presLayoutVars>
          <dgm:dir/>
          <dgm:animLvl val="lvl"/>
          <dgm:resizeHandles val="exact"/>
        </dgm:presLayoutVars>
      </dgm:prSet>
      <dgm:spPr/>
      <dgm:t>
        <a:bodyPr/>
        <a:lstStyle/>
        <a:p>
          <a:endParaRPr lang="zh-CN" altLang="en-US"/>
        </a:p>
      </dgm:t>
    </dgm:pt>
    <dgm:pt modelId="{6B9A350C-6385-43DF-8F67-626C3D38B4D5}" type="pres">
      <dgm:prSet presAssocID="{57DCEBAC-28E7-43BD-ADF3-6DA31443B6D6}" presName="composite" presStyleCnt="0"/>
      <dgm:spPr/>
    </dgm:pt>
    <dgm:pt modelId="{AE1E6A22-64B8-4BAF-A673-6FFBD5D7A6AF}" type="pres">
      <dgm:prSet presAssocID="{57DCEBAC-28E7-43BD-ADF3-6DA31443B6D6}" presName="parTx" presStyleLbl="alignNode1" presStyleIdx="0" presStyleCnt="2">
        <dgm:presLayoutVars>
          <dgm:chMax val="0"/>
          <dgm:chPref val="0"/>
          <dgm:bulletEnabled val="1"/>
        </dgm:presLayoutVars>
      </dgm:prSet>
      <dgm:spPr/>
      <dgm:t>
        <a:bodyPr/>
        <a:lstStyle/>
        <a:p>
          <a:endParaRPr lang="zh-CN" altLang="en-US"/>
        </a:p>
      </dgm:t>
    </dgm:pt>
    <dgm:pt modelId="{9A441801-3383-4D03-84B6-F8C4A8A2F4B3}" type="pres">
      <dgm:prSet presAssocID="{57DCEBAC-28E7-43BD-ADF3-6DA31443B6D6}" presName="desTx" presStyleLbl="alignAccFollowNode1" presStyleIdx="0" presStyleCnt="2">
        <dgm:presLayoutVars>
          <dgm:bulletEnabled val="1"/>
        </dgm:presLayoutVars>
      </dgm:prSet>
      <dgm:spPr/>
      <dgm:t>
        <a:bodyPr/>
        <a:lstStyle/>
        <a:p>
          <a:endParaRPr lang="zh-CN" altLang="en-US"/>
        </a:p>
      </dgm:t>
    </dgm:pt>
    <dgm:pt modelId="{08F75C22-7BDD-4882-B76F-010055BEEAAB}" type="pres">
      <dgm:prSet presAssocID="{621BCA30-5061-452A-8508-E4B3D8AA3A4E}" presName="space" presStyleCnt="0"/>
      <dgm:spPr/>
    </dgm:pt>
    <dgm:pt modelId="{0573E99B-9A28-47FD-AA80-74D327CF8960}" type="pres">
      <dgm:prSet presAssocID="{EEB35180-4EFE-46BE-BB02-2EA6202C0C88}" presName="composite" presStyleCnt="0"/>
      <dgm:spPr/>
    </dgm:pt>
    <dgm:pt modelId="{C7CA6168-3AD0-41EA-BB70-DD11948FB89F}" type="pres">
      <dgm:prSet presAssocID="{EEB35180-4EFE-46BE-BB02-2EA6202C0C88}" presName="parTx" presStyleLbl="alignNode1" presStyleIdx="1" presStyleCnt="2">
        <dgm:presLayoutVars>
          <dgm:chMax val="0"/>
          <dgm:chPref val="0"/>
          <dgm:bulletEnabled val="1"/>
        </dgm:presLayoutVars>
      </dgm:prSet>
      <dgm:spPr/>
      <dgm:t>
        <a:bodyPr/>
        <a:lstStyle/>
        <a:p>
          <a:endParaRPr lang="zh-CN" altLang="en-US"/>
        </a:p>
      </dgm:t>
    </dgm:pt>
    <dgm:pt modelId="{3C7A8B9E-A44A-4163-ADD2-DF481B016C1B}" type="pres">
      <dgm:prSet presAssocID="{EEB35180-4EFE-46BE-BB02-2EA6202C0C88}" presName="desTx" presStyleLbl="alignAccFollowNode1" presStyleIdx="1" presStyleCnt="2">
        <dgm:presLayoutVars>
          <dgm:bulletEnabled val="1"/>
        </dgm:presLayoutVars>
      </dgm:prSet>
      <dgm:spPr/>
      <dgm:t>
        <a:bodyPr/>
        <a:lstStyle/>
        <a:p>
          <a:endParaRPr lang="zh-CN" altLang="en-US"/>
        </a:p>
      </dgm:t>
    </dgm:pt>
  </dgm:ptLst>
  <dgm:cxnLst>
    <dgm:cxn modelId="{CC21F4BF-68D8-48F1-9CDC-E6EEF1E41C1E}" srcId="{EEB35180-4EFE-46BE-BB02-2EA6202C0C88}" destId="{D7AAD851-01BB-46B4-A0A6-44737594D2A2}" srcOrd="0" destOrd="0" parTransId="{6E1D394F-4537-4654-9876-D67E0BF7DBEC}" sibTransId="{6D97E395-BB69-45EC-B3AA-0843E1044C07}"/>
    <dgm:cxn modelId="{2983AA9B-695D-4624-82BF-14360713E513}" type="presOf" srcId="{FEAF82D5-26EC-40FD-8B3A-B28166812D67}" destId="{9A441801-3383-4D03-84B6-F8C4A8A2F4B3}" srcOrd="0" destOrd="0" presId="urn:microsoft.com/office/officeart/2005/8/layout/hList1"/>
    <dgm:cxn modelId="{4B832F5F-C181-42DC-AF72-AD815E36F888}" srcId="{6ADF1B9D-279D-433F-9767-6EB285A05E4F}" destId="{57DCEBAC-28E7-43BD-ADF3-6DA31443B6D6}" srcOrd="0" destOrd="0" parTransId="{9CF0992D-10EB-4850-9EDD-73A0C22C4B9E}" sibTransId="{621BCA30-5061-452A-8508-E4B3D8AA3A4E}"/>
    <dgm:cxn modelId="{E277764B-54E0-4F9D-AC6A-1F29321A96F3}" type="presOf" srcId="{B1BC2F1F-25DE-4E3C-9CEB-B1A030838D4D}" destId="{9A441801-3383-4D03-84B6-F8C4A8A2F4B3}" srcOrd="0" destOrd="1" presId="urn:microsoft.com/office/officeart/2005/8/layout/hList1"/>
    <dgm:cxn modelId="{0F9AC3A6-2D42-4919-BDE0-AE77BB80938D}" srcId="{6ADF1B9D-279D-433F-9767-6EB285A05E4F}" destId="{EEB35180-4EFE-46BE-BB02-2EA6202C0C88}" srcOrd="1" destOrd="0" parTransId="{F029B589-00DF-48B9-AF70-E5EE39869D7D}" sibTransId="{41B25C65-0B6D-470B-92CD-0F40F651E604}"/>
    <dgm:cxn modelId="{34A8B4CD-6EB2-4E10-8193-7164BD5B289B}" type="presOf" srcId="{5DC4F833-D163-4C5C-803F-AFCC2157099A}" destId="{9A441801-3383-4D03-84B6-F8C4A8A2F4B3}" srcOrd="0" destOrd="2" presId="urn:microsoft.com/office/officeart/2005/8/layout/hList1"/>
    <dgm:cxn modelId="{8646D0EE-46BA-4172-873A-82C781C0B9FD}" type="presOf" srcId="{6ADF1B9D-279D-433F-9767-6EB285A05E4F}" destId="{FBF8EAAD-8252-4413-92D1-99690B79810A}" srcOrd="0" destOrd="0" presId="urn:microsoft.com/office/officeart/2005/8/layout/hList1"/>
    <dgm:cxn modelId="{507C27F1-E316-42AA-BD0A-AF22C2B28DA0}" srcId="{57DCEBAC-28E7-43BD-ADF3-6DA31443B6D6}" destId="{5DC4F833-D163-4C5C-803F-AFCC2157099A}" srcOrd="2" destOrd="0" parTransId="{B77F1DC0-8F20-42C6-8298-44EE51D63649}" sibTransId="{B0CF703D-47FC-4A81-9019-7843F53AA845}"/>
    <dgm:cxn modelId="{DE5AF900-9923-44CF-9FF5-6BA40E040F3E}" srcId="{57DCEBAC-28E7-43BD-ADF3-6DA31443B6D6}" destId="{FEAF82D5-26EC-40FD-8B3A-B28166812D67}" srcOrd="0" destOrd="0" parTransId="{A3F3AC5A-B829-4F41-86FF-1D8EFCE58434}" sibTransId="{764617D0-381F-4A14-B17E-C8E170074313}"/>
    <dgm:cxn modelId="{7B1EED9F-142F-4A66-BCF3-BE2785CDC485}" srcId="{57DCEBAC-28E7-43BD-ADF3-6DA31443B6D6}" destId="{B1BC2F1F-25DE-4E3C-9CEB-B1A030838D4D}" srcOrd="1" destOrd="0" parTransId="{75E67C3A-10BC-418D-A20A-8268A0FEDBA8}" sibTransId="{88E25034-0EFF-4DDA-851A-5EE401CE8606}"/>
    <dgm:cxn modelId="{22D0BC0F-E5E2-41EF-B94A-F59506FA7DB6}" type="presOf" srcId="{57DCEBAC-28E7-43BD-ADF3-6DA31443B6D6}" destId="{AE1E6A22-64B8-4BAF-A673-6FFBD5D7A6AF}" srcOrd="0" destOrd="0" presId="urn:microsoft.com/office/officeart/2005/8/layout/hList1"/>
    <dgm:cxn modelId="{8F7845E4-4051-40C8-9EE2-3CE408D3B652}" srcId="{EEB35180-4EFE-46BE-BB02-2EA6202C0C88}" destId="{0229D269-FAB0-4693-B673-578A64492DF5}" srcOrd="2" destOrd="0" parTransId="{B768F3F5-42D0-4B96-8718-DB53ED31BECA}" sibTransId="{683E029A-1545-4000-A7D4-D04BF5FF4F1E}"/>
    <dgm:cxn modelId="{2AD9E830-F8FC-4C8E-AE48-8C4FEBB80B8A}" type="presOf" srcId="{5D646ABD-5ED6-471A-BE33-DDE1F4232F24}" destId="{3C7A8B9E-A44A-4163-ADD2-DF481B016C1B}" srcOrd="0" destOrd="1" presId="urn:microsoft.com/office/officeart/2005/8/layout/hList1"/>
    <dgm:cxn modelId="{367FCE17-0B06-4BAF-A253-8B68B3B5FC33}" srcId="{EEB35180-4EFE-46BE-BB02-2EA6202C0C88}" destId="{5D646ABD-5ED6-471A-BE33-DDE1F4232F24}" srcOrd="1" destOrd="0" parTransId="{635DC6EC-1F93-4C0F-80BE-2A0B8ACF2B8F}" sibTransId="{75E1DB2E-8733-4537-B9BA-E77E24EFBB6F}"/>
    <dgm:cxn modelId="{CA836C32-18E5-4A82-9840-294B44F50E87}" type="presOf" srcId="{D7AAD851-01BB-46B4-A0A6-44737594D2A2}" destId="{3C7A8B9E-A44A-4163-ADD2-DF481B016C1B}" srcOrd="0" destOrd="0" presId="urn:microsoft.com/office/officeart/2005/8/layout/hList1"/>
    <dgm:cxn modelId="{9689EB52-BDD3-499B-AE07-BC3D9B2E8D1E}" type="presOf" srcId="{EEB35180-4EFE-46BE-BB02-2EA6202C0C88}" destId="{C7CA6168-3AD0-41EA-BB70-DD11948FB89F}" srcOrd="0" destOrd="0" presId="urn:microsoft.com/office/officeart/2005/8/layout/hList1"/>
    <dgm:cxn modelId="{D92FC383-D6F6-42FA-B7E8-C1C6D25D75E5}" type="presOf" srcId="{0229D269-FAB0-4693-B673-578A64492DF5}" destId="{3C7A8B9E-A44A-4163-ADD2-DF481B016C1B}" srcOrd="0" destOrd="2" presId="urn:microsoft.com/office/officeart/2005/8/layout/hList1"/>
    <dgm:cxn modelId="{B5FB200F-61A4-48AF-A777-4796C2513ABA}" type="presParOf" srcId="{FBF8EAAD-8252-4413-92D1-99690B79810A}" destId="{6B9A350C-6385-43DF-8F67-626C3D38B4D5}" srcOrd="0" destOrd="0" presId="urn:microsoft.com/office/officeart/2005/8/layout/hList1"/>
    <dgm:cxn modelId="{26384552-7A73-4A87-AFC8-6FC7913B0779}" type="presParOf" srcId="{6B9A350C-6385-43DF-8F67-626C3D38B4D5}" destId="{AE1E6A22-64B8-4BAF-A673-6FFBD5D7A6AF}" srcOrd="0" destOrd="0" presId="urn:microsoft.com/office/officeart/2005/8/layout/hList1"/>
    <dgm:cxn modelId="{095FF472-47AB-48AC-A2DC-AB521EDC69C7}" type="presParOf" srcId="{6B9A350C-6385-43DF-8F67-626C3D38B4D5}" destId="{9A441801-3383-4D03-84B6-F8C4A8A2F4B3}" srcOrd="1" destOrd="0" presId="urn:microsoft.com/office/officeart/2005/8/layout/hList1"/>
    <dgm:cxn modelId="{96358FE2-7C51-4E95-B620-C97707C299CD}" type="presParOf" srcId="{FBF8EAAD-8252-4413-92D1-99690B79810A}" destId="{08F75C22-7BDD-4882-B76F-010055BEEAAB}" srcOrd="1" destOrd="0" presId="urn:microsoft.com/office/officeart/2005/8/layout/hList1"/>
    <dgm:cxn modelId="{CA5621EB-552A-4EA4-9AA0-B4EE65F519AF}" type="presParOf" srcId="{FBF8EAAD-8252-4413-92D1-99690B79810A}" destId="{0573E99B-9A28-47FD-AA80-74D327CF8960}" srcOrd="2" destOrd="0" presId="urn:microsoft.com/office/officeart/2005/8/layout/hList1"/>
    <dgm:cxn modelId="{5D5EE0F7-A98F-4373-8676-8FE4632F7544}" type="presParOf" srcId="{0573E99B-9A28-47FD-AA80-74D327CF8960}" destId="{C7CA6168-3AD0-41EA-BB70-DD11948FB89F}" srcOrd="0" destOrd="0" presId="urn:microsoft.com/office/officeart/2005/8/layout/hList1"/>
    <dgm:cxn modelId="{4FC626E1-E01F-4C28-90A8-D8C6E568714C}" type="presParOf" srcId="{0573E99B-9A28-47FD-AA80-74D327CF8960}" destId="{3C7A8B9E-A44A-4163-ADD2-DF481B016C1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9C493069-78F2-4EAF-A1E6-EA4A44049934}"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zh-CN" altLang="en-US"/>
        </a:p>
      </dgm:t>
    </dgm:pt>
    <dgm:pt modelId="{C629BECD-A8C8-4263-A41B-0A37767E16EF}">
      <dgm:prSet phldrT="[文本]"/>
      <dgm:spPr/>
      <dgm:t>
        <a:bodyPr/>
        <a:lstStyle/>
        <a:p>
          <a:r>
            <a:rPr lang="zh-CN" altLang="en-US" dirty="0" smtClean="0">
              <a:solidFill>
                <a:schemeClr val="tx1"/>
              </a:solidFill>
            </a:rPr>
            <a:t>既得战果</a:t>
          </a:r>
          <a:endParaRPr lang="zh-CN" altLang="en-US" dirty="0">
            <a:solidFill>
              <a:schemeClr val="tx1"/>
            </a:solidFill>
          </a:endParaRPr>
        </a:p>
      </dgm:t>
    </dgm:pt>
    <dgm:pt modelId="{C7EB91CA-5889-417C-8044-7AE1ADCF1C2C}" type="parTrans" cxnId="{F409D472-AF61-437B-A4E7-921CF7FAE1A0}">
      <dgm:prSet/>
      <dgm:spPr/>
      <dgm:t>
        <a:bodyPr/>
        <a:lstStyle/>
        <a:p>
          <a:endParaRPr lang="zh-CN" altLang="en-US">
            <a:solidFill>
              <a:schemeClr val="tx1"/>
            </a:solidFill>
          </a:endParaRPr>
        </a:p>
      </dgm:t>
    </dgm:pt>
    <dgm:pt modelId="{C4E669CF-032A-4802-ADB6-59A213006FE6}" type="sibTrans" cxnId="{F409D472-AF61-437B-A4E7-921CF7FAE1A0}">
      <dgm:prSet/>
      <dgm:spPr/>
      <dgm:t>
        <a:bodyPr/>
        <a:lstStyle/>
        <a:p>
          <a:endParaRPr lang="zh-CN" altLang="en-US">
            <a:solidFill>
              <a:schemeClr val="tx1"/>
            </a:solidFill>
          </a:endParaRPr>
        </a:p>
      </dgm:t>
    </dgm:pt>
    <dgm:pt modelId="{12331E29-4C73-45EC-8DD1-293561FA7CDE}">
      <dgm:prSet phldrT="[文本]"/>
      <dgm:spPr/>
      <dgm:t>
        <a:bodyPr/>
        <a:lstStyle/>
        <a:p>
          <a:r>
            <a:rPr lang="zh-CN" altLang="en-US" dirty="0" smtClean="0">
              <a:solidFill>
                <a:schemeClr val="tx1"/>
              </a:solidFill>
            </a:rPr>
            <a:t>收割转移</a:t>
          </a:r>
          <a:endParaRPr lang="zh-CN" altLang="en-US" dirty="0">
            <a:solidFill>
              <a:schemeClr val="tx1"/>
            </a:solidFill>
          </a:endParaRPr>
        </a:p>
      </dgm:t>
    </dgm:pt>
    <dgm:pt modelId="{348ADE9D-857B-4525-99F9-FCB31C9C9F6A}" type="parTrans" cxnId="{D88508EB-5AE5-4433-BA1C-EA419A734CB8}">
      <dgm:prSet/>
      <dgm:spPr/>
      <dgm:t>
        <a:bodyPr/>
        <a:lstStyle/>
        <a:p>
          <a:endParaRPr lang="zh-CN" altLang="en-US">
            <a:solidFill>
              <a:schemeClr val="tx1"/>
            </a:solidFill>
          </a:endParaRPr>
        </a:p>
      </dgm:t>
    </dgm:pt>
    <dgm:pt modelId="{15517F46-AE5A-4B22-83F1-3E9FF19FFD12}" type="sibTrans" cxnId="{D88508EB-5AE5-4433-BA1C-EA419A734CB8}">
      <dgm:prSet/>
      <dgm:spPr/>
      <dgm:t>
        <a:bodyPr/>
        <a:lstStyle/>
        <a:p>
          <a:endParaRPr lang="zh-CN" altLang="en-US">
            <a:solidFill>
              <a:schemeClr val="tx1"/>
            </a:solidFill>
          </a:endParaRPr>
        </a:p>
      </dgm:t>
    </dgm:pt>
    <dgm:pt modelId="{E324094D-7473-4059-BE13-951FD91D32E3}">
      <dgm:prSet phldrT="[文本]"/>
      <dgm:spPr/>
      <dgm:t>
        <a:bodyPr/>
        <a:lstStyle/>
        <a:p>
          <a:r>
            <a:rPr lang="zh-CN" altLang="en-US" dirty="0" smtClean="0">
              <a:solidFill>
                <a:schemeClr val="tx1"/>
              </a:solidFill>
            </a:rPr>
            <a:t>扩大战果</a:t>
          </a:r>
          <a:endParaRPr lang="zh-CN" altLang="en-US" dirty="0">
            <a:solidFill>
              <a:schemeClr val="tx1"/>
            </a:solidFill>
          </a:endParaRPr>
        </a:p>
      </dgm:t>
    </dgm:pt>
    <dgm:pt modelId="{1C1D123C-F1DC-4852-A6DD-FE66A7743A4E}" type="parTrans" cxnId="{1AC25CA3-E53D-4305-80BB-794E85EFF1CA}">
      <dgm:prSet/>
      <dgm:spPr/>
      <dgm:t>
        <a:bodyPr/>
        <a:lstStyle/>
        <a:p>
          <a:endParaRPr lang="zh-CN" altLang="en-US">
            <a:solidFill>
              <a:schemeClr val="tx1"/>
            </a:solidFill>
          </a:endParaRPr>
        </a:p>
      </dgm:t>
    </dgm:pt>
    <dgm:pt modelId="{421CAA65-8F2F-4030-AA72-3817A7F9920E}" type="sibTrans" cxnId="{1AC25CA3-E53D-4305-80BB-794E85EFF1CA}">
      <dgm:prSet/>
      <dgm:spPr/>
      <dgm:t>
        <a:bodyPr/>
        <a:lstStyle/>
        <a:p>
          <a:endParaRPr lang="zh-CN" altLang="en-US">
            <a:solidFill>
              <a:schemeClr val="tx1"/>
            </a:solidFill>
          </a:endParaRPr>
        </a:p>
      </dgm:t>
    </dgm:pt>
    <dgm:pt modelId="{6EEDF248-5B8A-4896-83F3-7873985B6A4B}">
      <dgm:prSet phldrT="[文本]"/>
      <dgm:spPr/>
      <dgm:t>
        <a:bodyPr/>
        <a:lstStyle/>
        <a:p>
          <a:r>
            <a:rPr lang="zh-CN" altLang="en-US" dirty="0" smtClean="0">
              <a:solidFill>
                <a:schemeClr val="tx1"/>
              </a:solidFill>
            </a:rPr>
            <a:t>明确目标</a:t>
          </a:r>
          <a:endParaRPr lang="zh-CN" altLang="en-US" dirty="0">
            <a:solidFill>
              <a:schemeClr val="tx1"/>
            </a:solidFill>
          </a:endParaRPr>
        </a:p>
      </dgm:t>
    </dgm:pt>
    <dgm:pt modelId="{EA205EA9-1D94-4BA1-A78F-1AD06D15B615}" type="parTrans" cxnId="{343A0433-6787-4E41-AA15-6E61D7D0C930}">
      <dgm:prSet/>
      <dgm:spPr/>
      <dgm:t>
        <a:bodyPr/>
        <a:lstStyle/>
        <a:p>
          <a:endParaRPr lang="zh-CN" altLang="en-US">
            <a:solidFill>
              <a:schemeClr val="tx1"/>
            </a:solidFill>
          </a:endParaRPr>
        </a:p>
      </dgm:t>
    </dgm:pt>
    <dgm:pt modelId="{AD5678F6-5C0E-40F7-8874-5D47F9F57A99}" type="sibTrans" cxnId="{343A0433-6787-4E41-AA15-6E61D7D0C930}">
      <dgm:prSet/>
      <dgm:spPr/>
      <dgm:t>
        <a:bodyPr/>
        <a:lstStyle/>
        <a:p>
          <a:endParaRPr lang="zh-CN" altLang="en-US">
            <a:solidFill>
              <a:schemeClr val="tx1"/>
            </a:solidFill>
          </a:endParaRPr>
        </a:p>
      </dgm:t>
    </dgm:pt>
    <dgm:pt modelId="{0E554BB7-6E01-4267-BDB6-2FCAF5D0159C}">
      <dgm:prSet phldrT="[文本]"/>
      <dgm:spPr/>
      <dgm:t>
        <a:bodyPr/>
        <a:lstStyle/>
        <a:p>
          <a:r>
            <a:rPr lang="zh-CN" altLang="en-US" dirty="0" smtClean="0">
              <a:solidFill>
                <a:schemeClr val="tx1"/>
              </a:solidFill>
            </a:rPr>
            <a:t>伏击未来</a:t>
          </a:r>
          <a:endParaRPr lang="zh-CN" altLang="en-US" dirty="0">
            <a:solidFill>
              <a:schemeClr val="tx1"/>
            </a:solidFill>
          </a:endParaRPr>
        </a:p>
      </dgm:t>
    </dgm:pt>
    <dgm:pt modelId="{3DAE3CFA-02FC-4AF9-8F3C-F5ACA1D2A0A4}" type="parTrans" cxnId="{3EC02C39-2FAA-46F5-A967-B4F0A9F2BDA2}">
      <dgm:prSet/>
      <dgm:spPr/>
      <dgm:t>
        <a:bodyPr/>
        <a:lstStyle/>
        <a:p>
          <a:endParaRPr lang="zh-CN" altLang="en-US">
            <a:solidFill>
              <a:schemeClr val="tx1"/>
            </a:solidFill>
          </a:endParaRPr>
        </a:p>
      </dgm:t>
    </dgm:pt>
    <dgm:pt modelId="{AACD8F5B-3ACE-4F58-A4F3-4F8CB93A2402}" type="sibTrans" cxnId="{3EC02C39-2FAA-46F5-A967-B4F0A9F2BDA2}">
      <dgm:prSet/>
      <dgm:spPr/>
      <dgm:t>
        <a:bodyPr/>
        <a:lstStyle/>
        <a:p>
          <a:endParaRPr lang="zh-CN" altLang="en-US">
            <a:solidFill>
              <a:schemeClr val="tx1"/>
            </a:solidFill>
          </a:endParaRPr>
        </a:p>
      </dgm:t>
    </dgm:pt>
    <dgm:pt modelId="{1C791D4D-58F9-42F0-A098-52272C47CE04}">
      <dgm:prSet phldrT="[文本]"/>
      <dgm:spPr/>
      <dgm:t>
        <a:bodyPr/>
        <a:lstStyle/>
        <a:p>
          <a:r>
            <a:rPr lang="zh-CN" altLang="en-US" dirty="0" smtClean="0">
              <a:solidFill>
                <a:schemeClr val="tx1"/>
              </a:solidFill>
            </a:rPr>
            <a:t>掩踪潜伏</a:t>
          </a:r>
          <a:endParaRPr lang="zh-CN" altLang="en-US" dirty="0">
            <a:solidFill>
              <a:schemeClr val="tx1"/>
            </a:solidFill>
          </a:endParaRPr>
        </a:p>
      </dgm:t>
    </dgm:pt>
    <dgm:pt modelId="{ABAB625A-47D5-44B2-BA19-E56FD7BCBCFE}" type="parTrans" cxnId="{EBB0E562-3FAA-4733-9C29-41F0BB8DEDE3}">
      <dgm:prSet/>
      <dgm:spPr/>
      <dgm:t>
        <a:bodyPr/>
        <a:lstStyle/>
        <a:p>
          <a:endParaRPr lang="zh-CN" altLang="en-US">
            <a:solidFill>
              <a:schemeClr val="tx1"/>
            </a:solidFill>
          </a:endParaRPr>
        </a:p>
      </dgm:t>
    </dgm:pt>
    <dgm:pt modelId="{38A47B34-8FF5-41FC-88E5-68616A55DFE4}" type="sibTrans" cxnId="{EBB0E562-3FAA-4733-9C29-41F0BB8DEDE3}">
      <dgm:prSet/>
      <dgm:spPr/>
      <dgm:t>
        <a:bodyPr/>
        <a:lstStyle/>
        <a:p>
          <a:endParaRPr lang="zh-CN" altLang="en-US">
            <a:solidFill>
              <a:schemeClr val="tx1"/>
            </a:solidFill>
          </a:endParaRPr>
        </a:p>
      </dgm:t>
    </dgm:pt>
    <dgm:pt modelId="{4350099F-081F-4B78-A3B3-C2C8B1E74834}">
      <dgm:prSet phldrT="[文本]"/>
      <dgm:spPr/>
      <dgm:t>
        <a:bodyPr/>
        <a:lstStyle/>
        <a:p>
          <a:r>
            <a:rPr lang="zh-CN" altLang="en-US" dirty="0" smtClean="0">
              <a:solidFill>
                <a:schemeClr val="tx1"/>
              </a:solidFill>
            </a:rPr>
            <a:t>监候目标</a:t>
          </a:r>
          <a:endParaRPr lang="zh-CN" altLang="en-US" dirty="0">
            <a:solidFill>
              <a:schemeClr val="tx1"/>
            </a:solidFill>
          </a:endParaRPr>
        </a:p>
      </dgm:t>
    </dgm:pt>
    <dgm:pt modelId="{0ECDFF45-D6A1-428A-89C5-3FA0E91CACBE}" type="parTrans" cxnId="{54210615-8E20-45F3-A61E-8A7F1AD4E7BA}">
      <dgm:prSet/>
      <dgm:spPr/>
      <dgm:t>
        <a:bodyPr/>
        <a:lstStyle/>
        <a:p>
          <a:endParaRPr lang="zh-CN" altLang="en-US">
            <a:solidFill>
              <a:schemeClr val="tx1"/>
            </a:solidFill>
          </a:endParaRPr>
        </a:p>
      </dgm:t>
    </dgm:pt>
    <dgm:pt modelId="{911307ED-3B87-4132-8EC2-829B78D42D83}" type="sibTrans" cxnId="{54210615-8E20-45F3-A61E-8A7F1AD4E7BA}">
      <dgm:prSet/>
      <dgm:spPr/>
      <dgm:t>
        <a:bodyPr/>
        <a:lstStyle/>
        <a:p>
          <a:endParaRPr lang="zh-CN" altLang="en-US">
            <a:solidFill>
              <a:schemeClr val="tx1"/>
            </a:solidFill>
          </a:endParaRPr>
        </a:p>
      </dgm:t>
    </dgm:pt>
    <dgm:pt modelId="{F0B87939-F63F-436C-9840-8C9AD9A86E4B}">
      <dgm:prSet phldrT="[文本]"/>
      <dgm:spPr/>
      <dgm:t>
        <a:bodyPr/>
        <a:lstStyle/>
        <a:p>
          <a:r>
            <a:rPr lang="zh-CN" altLang="en-US" dirty="0" smtClean="0">
              <a:solidFill>
                <a:schemeClr val="tx1"/>
              </a:solidFill>
            </a:rPr>
            <a:t>进入新一轮的行为轨迹</a:t>
          </a:r>
          <a:endParaRPr lang="zh-CN" altLang="en-US" dirty="0">
            <a:solidFill>
              <a:schemeClr val="tx1"/>
            </a:solidFill>
          </a:endParaRPr>
        </a:p>
      </dgm:t>
    </dgm:pt>
    <dgm:pt modelId="{CD37C111-D5BD-4C97-B302-84C1A68E1FA4}" type="parTrans" cxnId="{79D7D547-CBF8-47AB-B0F8-22DAED54D6A4}">
      <dgm:prSet/>
      <dgm:spPr/>
      <dgm:t>
        <a:bodyPr/>
        <a:lstStyle/>
        <a:p>
          <a:endParaRPr lang="zh-CN" altLang="en-US">
            <a:solidFill>
              <a:schemeClr val="tx1"/>
            </a:solidFill>
          </a:endParaRPr>
        </a:p>
      </dgm:t>
    </dgm:pt>
    <dgm:pt modelId="{9E9D4280-A948-4B22-94EE-A639FD90D7FA}" type="sibTrans" cxnId="{79D7D547-CBF8-47AB-B0F8-22DAED54D6A4}">
      <dgm:prSet/>
      <dgm:spPr/>
      <dgm:t>
        <a:bodyPr/>
        <a:lstStyle/>
        <a:p>
          <a:endParaRPr lang="zh-CN" altLang="en-US">
            <a:solidFill>
              <a:schemeClr val="tx1"/>
            </a:solidFill>
          </a:endParaRPr>
        </a:p>
      </dgm:t>
    </dgm:pt>
    <dgm:pt modelId="{F5CE8E04-EA00-474F-9D2C-E56CF1ED4CAF}" type="pres">
      <dgm:prSet presAssocID="{9C493069-78F2-4EAF-A1E6-EA4A44049934}" presName="rootnode" presStyleCnt="0">
        <dgm:presLayoutVars>
          <dgm:chMax/>
          <dgm:chPref/>
          <dgm:dir/>
          <dgm:animLvl val="lvl"/>
        </dgm:presLayoutVars>
      </dgm:prSet>
      <dgm:spPr/>
      <dgm:t>
        <a:bodyPr/>
        <a:lstStyle/>
        <a:p>
          <a:endParaRPr lang="zh-CN" altLang="en-US"/>
        </a:p>
      </dgm:t>
    </dgm:pt>
    <dgm:pt modelId="{1DFB82EF-84CC-41D2-B808-5C2D83BBDF1B}" type="pres">
      <dgm:prSet presAssocID="{C629BECD-A8C8-4263-A41B-0A37767E16EF}" presName="composite" presStyleCnt="0"/>
      <dgm:spPr/>
    </dgm:pt>
    <dgm:pt modelId="{37A6B09D-6B75-4AFB-8824-DF977363DA5E}" type="pres">
      <dgm:prSet presAssocID="{C629BECD-A8C8-4263-A41B-0A37767E16EF}" presName="bentUpArrow1" presStyleLbl="alignImgPlace1" presStyleIdx="0" presStyleCnt="2"/>
      <dgm:spPr/>
    </dgm:pt>
    <dgm:pt modelId="{3C1139DB-9E74-452C-8FCC-3DAAE8878492}" type="pres">
      <dgm:prSet presAssocID="{C629BECD-A8C8-4263-A41B-0A37767E16EF}" presName="ParentText" presStyleLbl="node1" presStyleIdx="0" presStyleCnt="3">
        <dgm:presLayoutVars>
          <dgm:chMax val="1"/>
          <dgm:chPref val="1"/>
          <dgm:bulletEnabled val="1"/>
        </dgm:presLayoutVars>
      </dgm:prSet>
      <dgm:spPr/>
      <dgm:t>
        <a:bodyPr/>
        <a:lstStyle/>
        <a:p>
          <a:endParaRPr lang="zh-CN" altLang="en-US"/>
        </a:p>
      </dgm:t>
    </dgm:pt>
    <dgm:pt modelId="{285D609F-13A2-4A06-A556-4C7E4F0693B9}" type="pres">
      <dgm:prSet presAssocID="{C629BECD-A8C8-4263-A41B-0A37767E16EF}" presName="ChildText" presStyleLbl="revTx" presStyleIdx="0" presStyleCnt="3">
        <dgm:presLayoutVars>
          <dgm:chMax val="0"/>
          <dgm:chPref val="0"/>
          <dgm:bulletEnabled val="1"/>
        </dgm:presLayoutVars>
      </dgm:prSet>
      <dgm:spPr/>
      <dgm:t>
        <a:bodyPr/>
        <a:lstStyle/>
        <a:p>
          <a:endParaRPr lang="zh-CN" altLang="en-US"/>
        </a:p>
      </dgm:t>
    </dgm:pt>
    <dgm:pt modelId="{A087BC7F-EB11-4287-94DC-8B1BC1F9585F}" type="pres">
      <dgm:prSet presAssocID="{C4E669CF-032A-4802-ADB6-59A213006FE6}" presName="sibTrans" presStyleCnt="0"/>
      <dgm:spPr/>
    </dgm:pt>
    <dgm:pt modelId="{EF626105-8B7D-4827-8576-CD417D6AE9AE}" type="pres">
      <dgm:prSet presAssocID="{E324094D-7473-4059-BE13-951FD91D32E3}" presName="composite" presStyleCnt="0"/>
      <dgm:spPr/>
    </dgm:pt>
    <dgm:pt modelId="{26C9C29A-F951-4375-94F6-DDC4949988DC}" type="pres">
      <dgm:prSet presAssocID="{E324094D-7473-4059-BE13-951FD91D32E3}" presName="bentUpArrow1" presStyleLbl="alignImgPlace1" presStyleIdx="1" presStyleCnt="2"/>
      <dgm:spPr/>
    </dgm:pt>
    <dgm:pt modelId="{73F3E6C2-3A33-4CE3-BBAC-F67617D4FF97}" type="pres">
      <dgm:prSet presAssocID="{E324094D-7473-4059-BE13-951FD91D32E3}" presName="ParentText" presStyleLbl="node1" presStyleIdx="1" presStyleCnt="3">
        <dgm:presLayoutVars>
          <dgm:chMax val="1"/>
          <dgm:chPref val="1"/>
          <dgm:bulletEnabled val="1"/>
        </dgm:presLayoutVars>
      </dgm:prSet>
      <dgm:spPr/>
      <dgm:t>
        <a:bodyPr/>
        <a:lstStyle/>
        <a:p>
          <a:endParaRPr lang="zh-CN" altLang="en-US"/>
        </a:p>
      </dgm:t>
    </dgm:pt>
    <dgm:pt modelId="{7586142A-BE38-432C-9AC1-07894173DDE4}" type="pres">
      <dgm:prSet presAssocID="{E324094D-7473-4059-BE13-951FD91D32E3}" presName="ChildText" presStyleLbl="revTx" presStyleIdx="1" presStyleCnt="3" custScaleX="194388" custLinFactNeighborX="46980">
        <dgm:presLayoutVars>
          <dgm:chMax val="0"/>
          <dgm:chPref val="0"/>
          <dgm:bulletEnabled val="1"/>
        </dgm:presLayoutVars>
      </dgm:prSet>
      <dgm:spPr/>
      <dgm:t>
        <a:bodyPr/>
        <a:lstStyle/>
        <a:p>
          <a:endParaRPr lang="zh-CN" altLang="en-US"/>
        </a:p>
      </dgm:t>
    </dgm:pt>
    <dgm:pt modelId="{D52A7D8C-E1C8-4297-8407-DE3089CC1134}" type="pres">
      <dgm:prSet presAssocID="{421CAA65-8F2F-4030-AA72-3817A7F9920E}" presName="sibTrans" presStyleCnt="0"/>
      <dgm:spPr/>
    </dgm:pt>
    <dgm:pt modelId="{716895EC-691B-4F2F-A4CB-32CE579AEB7E}" type="pres">
      <dgm:prSet presAssocID="{0E554BB7-6E01-4267-BDB6-2FCAF5D0159C}" presName="composite" presStyleCnt="0"/>
      <dgm:spPr/>
    </dgm:pt>
    <dgm:pt modelId="{7C077CC6-3432-45C6-9885-BABF862B7824}" type="pres">
      <dgm:prSet presAssocID="{0E554BB7-6E01-4267-BDB6-2FCAF5D0159C}" presName="ParentText" presStyleLbl="node1" presStyleIdx="2" presStyleCnt="3">
        <dgm:presLayoutVars>
          <dgm:chMax val="1"/>
          <dgm:chPref val="1"/>
          <dgm:bulletEnabled val="1"/>
        </dgm:presLayoutVars>
      </dgm:prSet>
      <dgm:spPr/>
      <dgm:t>
        <a:bodyPr/>
        <a:lstStyle/>
        <a:p>
          <a:endParaRPr lang="zh-CN" altLang="en-US"/>
        </a:p>
      </dgm:t>
    </dgm:pt>
    <dgm:pt modelId="{E0586BB6-A9E5-4D0E-AE03-B308F3CDF534}" type="pres">
      <dgm:prSet presAssocID="{0E554BB7-6E01-4267-BDB6-2FCAF5D0159C}" presName="FinalChildText" presStyleLbl="revTx" presStyleIdx="2" presStyleCnt="3">
        <dgm:presLayoutVars>
          <dgm:chMax val="0"/>
          <dgm:chPref val="0"/>
          <dgm:bulletEnabled val="1"/>
        </dgm:presLayoutVars>
      </dgm:prSet>
      <dgm:spPr/>
      <dgm:t>
        <a:bodyPr/>
        <a:lstStyle/>
        <a:p>
          <a:endParaRPr lang="zh-CN" altLang="en-US"/>
        </a:p>
      </dgm:t>
    </dgm:pt>
  </dgm:ptLst>
  <dgm:cxnLst>
    <dgm:cxn modelId="{BE156258-6EA4-4651-84BF-4527FA6E09EE}" type="presOf" srcId="{E324094D-7473-4059-BE13-951FD91D32E3}" destId="{73F3E6C2-3A33-4CE3-BBAC-F67617D4FF97}" srcOrd="0" destOrd="0" presId="urn:microsoft.com/office/officeart/2005/8/layout/StepDownProcess"/>
    <dgm:cxn modelId="{80199FAE-4BF0-4157-AC28-CC64CFF0DE98}" type="presOf" srcId="{C629BECD-A8C8-4263-A41B-0A37767E16EF}" destId="{3C1139DB-9E74-452C-8FCC-3DAAE8878492}" srcOrd="0" destOrd="0" presId="urn:microsoft.com/office/officeart/2005/8/layout/StepDownProcess"/>
    <dgm:cxn modelId="{F409D472-AF61-437B-A4E7-921CF7FAE1A0}" srcId="{9C493069-78F2-4EAF-A1E6-EA4A44049934}" destId="{C629BECD-A8C8-4263-A41B-0A37767E16EF}" srcOrd="0" destOrd="0" parTransId="{C7EB91CA-5889-417C-8044-7AE1ADCF1C2C}" sibTransId="{C4E669CF-032A-4802-ADB6-59A213006FE6}"/>
    <dgm:cxn modelId="{79D7D547-CBF8-47AB-B0F8-22DAED54D6A4}" srcId="{6EEDF248-5B8A-4896-83F3-7873985B6A4B}" destId="{F0B87939-F63F-436C-9840-8C9AD9A86E4B}" srcOrd="0" destOrd="0" parTransId="{CD37C111-D5BD-4C97-B302-84C1A68E1FA4}" sibTransId="{9E9D4280-A948-4B22-94EE-A639FD90D7FA}"/>
    <dgm:cxn modelId="{D88508EB-5AE5-4433-BA1C-EA419A734CB8}" srcId="{C629BECD-A8C8-4263-A41B-0A37767E16EF}" destId="{12331E29-4C73-45EC-8DD1-293561FA7CDE}" srcOrd="0" destOrd="0" parTransId="{348ADE9D-857B-4525-99F9-FCB31C9C9F6A}" sibTransId="{15517F46-AE5A-4B22-83F1-3E9FF19FFD12}"/>
    <dgm:cxn modelId="{EBB0E562-3FAA-4733-9C29-41F0BB8DEDE3}" srcId="{0E554BB7-6E01-4267-BDB6-2FCAF5D0159C}" destId="{1C791D4D-58F9-42F0-A098-52272C47CE04}" srcOrd="0" destOrd="0" parTransId="{ABAB625A-47D5-44B2-BA19-E56FD7BCBCFE}" sibTransId="{38A47B34-8FF5-41FC-88E5-68616A55DFE4}"/>
    <dgm:cxn modelId="{13C8B2C2-97D2-4632-B1CE-5E4988CEB3DD}" type="presOf" srcId="{1C791D4D-58F9-42F0-A098-52272C47CE04}" destId="{E0586BB6-A9E5-4D0E-AE03-B308F3CDF534}" srcOrd="0" destOrd="0" presId="urn:microsoft.com/office/officeart/2005/8/layout/StepDownProcess"/>
    <dgm:cxn modelId="{23E2F7BE-3477-49BF-8D64-9F576F2AB1AE}" type="presOf" srcId="{12331E29-4C73-45EC-8DD1-293561FA7CDE}" destId="{285D609F-13A2-4A06-A556-4C7E4F0693B9}" srcOrd="0" destOrd="0" presId="urn:microsoft.com/office/officeart/2005/8/layout/StepDownProcess"/>
    <dgm:cxn modelId="{3EC02C39-2FAA-46F5-A967-B4F0A9F2BDA2}" srcId="{9C493069-78F2-4EAF-A1E6-EA4A44049934}" destId="{0E554BB7-6E01-4267-BDB6-2FCAF5D0159C}" srcOrd="2" destOrd="0" parTransId="{3DAE3CFA-02FC-4AF9-8F3C-F5ACA1D2A0A4}" sibTransId="{AACD8F5B-3ACE-4F58-A4F3-4F8CB93A2402}"/>
    <dgm:cxn modelId="{54210615-8E20-45F3-A61E-8A7F1AD4E7BA}" srcId="{0E554BB7-6E01-4267-BDB6-2FCAF5D0159C}" destId="{4350099F-081F-4B78-A3B3-C2C8B1E74834}" srcOrd="1" destOrd="0" parTransId="{0ECDFF45-D6A1-428A-89C5-3FA0E91CACBE}" sibTransId="{911307ED-3B87-4132-8EC2-829B78D42D83}"/>
    <dgm:cxn modelId="{E573AB41-A24A-4B1E-A350-8770ADDDE9B8}" type="presOf" srcId="{9C493069-78F2-4EAF-A1E6-EA4A44049934}" destId="{F5CE8E04-EA00-474F-9D2C-E56CF1ED4CAF}" srcOrd="0" destOrd="0" presId="urn:microsoft.com/office/officeart/2005/8/layout/StepDownProcess"/>
    <dgm:cxn modelId="{F41863BE-FD7D-4059-AFB8-D3A658BD9CD8}" type="presOf" srcId="{4350099F-081F-4B78-A3B3-C2C8B1E74834}" destId="{E0586BB6-A9E5-4D0E-AE03-B308F3CDF534}" srcOrd="0" destOrd="1" presId="urn:microsoft.com/office/officeart/2005/8/layout/StepDownProcess"/>
    <dgm:cxn modelId="{1AC25CA3-E53D-4305-80BB-794E85EFF1CA}" srcId="{9C493069-78F2-4EAF-A1E6-EA4A44049934}" destId="{E324094D-7473-4059-BE13-951FD91D32E3}" srcOrd="1" destOrd="0" parTransId="{1C1D123C-F1DC-4852-A6DD-FE66A7743A4E}" sibTransId="{421CAA65-8F2F-4030-AA72-3817A7F9920E}"/>
    <dgm:cxn modelId="{343A0433-6787-4E41-AA15-6E61D7D0C930}" srcId="{E324094D-7473-4059-BE13-951FD91D32E3}" destId="{6EEDF248-5B8A-4896-83F3-7873985B6A4B}" srcOrd="0" destOrd="0" parTransId="{EA205EA9-1D94-4BA1-A78F-1AD06D15B615}" sibTransId="{AD5678F6-5C0E-40F7-8874-5D47F9F57A99}"/>
    <dgm:cxn modelId="{DEBD4B57-0B6E-4200-AD09-854D784906E6}" type="presOf" srcId="{6EEDF248-5B8A-4896-83F3-7873985B6A4B}" destId="{7586142A-BE38-432C-9AC1-07894173DDE4}" srcOrd="0" destOrd="0" presId="urn:microsoft.com/office/officeart/2005/8/layout/StepDownProcess"/>
    <dgm:cxn modelId="{89196953-F5A2-4F65-BC65-C2B135CF0125}" type="presOf" srcId="{0E554BB7-6E01-4267-BDB6-2FCAF5D0159C}" destId="{7C077CC6-3432-45C6-9885-BABF862B7824}" srcOrd="0" destOrd="0" presId="urn:microsoft.com/office/officeart/2005/8/layout/StepDownProcess"/>
    <dgm:cxn modelId="{6CAF062C-34EB-4989-902D-251A0E86C31A}" type="presOf" srcId="{F0B87939-F63F-436C-9840-8C9AD9A86E4B}" destId="{7586142A-BE38-432C-9AC1-07894173DDE4}" srcOrd="0" destOrd="1" presId="urn:microsoft.com/office/officeart/2005/8/layout/StepDownProcess"/>
    <dgm:cxn modelId="{A20DF77A-C76B-4533-913E-DEEA984FE632}" type="presParOf" srcId="{F5CE8E04-EA00-474F-9D2C-E56CF1ED4CAF}" destId="{1DFB82EF-84CC-41D2-B808-5C2D83BBDF1B}" srcOrd="0" destOrd="0" presId="urn:microsoft.com/office/officeart/2005/8/layout/StepDownProcess"/>
    <dgm:cxn modelId="{CD6CFA38-A7D4-46D4-87C1-794AADACB854}" type="presParOf" srcId="{1DFB82EF-84CC-41D2-B808-5C2D83BBDF1B}" destId="{37A6B09D-6B75-4AFB-8824-DF977363DA5E}" srcOrd="0" destOrd="0" presId="urn:microsoft.com/office/officeart/2005/8/layout/StepDownProcess"/>
    <dgm:cxn modelId="{BC458174-7096-4FB3-8918-7043E66520B9}" type="presParOf" srcId="{1DFB82EF-84CC-41D2-B808-5C2D83BBDF1B}" destId="{3C1139DB-9E74-452C-8FCC-3DAAE8878492}" srcOrd="1" destOrd="0" presId="urn:microsoft.com/office/officeart/2005/8/layout/StepDownProcess"/>
    <dgm:cxn modelId="{36645C85-03D2-4E8B-AAF7-115DD3F6D8E9}" type="presParOf" srcId="{1DFB82EF-84CC-41D2-B808-5C2D83BBDF1B}" destId="{285D609F-13A2-4A06-A556-4C7E4F0693B9}" srcOrd="2" destOrd="0" presId="urn:microsoft.com/office/officeart/2005/8/layout/StepDownProcess"/>
    <dgm:cxn modelId="{7A2367A0-F4C9-469E-A995-AD521DA768C1}" type="presParOf" srcId="{F5CE8E04-EA00-474F-9D2C-E56CF1ED4CAF}" destId="{A087BC7F-EB11-4287-94DC-8B1BC1F9585F}" srcOrd="1" destOrd="0" presId="urn:microsoft.com/office/officeart/2005/8/layout/StepDownProcess"/>
    <dgm:cxn modelId="{7379B495-C6EB-4D6A-B42A-D27FA26DDCD3}" type="presParOf" srcId="{F5CE8E04-EA00-474F-9D2C-E56CF1ED4CAF}" destId="{EF626105-8B7D-4827-8576-CD417D6AE9AE}" srcOrd="2" destOrd="0" presId="urn:microsoft.com/office/officeart/2005/8/layout/StepDownProcess"/>
    <dgm:cxn modelId="{A85072F6-2CE1-40D6-AAFF-7D7F1C58B16A}" type="presParOf" srcId="{EF626105-8B7D-4827-8576-CD417D6AE9AE}" destId="{26C9C29A-F951-4375-94F6-DDC4949988DC}" srcOrd="0" destOrd="0" presId="urn:microsoft.com/office/officeart/2005/8/layout/StepDownProcess"/>
    <dgm:cxn modelId="{C5AD08CE-387D-4B00-AA53-825051647E1E}" type="presParOf" srcId="{EF626105-8B7D-4827-8576-CD417D6AE9AE}" destId="{73F3E6C2-3A33-4CE3-BBAC-F67617D4FF97}" srcOrd="1" destOrd="0" presId="urn:microsoft.com/office/officeart/2005/8/layout/StepDownProcess"/>
    <dgm:cxn modelId="{BEA3A100-C81F-4BFF-9ECA-278B84DD87FE}" type="presParOf" srcId="{EF626105-8B7D-4827-8576-CD417D6AE9AE}" destId="{7586142A-BE38-432C-9AC1-07894173DDE4}" srcOrd="2" destOrd="0" presId="urn:microsoft.com/office/officeart/2005/8/layout/StepDownProcess"/>
    <dgm:cxn modelId="{B94DF6CD-FC9A-495C-B472-DD880CA045E1}" type="presParOf" srcId="{F5CE8E04-EA00-474F-9D2C-E56CF1ED4CAF}" destId="{D52A7D8C-E1C8-4297-8407-DE3089CC1134}" srcOrd="3" destOrd="0" presId="urn:microsoft.com/office/officeart/2005/8/layout/StepDownProcess"/>
    <dgm:cxn modelId="{4917ED83-1599-4E90-A91F-607ABEC96C56}" type="presParOf" srcId="{F5CE8E04-EA00-474F-9D2C-E56CF1ED4CAF}" destId="{716895EC-691B-4F2F-A4CB-32CE579AEB7E}" srcOrd="4" destOrd="0" presId="urn:microsoft.com/office/officeart/2005/8/layout/StepDownProcess"/>
    <dgm:cxn modelId="{7A297DDB-743D-48A5-937B-D5E0B0D6D439}" type="presParOf" srcId="{716895EC-691B-4F2F-A4CB-32CE579AEB7E}" destId="{7C077CC6-3432-45C6-9885-BABF862B7824}" srcOrd="0" destOrd="0" presId="urn:microsoft.com/office/officeart/2005/8/layout/StepDownProcess"/>
    <dgm:cxn modelId="{8012FA9B-4913-4C4B-9A76-1C5858F81C87}" type="presParOf" srcId="{716895EC-691B-4F2F-A4CB-32CE579AEB7E}" destId="{E0586BB6-A9E5-4D0E-AE03-B308F3CDF534}" srcOrd="1"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9BA8E957-3E98-4C6D-B0FF-BD52999030C4}"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zh-CN" altLang="en-US"/>
        </a:p>
      </dgm:t>
    </dgm:pt>
    <dgm:pt modelId="{0E7C2F30-9C98-4638-BA34-4EC2363D8846}">
      <dgm:prSet phldrT="[文本]"/>
      <dgm:spPr/>
      <dgm:t>
        <a:bodyPr/>
        <a:lstStyle/>
        <a:p>
          <a:r>
            <a:rPr lang="zh-CN" altLang="en-US" dirty="0" smtClean="0">
              <a:solidFill>
                <a:schemeClr val="tx1"/>
              </a:solidFill>
            </a:rPr>
            <a:t>需转移类</a:t>
          </a:r>
          <a:endParaRPr lang="zh-CN" altLang="en-US" dirty="0">
            <a:solidFill>
              <a:schemeClr val="tx1"/>
            </a:solidFill>
          </a:endParaRPr>
        </a:p>
      </dgm:t>
    </dgm:pt>
    <dgm:pt modelId="{227E7F01-FA18-4C67-9A91-EA51F58125C1}" type="parTrans" cxnId="{A25CB76D-6BA8-4D84-A414-08DDB23A50DD}">
      <dgm:prSet/>
      <dgm:spPr/>
      <dgm:t>
        <a:bodyPr/>
        <a:lstStyle/>
        <a:p>
          <a:endParaRPr lang="zh-CN" altLang="en-US">
            <a:solidFill>
              <a:schemeClr val="tx1"/>
            </a:solidFill>
          </a:endParaRPr>
        </a:p>
      </dgm:t>
    </dgm:pt>
    <dgm:pt modelId="{96EF6C5C-353A-4EDE-9EFA-356F4D8652FF}" type="sibTrans" cxnId="{A25CB76D-6BA8-4D84-A414-08DDB23A50DD}">
      <dgm:prSet/>
      <dgm:spPr/>
      <dgm:t>
        <a:bodyPr/>
        <a:lstStyle/>
        <a:p>
          <a:endParaRPr lang="zh-CN" altLang="en-US">
            <a:solidFill>
              <a:schemeClr val="tx1"/>
            </a:solidFill>
          </a:endParaRPr>
        </a:p>
      </dgm:t>
    </dgm:pt>
    <dgm:pt modelId="{E360B3B7-C2B7-42AD-9A95-F227C2C11B45}">
      <dgm:prSet phldrT="[文本]"/>
      <dgm:spPr/>
      <dgm:t>
        <a:bodyPr/>
        <a:lstStyle/>
        <a:p>
          <a:r>
            <a:rPr lang="zh-CN" altLang="en-US" dirty="0" smtClean="0">
              <a:solidFill>
                <a:schemeClr val="tx1"/>
              </a:solidFill>
            </a:rPr>
            <a:t>整理打包</a:t>
          </a:r>
          <a:endParaRPr lang="zh-CN" altLang="en-US" dirty="0">
            <a:solidFill>
              <a:schemeClr val="tx1"/>
            </a:solidFill>
          </a:endParaRPr>
        </a:p>
      </dgm:t>
    </dgm:pt>
    <dgm:pt modelId="{C9FAC83E-3CF1-4D82-AE15-C7D35AEBE21D}" type="parTrans" cxnId="{638B3435-3D9D-4B4D-9642-607A1B114186}">
      <dgm:prSet/>
      <dgm:spPr/>
      <dgm:t>
        <a:bodyPr/>
        <a:lstStyle/>
        <a:p>
          <a:endParaRPr lang="zh-CN" altLang="en-US">
            <a:solidFill>
              <a:schemeClr val="tx1"/>
            </a:solidFill>
          </a:endParaRPr>
        </a:p>
      </dgm:t>
    </dgm:pt>
    <dgm:pt modelId="{9336B006-6A3B-4ED6-B254-DFEB438ED37A}" type="sibTrans" cxnId="{638B3435-3D9D-4B4D-9642-607A1B114186}">
      <dgm:prSet/>
      <dgm:spPr/>
      <dgm:t>
        <a:bodyPr/>
        <a:lstStyle/>
        <a:p>
          <a:endParaRPr lang="zh-CN" altLang="en-US">
            <a:solidFill>
              <a:schemeClr val="tx1"/>
            </a:solidFill>
          </a:endParaRPr>
        </a:p>
      </dgm:t>
    </dgm:pt>
    <dgm:pt modelId="{73EE1F64-C38A-4D21-9D1D-DBE9A02B1F7D}">
      <dgm:prSet phldrT="[文本]"/>
      <dgm:spPr/>
      <dgm:t>
        <a:bodyPr/>
        <a:lstStyle/>
        <a:p>
          <a:r>
            <a:rPr lang="zh-CN" altLang="en-US" dirty="0" smtClean="0">
              <a:solidFill>
                <a:schemeClr val="tx1"/>
              </a:solidFill>
            </a:rPr>
            <a:t>建立传输通道</a:t>
          </a:r>
          <a:endParaRPr lang="zh-CN" altLang="en-US" dirty="0">
            <a:solidFill>
              <a:schemeClr val="tx1"/>
            </a:solidFill>
          </a:endParaRPr>
        </a:p>
      </dgm:t>
    </dgm:pt>
    <dgm:pt modelId="{707793FD-1B6B-412F-B6EB-8F8666483D01}" type="parTrans" cxnId="{80674536-F50D-4663-9806-8D1A7206BEFF}">
      <dgm:prSet/>
      <dgm:spPr/>
      <dgm:t>
        <a:bodyPr/>
        <a:lstStyle/>
        <a:p>
          <a:endParaRPr lang="zh-CN" altLang="en-US">
            <a:solidFill>
              <a:schemeClr val="tx1"/>
            </a:solidFill>
          </a:endParaRPr>
        </a:p>
      </dgm:t>
    </dgm:pt>
    <dgm:pt modelId="{B715C405-14FE-4757-9B71-8AF2D07A1B89}" type="sibTrans" cxnId="{80674536-F50D-4663-9806-8D1A7206BEFF}">
      <dgm:prSet/>
      <dgm:spPr/>
      <dgm:t>
        <a:bodyPr/>
        <a:lstStyle/>
        <a:p>
          <a:endParaRPr lang="zh-CN" altLang="en-US">
            <a:solidFill>
              <a:schemeClr val="tx1"/>
            </a:solidFill>
          </a:endParaRPr>
        </a:p>
      </dgm:t>
    </dgm:pt>
    <dgm:pt modelId="{D37C8458-1201-4E59-B5A2-A381B5EB8C06}">
      <dgm:prSet phldrT="[文本]"/>
      <dgm:spPr/>
      <dgm:t>
        <a:bodyPr/>
        <a:lstStyle/>
        <a:p>
          <a:r>
            <a:rPr lang="zh-CN" altLang="en-US" dirty="0" smtClean="0">
              <a:solidFill>
                <a:schemeClr val="tx1"/>
              </a:solidFill>
            </a:rPr>
            <a:t>实施转移</a:t>
          </a:r>
          <a:endParaRPr lang="zh-CN" altLang="en-US" dirty="0">
            <a:solidFill>
              <a:schemeClr val="tx1"/>
            </a:solidFill>
          </a:endParaRPr>
        </a:p>
      </dgm:t>
    </dgm:pt>
    <dgm:pt modelId="{D7E08929-8982-40DC-B46A-AB5981464BBB}" type="parTrans" cxnId="{9EB1C3E6-85B5-40AD-A288-134483B55D6D}">
      <dgm:prSet/>
      <dgm:spPr/>
      <dgm:t>
        <a:bodyPr/>
        <a:lstStyle/>
        <a:p>
          <a:endParaRPr lang="zh-CN" altLang="en-US">
            <a:solidFill>
              <a:schemeClr val="tx1"/>
            </a:solidFill>
          </a:endParaRPr>
        </a:p>
      </dgm:t>
    </dgm:pt>
    <dgm:pt modelId="{AFF61192-59E3-4C4D-AEE5-375E9DCB5422}" type="sibTrans" cxnId="{9EB1C3E6-85B5-40AD-A288-134483B55D6D}">
      <dgm:prSet/>
      <dgm:spPr/>
      <dgm:t>
        <a:bodyPr/>
        <a:lstStyle/>
        <a:p>
          <a:endParaRPr lang="zh-CN" altLang="en-US">
            <a:solidFill>
              <a:schemeClr val="tx1"/>
            </a:solidFill>
          </a:endParaRPr>
        </a:p>
      </dgm:t>
    </dgm:pt>
    <dgm:pt modelId="{25517DD7-DB1A-4D3B-830D-8D2C066F5746}">
      <dgm:prSet phldrT="[文本]"/>
      <dgm:spPr/>
      <dgm:t>
        <a:bodyPr/>
        <a:lstStyle/>
        <a:p>
          <a:r>
            <a:rPr lang="zh-CN" altLang="en-US" dirty="0" smtClean="0">
              <a:solidFill>
                <a:schemeClr val="tx1"/>
              </a:solidFill>
            </a:rPr>
            <a:t>非转移类</a:t>
          </a:r>
          <a:endParaRPr lang="zh-CN" altLang="en-US" dirty="0">
            <a:solidFill>
              <a:schemeClr val="tx1"/>
            </a:solidFill>
          </a:endParaRPr>
        </a:p>
      </dgm:t>
    </dgm:pt>
    <dgm:pt modelId="{D6186B5F-C5D3-48EB-A7DD-916C6D7D0041}" type="parTrans" cxnId="{C62FC481-10C0-45E8-8F30-D49B2E9F753F}">
      <dgm:prSet/>
      <dgm:spPr/>
      <dgm:t>
        <a:bodyPr/>
        <a:lstStyle/>
        <a:p>
          <a:endParaRPr lang="zh-CN" altLang="en-US">
            <a:solidFill>
              <a:schemeClr val="tx1"/>
            </a:solidFill>
          </a:endParaRPr>
        </a:p>
      </dgm:t>
    </dgm:pt>
    <dgm:pt modelId="{FE98D03A-065F-4E44-B54C-AF4DF9E22CE2}" type="sibTrans" cxnId="{C62FC481-10C0-45E8-8F30-D49B2E9F753F}">
      <dgm:prSet/>
      <dgm:spPr/>
      <dgm:t>
        <a:bodyPr/>
        <a:lstStyle/>
        <a:p>
          <a:endParaRPr lang="zh-CN" altLang="en-US">
            <a:solidFill>
              <a:schemeClr val="tx1"/>
            </a:solidFill>
          </a:endParaRPr>
        </a:p>
      </dgm:t>
    </dgm:pt>
    <dgm:pt modelId="{529F289C-1325-4703-879B-35E712238ECD}">
      <dgm:prSet phldrT="[文本]"/>
      <dgm:spPr/>
      <dgm:t>
        <a:bodyPr/>
        <a:lstStyle/>
        <a:p>
          <a:r>
            <a:rPr lang="zh-CN" altLang="en-US" dirty="0" smtClean="0">
              <a:solidFill>
                <a:schemeClr val="tx1"/>
              </a:solidFill>
            </a:rPr>
            <a:t>直接窃取信息</a:t>
          </a:r>
          <a:endParaRPr lang="zh-CN" altLang="en-US" dirty="0">
            <a:solidFill>
              <a:schemeClr val="tx1"/>
            </a:solidFill>
          </a:endParaRPr>
        </a:p>
      </dgm:t>
    </dgm:pt>
    <dgm:pt modelId="{6B7B38C0-2B59-4928-9476-E23CC9D30B51}" type="parTrans" cxnId="{E6DCC512-B469-47E9-8BD5-97E2EF934021}">
      <dgm:prSet/>
      <dgm:spPr/>
      <dgm:t>
        <a:bodyPr/>
        <a:lstStyle/>
        <a:p>
          <a:endParaRPr lang="zh-CN" altLang="en-US">
            <a:solidFill>
              <a:schemeClr val="tx1"/>
            </a:solidFill>
          </a:endParaRPr>
        </a:p>
      </dgm:t>
    </dgm:pt>
    <dgm:pt modelId="{F07CE773-962C-4161-92F9-46862F6C77F2}" type="sibTrans" cxnId="{E6DCC512-B469-47E9-8BD5-97E2EF934021}">
      <dgm:prSet/>
      <dgm:spPr/>
      <dgm:t>
        <a:bodyPr/>
        <a:lstStyle/>
        <a:p>
          <a:endParaRPr lang="zh-CN" altLang="en-US">
            <a:solidFill>
              <a:schemeClr val="tx1"/>
            </a:solidFill>
          </a:endParaRPr>
        </a:p>
      </dgm:t>
    </dgm:pt>
    <dgm:pt modelId="{496B2D8F-7668-43FD-9309-1874965F02E6}">
      <dgm:prSet phldrT="[文本]"/>
      <dgm:spPr/>
      <dgm:t>
        <a:bodyPr/>
        <a:lstStyle/>
        <a:p>
          <a:r>
            <a:rPr lang="zh-CN" altLang="en-US" dirty="0" smtClean="0">
              <a:solidFill>
                <a:schemeClr val="tx1"/>
              </a:solidFill>
            </a:rPr>
            <a:t>篡改利用</a:t>
          </a:r>
          <a:endParaRPr lang="zh-CN" altLang="en-US" dirty="0">
            <a:solidFill>
              <a:schemeClr val="tx1"/>
            </a:solidFill>
          </a:endParaRPr>
        </a:p>
      </dgm:t>
    </dgm:pt>
    <dgm:pt modelId="{C9A165E6-13B8-4573-9BA7-A6CF0A0623D3}" type="parTrans" cxnId="{10BE6C19-EEE8-4DD7-A0C0-8ACCBB56BAA0}">
      <dgm:prSet/>
      <dgm:spPr/>
      <dgm:t>
        <a:bodyPr/>
        <a:lstStyle/>
        <a:p>
          <a:endParaRPr lang="zh-CN" altLang="en-US">
            <a:solidFill>
              <a:schemeClr val="tx1"/>
            </a:solidFill>
          </a:endParaRPr>
        </a:p>
      </dgm:t>
    </dgm:pt>
    <dgm:pt modelId="{51F0513A-0CCD-4CF3-AA51-BFBC2DE760EA}" type="sibTrans" cxnId="{10BE6C19-EEE8-4DD7-A0C0-8ACCBB56BAA0}">
      <dgm:prSet/>
      <dgm:spPr/>
      <dgm:t>
        <a:bodyPr/>
        <a:lstStyle/>
        <a:p>
          <a:endParaRPr lang="zh-CN" altLang="en-US">
            <a:solidFill>
              <a:schemeClr val="tx1"/>
            </a:solidFill>
          </a:endParaRPr>
        </a:p>
      </dgm:t>
    </dgm:pt>
    <dgm:pt modelId="{73AB6C7C-6241-4963-BAC9-B9A99322D587}">
      <dgm:prSet phldrT="[文本]"/>
      <dgm:spPr/>
      <dgm:t>
        <a:bodyPr/>
        <a:lstStyle/>
        <a:p>
          <a:r>
            <a:rPr lang="zh-CN" altLang="en-US" dirty="0" smtClean="0">
              <a:solidFill>
                <a:schemeClr val="tx1"/>
              </a:solidFill>
            </a:rPr>
            <a:t>转移至外网服务器</a:t>
          </a:r>
          <a:endParaRPr lang="zh-CN" altLang="en-US" dirty="0">
            <a:solidFill>
              <a:schemeClr val="tx1"/>
            </a:solidFill>
          </a:endParaRPr>
        </a:p>
      </dgm:t>
    </dgm:pt>
    <dgm:pt modelId="{58F6AFAF-B2E2-4AA2-9B01-A56799B437F0}" type="parTrans" cxnId="{17BAC996-E5A1-45B4-972F-80E46077F209}">
      <dgm:prSet/>
      <dgm:spPr/>
      <dgm:t>
        <a:bodyPr/>
        <a:lstStyle/>
        <a:p>
          <a:endParaRPr lang="zh-CN" altLang="en-US">
            <a:solidFill>
              <a:schemeClr val="tx1"/>
            </a:solidFill>
          </a:endParaRPr>
        </a:p>
      </dgm:t>
    </dgm:pt>
    <dgm:pt modelId="{6EA99157-4225-4CF0-998F-7F9948F7200C}" type="sibTrans" cxnId="{17BAC996-E5A1-45B4-972F-80E46077F209}">
      <dgm:prSet/>
      <dgm:spPr/>
      <dgm:t>
        <a:bodyPr/>
        <a:lstStyle/>
        <a:p>
          <a:endParaRPr lang="zh-CN" altLang="en-US">
            <a:solidFill>
              <a:schemeClr val="tx1"/>
            </a:solidFill>
          </a:endParaRPr>
        </a:p>
      </dgm:t>
    </dgm:pt>
    <dgm:pt modelId="{0CCA39F3-7E82-40E3-86F7-8009956DBDE0}">
      <dgm:prSet phldrT="[文本]"/>
      <dgm:spPr/>
      <dgm:t>
        <a:bodyPr/>
        <a:lstStyle/>
        <a:p>
          <a:r>
            <a:rPr lang="en-US" altLang="zh-CN" dirty="0" smtClean="0">
              <a:solidFill>
                <a:schemeClr val="tx1"/>
              </a:solidFill>
            </a:rPr>
            <a:t>FTP</a:t>
          </a:r>
          <a:endParaRPr lang="zh-CN" altLang="en-US" dirty="0">
            <a:solidFill>
              <a:schemeClr val="tx1"/>
            </a:solidFill>
          </a:endParaRPr>
        </a:p>
      </dgm:t>
    </dgm:pt>
    <dgm:pt modelId="{E978F1DC-EDF6-4B4D-BD30-32D1C5D6105C}" type="parTrans" cxnId="{1BAB9344-92E4-43E6-AFED-1AEF3E371EBA}">
      <dgm:prSet/>
      <dgm:spPr/>
      <dgm:t>
        <a:bodyPr/>
        <a:lstStyle/>
        <a:p>
          <a:endParaRPr lang="zh-CN" altLang="en-US">
            <a:solidFill>
              <a:schemeClr val="tx1"/>
            </a:solidFill>
          </a:endParaRPr>
        </a:p>
      </dgm:t>
    </dgm:pt>
    <dgm:pt modelId="{75D34E4A-657C-4F35-910B-AD83747C7B58}" type="sibTrans" cxnId="{1BAB9344-92E4-43E6-AFED-1AEF3E371EBA}">
      <dgm:prSet/>
      <dgm:spPr/>
      <dgm:t>
        <a:bodyPr/>
        <a:lstStyle/>
        <a:p>
          <a:endParaRPr lang="zh-CN" altLang="en-US">
            <a:solidFill>
              <a:schemeClr val="tx1"/>
            </a:solidFill>
          </a:endParaRPr>
        </a:p>
      </dgm:t>
    </dgm:pt>
    <dgm:pt modelId="{655DBF6C-D45D-437C-A816-340D86751382}">
      <dgm:prSet phldrT="[文本]"/>
      <dgm:spPr/>
      <dgm:t>
        <a:bodyPr/>
        <a:lstStyle/>
        <a:p>
          <a:r>
            <a:rPr lang="zh-CN" altLang="en-US" dirty="0" smtClean="0">
              <a:solidFill>
                <a:schemeClr val="tx1"/>
              </a:solidFill>
            </a:rPr>
            <a:t>端口复用传输</a:t>
          </a:r>
          <a:endParaRPr lang="zh-CN" altLang="en-US" dirty="0">
            <a:solidFill>
              <a:schemeClr val="tx1"/>
            </a:solidFill>
          </a:endParaRPr>
        </a:p>
      </dgm:t>
    </dgm:pt>
    <dgm:pt modelId="{BE2D6280-7D5E-42A8-B879-F5E3343A0F2E}" type="parTrans" cxnId="{EB81BCBD-A4D4-4926-A400-7BC18447E162}">
      <dgm:prSet/>
      <dgm:spPr/>
      <dgm:t>
        <a:bodyPr/>
        <a:lstStyle/>
        <a:p>
          <a:endParaRPr lang="zh-CN" altLang="en-US">
            <a:solidFill>
              <a:schemeClr val="tx1"/>
            </a:solidFill>
          </a:endParaRPr>
        </a:p>
      </dgm:t>
    </dgm:pt>
    <dgm:pt modelId="{229B27E0-5EBF-4A9B-A07B-CC0B6818D053}" type="sibTrans" cxnId="{EB81BCBD-A4D4-4926-A400-7BC18447E162}">
      <dgm:prSet/>
      <dgm:spPr/>
      <dgm:t>
        <a:bodyPr/>
        <a:lstStyle/>
        <a:p>
          <a:endParaRPr lang="zh-CN" altLang="en-US">
            <a:solidFill>
              <a:schemeClr val="tx1"/>
            </a:solidFill>
          </a:endParaRPr>
        </a:p>
      </dgm:t>
    </dgm:pt>
    <dgm:pt modelId="{A0B43C47-DD68-41F4-8769-5B78208DF454}">
      <dgm:prSet phldrT="[文本]"/>
      <dgm:spPr/>
      <dgm:t>
        <a:bodyPr/>
        <a:lstStyle/>
        <a:p>
          <a:r>
            <a:rPr lang="zh-CN" altLang="en-US" dirty="0" smtClean="0">
              <a:solidFill>
                <a:schemeClr val="tx1"/>
              </a:solidFill>
            </a:rPr>
            <a:t>网盘挟持</a:t>
          </a:r>
          <a:endParaRPr lang="zh-CN" altLang="en-US" dirty="0">
            <a:solidFill>
              <a:schemeClr val="tx1"/>
            </a:solidFill>
          </a:endParaRPr>
        </a:p>
      </dgm:t>
    </dgm:pt>
    <dgm:pt modelId="{2EAA6086-9158-48F8-A90F-96907E984858}" type="parTrans" cxnId="{0ABC8F02-66D5-4AE5-A6B1-ADBCAC50BA4F}">
      <dgm:prSet/>
      <dgm:spPr/>
      <dgm:t>
        <a:bodyPr/>
        <a:lstStyle/>
        <a:p>
          <a:endParaRPr lang="zh-CN" altLang="en-US">
            <a:solidFill>
              <a:schemeClr val="tx1"/>
            </a:solidFill>
          </a:endParaRPr>
        </a:p>
      </dgm:t>
    </dgm:pt>
    <dgm:pt modelId="{9E43C162-FFB7-4E00-8EDC-981D259DFD76}" type="sibTrans" cxnId="{0ABC8F02-66D5-4AE5-A6B1-ADBCAC50BA4F}">
      <dgm:prSet/>
      <dgm:spPr/>
      <dgm:t>
        <a:bodyPr/>
        <a:lstStyle/>
        <a:p>
          <a:endParaRPr lang="zh-CN" altLang="en-US">
            <a:solidFill>
              <a:schemeClr val="tx1"/>
            </a:solidFill>
          </a:endParaRPr>
        </a:p>
      </dgm:t>
    </dgm:pt>
    <dgm:pt modelId="{34D95EF9-0911-48C1-80B0-45FDA0B7A40B}" type="pres">
      <dgm:prSet presAssocID="{9BA8E957-3E98-4C6D-B0FF-BD52999030C4}" presName="linear" presStyleCnt="0">
        <dgm:presLayoutVars>
          <dgm:dir/>
          <dgm:animLvl val="lvl"/>
          <dgm:resizeHandles val="exact"/>
        </dgm:presLayoutVars>
      </dgm:prSet>
      <dgm:spPr/>
      <dgm:t>
        <a:bodyPr/>
        <a:lstStyle/>
        <a:p>
          <a:endParaRPr lang="zh-CN" altLang="en-US"/>
        </a:p>
      </dgm:t>
    </dgm:pt>
    <dgm:pt modelId="{C3022B53-9209-4317-B0FC-82BD15B22C9B}" type="pres">
      <dgm:prSet presAssocID="{0E7C2F30-9C98-4638-BA34-4EC2363D8846}" presName="parentLin" presStyleCnt="0"/>
      <dgm:spPr/>
    </dgm:pt>
    <dgm:pt modelId="{2948D2C1-847F-429A-8522-7C5ACC367C28}" type="pres">
      <dgm:prSet presAssocID="{0E7C2F30-9C98-4638-BA34-4EC2363D8846}" presName="parentLeftMargin" presStyleLbl="node1" presStyleIdx="0" presStyleCnt="2"/>
      <dgm:spPr/>
      <dgm:t>
        <a:bodyPr/>
        <a:lstStyle/>
        <a:p>
          <a:endParaRPr lang="zh-CN" altLang="en-US"/>
        </a:p>
      </dgm:t>
    </dgm:pt>
    <dgm:pt modelId="{4E3D71AC-C397-4068-AFE5-135B73D32131}" type="pres">
      <dgm:prSet presAssocID="{0E7C2F30-9C98-4638-BA34-4EC2363D8846}" presName="parentText" presStyleLbl="node1" presStyleIdx="0" presStyleCnt="2">
        <dgm:presLayoutVars>
          <dgm:chMax val="0"/>
          <dgm:bulletEnabled val="1"/>
        </dgm:presLayoutVars>
      </dgm:prSet>
      <dgm:spPr/>
      <dgm:t>
        <a:bodyPr/>
        <a:lstStyle/>
        <a:p>
          <a:endParaRPr lang="zh-CN" altLang="en-US"/>
        </a:p>
      </dgm:t>
    </dgm:pt>
    <dgm:pt modelId="{255AC084-65A6-4A93-A0B4-DDF2BBA225B2}" type="pres">
      <dgm:prSet presAssocID="{0E7C2F30-9C98-4638-BA34-4EC2363D8846}" presName="negativeSpace" presStyleCnt="0"/>
      <dgm:spPr/>
    </dgm:pt>
    <dgm:pt modelId="{93261C04-3BFF-4EDF-9483-0D0E7468F55D}" type="pres">
      <dgm:prSet presAssocID="{0E7C2F30-9C98-4638-BA34-4EC2363D8846}" presName="childText" presStyleLbl="conFgAcc1" presStyleIdx="0" presStyleCnt="2">
        <dgm:presLayoutVars>
          <dgm:bulletEnabled val="1"/>
        </dgm:presLayoutVars>
      </dgm:prSet>
      <dgm:spPr/>
      <dgm:t>
        <a:bodyPr/>
        <a:lstStyle/>
        <a:p>
          <a:endParaRPr lang="zh-CN" altLang="en-US"/>
        </a:p>
      </dgm:t>
    </dgm:pt>
    <dgm:pt modelId="{A73BE005-4390-4583-AC4B-C46ACC2C1325}" type="pres">
      <dgm:prSet presAssocID="{96EF6C5C-353A-4EDE-9EFA-356F4D8652FF}" presName="spaceBetweenRectangles" presStyleCnt="0"/>
      <dgm:spPr/>
    </dgm:pt>
    <dgm:pt modelId="{4EDF965D-C67A-465D-A18E-589FF1D1FB1D}" type="pres">
      <dgm:prSet presAssocID="{25517DD7-DB1A-4D3B-830D-8D2C066F5746}" presName="parentLin" presStyleCnt="0"/>
      <dgm:spPr/>
    </dgm:pt>
    <dgm:pt modelId="{2C3D7775-3C5F-4971-904B-B34B841D4A71}" type="pres">
      <dgm:prSet presAssocID="{25517DD7-DB1A-4D3B-830D-8D2C066F5746}" presName="parentLeftMargin" presStyleLbl="node1" presStyleIdx="0" presStyleCnt="2"/>
      <dgm:spPr/>
      <dgm:t>
        <a:bodyPr/>
        <a:lstStyle/>
        <a:p>
          <a:endParaRPr lang="zh-CN" altLang="en-US"/>
        </a:p>
      </dgm:t>
    </dgm:pt>
    <dgm:pt modelId="{861C2AD9-C013-44AD-88FE-4C90A416B8B8}" type="pres">
      <dgm:prSet presAssocID="{25517DD7-DB1A-4D3B-830D-8D2C066F5746}" presName="parentText" presStyleLbl="node1" presStyleIdx="1" presStyleCnt="2">
        <dgm:presLayoutVars>
          <dgm:chMax val="0"/>
          <dgm:bulletEnabled val="1"/>
        </dgm:presLayoutVars>
      </dgm:prSet>
      <dgm:spPr/>
      <dgm:t>
        <a:bodyPr/>
        <a:lstStyle/>
        <a:p>
          <a:endParaRPr lang="zh-CN" altLang="en-US"/>
        </a:p>
      </dgm:t>
    </dgm:pt>
    <dgm:pt modelId="{EF4D0B67-2E0A-4EF0-9552-63602F438AC8}" type="pres">
      <dgm:prSet presAssocID="{25517DD7-DB1A-4D3B-830D-8D2C066F5746}" presName="negativeSpace" presStyleCnt="0"/>
      <dgm:spPr/>
    </dgm:pt>
    <dgm:pt modelId="{99DB5BA7-36E1-4581-9057-85CBB9D22845}" type="pres">
      <dgm:prSet presAssocID="{25517DD7-DB1A-4D3B-830D-8D2C066F5746}" presName="childText" presStyleLbl="conFgAcc1" presStyleIdx="1" presStyleCnt="2">
        <dgm:presLayoutVars>
          <dgm:bulletEnabled val="1"/>
        </dgm:presLayoutVars>
      </dgm:prSet>
      <dgm:spPr/>
      <dgm:t>
        <a:bodyPr/>
        <a:lstStyle/>
        <a:p>
          <a:endParaRPr lang="zh-CN" altLang="en-US"/>
        </a:p>
      </dgm:t>
    </dgm:pt>
  </dgm:ptLst>
  <dgm:cxnLst>
    <dgm:cxn modelId="{0ABC8F02-66D5-4AE5-A6B1-ADBCAC50BA4F}" srcId="{73EE1F64-C38A-4D21-9D1D-DBE9A02B1F7D}" destId="{A0B43C47-DD68-41F4-8769-5B78208DF454}" srcOrd="3" destOrd="0" parTransId="{2EAA6086-9158-48F8-A90F-96907E984858}" sibTransId="{9E43C162-FFB7-4E00-8EDC-981D259DFD76}"/>
    <dgm:cxn modelId="{42EF8FCC-CA1C-479B-B922-9F5FA5F4CC4A}" type="presOf" srcId="{D37C8458-1201-4E59-B5A2-A381B5EB8C06}" destId="{93261C04-3BFF-4EDF-9483-0D0E7468F55D}" srcOrd="0" destOrd="6" presId="urn:microsoft.com/office/officeart/2005/8/layout/list1"/>
    <dgm:cxn modelId="{4DBC4E42-C973-4CBF-BFD3-2EFA09660009}" type="presOf" srcId="{73AB6C7C-6241-4963-BAC9-B9A99322D587}" destId="{93261C04-3BFF-4EDF-9483-0D0E7468F55D}" srcOrd="0" destOrd="2" presId="urn:microsoft.com/office/officeart/2005/8/layout/list1"/>
    <dgm:cxn modelId="{FAED3C65-537E-4F19-962D-D8A85543A99A}" type="presOf" srcId="{0E7C2F30-9C98-4638-BA34-4EC2363D8846}" destId="{4E3D71AC-C397-4068-AFE5-135B73D32131}" srcOrd="1" destOrd="0" presId="urn:microsoft.com/office/officeart/2005/8/layout/list1"/>
    <dgm:cxn modelId="{C69F63FA-F886-4128-8274-98827B62A0DA}" type="presOf" srcId="{0E7C2F30-9C98-4638-BA34-4EC2363D8846}" destId="{2948D2C1-847F-429A-8522-7C5ACC367C28}" srcOrd="0" destOrd="0" presId="urn:microsoft.com/office/officeart/2005/8/layout/list1"/>
    <dgm:cxn modelId="{17BAC996-E5A1-45B4-972F-80E46077F209}" srcId="{73EE1F64-C38A-4D21-9D1D-DBE9A02B1F7D}" destId="{73AB6C7C-6241-4963-BAC9-B9A99322D587}" srcOrd="0" destOrd="0" parTransId="{58F6AFAF-B2E2-4AA2-9B01-A56799B437F0}" sibTransId="{6EA99157-4225-4CF0-998F-7F9948F7200C}"/>
    <dgm:cxn modelId="{1799D609-51BD-4DF2-90DD-F751E4F97D76}" type="presOf" srcId="{73EE1F64-C38A-4D21-9D1D-DBE9A02B1F7D}" destId="{93261C04-3BFF-4EDF-9483-0D0E7468F55D}" srcOrd="0" destOrd="1" presId="urn:microsoft.com/office/officeart/2005/8/layout/list1"/>
    <dgm:cxn modelId="{10BE6C19-EEE8-4DD7-A0C0-8ACCBB56BAA0}" srcId="{25517DD7-DB1A-4D3B-830D-8D2C066F5746}" destId="{496B2D8F-7668-43FD-9309-1874965F02E6}" srcOrd="1" destOrd="0" parTransId="{C9A165E6-13B8-4573-9BA7-A6CF0A0623D3}" sibTransId="{51F0513A-0CCD-4CF3-AA51-BFBC2DE760EA}"/>
    <dgm:cxn modelId="{638B3435-3D9D-4B4D-9642-607A1B114186}" srcId="{0E7C2F30-9C98-4638-BA34-4EC2363D8846}" destId="{E360B3B7-C2B7-42AD-9A95-F227C2C11B45}" srcOrd="0" destOrd="0" parTransId="{C9FAC83E-3CF1-4D82-AE15-C7D35AEBE21D}" sibTransId="{9336B006-6A3B-4ED6-B254-DFEB438ED37A}"/>
    <dgm:cxn modelId="{9EB1C3E6-85B5-40AD-A288-134483B55D6D}" srcId="{0E7C2F30-9C98-4638-BA34-4EC2363D8846}" destId="{D37C8458-1201-4E59-B5A2-A381B5EB8C06}" srcOrd="2" destOrd="0" parTransId="{D7E08929-8982-40DC-B46A-AB5981464BBB}" sibTransId="{AFF61192-59E3-4C4D-AEE5-375E9DCB5422}"/>
    <dgm:cxn modelId="{C62FC481-10C0-45E8-8F30-D49B2E9F753F}" srcId="{9BA8E957-3E98-4C6D-B0FF-BD52999030C4}" destId="{25517DD7-DB1A-4D3B-830D-8D2C066F5746}" srcOrd="1" destOrd="0" parTransId="{D6186B5F-C5D3-48EB-A7DD-916C6D7D0041}" sibTransId="{FE98D03A-065F-4E44-B54C-AF4DF9E22CE2}"/>
    <dgm:cxn modelId="{A25CB76D-6BA8-4D84-A414-08DDB23A50DD}" srcId="{9BA8E957-3E98-4C6D-B0FF-BD52999030C4}" destId="{0E7C2F30-9C98-4638-BA34-4EC2363D8846}" srcOrd="0" destOrd="0" parTransId="{227E7F01-FA18-4C67-9A91-EA51F58125C1}" sibTransId="{96EF6C5C-353A-4EDE-9EFA-356F4D8652FF}"/>
    <dgm:cxn modelId="{6C79F9A6-8406-4DC2-BFF7-28B77A6F1F05}" type="presOf" srcId="{25517DD7-DB1A-4D3B-830D-8D2C066F5746}" destId="{2C3D7775-3C5F-4971-904B-B34B841D4A71}" srcOrd="0" destOrd="0" presId="urn:microsoft.com/office/officeart/2005/8/layout/list1"/>
    <dgm:cxn modelId="{52744BEB-5F3A-4141-BC08-BDFF6CD74EAE}" type="presOf" srcId="{E360B3B7-C2B7-42AD-9A95-F227C2C11B45}" destId="{93261C04-3BFF-4EDF-9483-0D0E7468F55D}" srcOrd="0" destOrd="0" presId="urn:microsoft.com/office/officeart/2005/8/layout/list1"/>
    <dgm:cxn modelId="{BFF5E222-B0E8-47A9-B6FE-F4396B952F2E}" type="presOf" srcId="{25517DD7-DB1A-4D3B-830D-8D2C066F5746}" destId="{861C2AD9-C013-44AD-88FE-4C90A416B8B8}" srcOrd="1" destOrd="0" presId="urn:microsoft.com/office/officeart/2005/8/layout/list1"/>
    <dgm:cxn modelId="{E64B9360-C8B5-4A75-8438-1430A43194E8}" type="presOf" srcId="{529F289C-1325-4703-879B-35E712238ECD}" destId="{99DB5BA7-36E1-4581-9057-85CBB9D22845}" srcOrd="0" destOrd="0" presId="urn:microsoft.com/office/officeart/2005/8/layout/list1"/>
    <dgm:cxn modelId="{1BAB9344-92E4-43E6-AFED-1AEF3E371EBA}" srcId="{73EE1F64-C38A-4D21-9D1D-DBE9A02B1F7D}" destId="{0CCA39F3-7E82-40E3-86F7-8009956DBDE0}" srcOrd="1" destOrd="0" parTransId="{E978F1DC-EDF6-4B4D-BD30-32D1C5D6105C}" sibTransId="{75D34E4A-657C-4F35-910B-AD83747C7B58}"/>
    <dgm:cxn modelId="{43759285-E22A-4AE5-999A-A6B5DDDEFCDC}" type="presOf" srcId="{0CCA39F3-7E82-40E3-86F7-8009956DBDE0}" destId="{93261C04-3BFF-4EDF-9483-0D0E7468F55D}" srcOrd="0" destOrd="3" presId="urn:microsoft.com/office/officeart/2005/8/layout/list1"/>
    <dgm:cxn modelId="{451B8B99-FA9C-4CE8-B386-09D6856B50D9}" type="presOf" srcId="{655DBF6C-D45D-437C-A816-340D86751382}" destId="{93261C04-3BFF-4EDF-9483-0D0E7468F55D}" srcOrd="0" destOrd="4" presId="urn:microsoft.com/office/officeart/2005/8/layout/list1"/>
    <dgm:cxn modelId="{80674536-F50D-4663-9806-8D1A7206BEFF}" srcId="{0E7C2F30-9C98-4638-BA34-4EC2363D8846}" destId="{73EE1F64-C38A-4D21-9D1D-DBE9A02B1F7D}" srcOrd="1" destOrd="0" parTransId="{707793FD-1B6B-412F-B6EB-8F8666483D01}" sibTransId="{B715C405-14FE-4757-9B71-8AF2D07A1B89}"/>
    <dgm:cxn modelId="{E5F1BD24-815A-4841-AE4E-A8B4E53BA4AE}" type="presOf" srcId="{496B2D8F-7668-43FD-9309-1874965F02E6}" destId="{99DB5BA7-36E1-4581-9057-85CBB9D22845}" srcOrd="0" destOrd="1" presId="urn:microsoft.com/office/officeart/2005/8/layout/list1"/>
    <dgm:cxn modelId="{C1273068-E223-4E54-99DE-271944C58072}" type="presOf" srcId="{9BA8E957-3E98-4C6D-B0FF-BD52999030C4}" destId="{34D95EF9-0911-48C1-80B0-45FDA0B7A40B}" srcOrd="0" destOrd="0" presId="urn:microsoft.com/office/officeart/2005/8/layout/list1"/>
    <dgm:cxn modelId="{EB81BCBD-A4D4-4926-A400-7BC18447E162}" srcId="{73EE1F64-C38A-4D21-9D1D-DBE9A02B1F7D}" destId="{655DBF6C-D45D-437C-A816-340D86751382}" srcOrd="2" destOrd="0" parTransId="{BE2D6280-7D5E-42A8-B879-F5E3343A0F2E}" sibTransId="{229B27E0-5EBF-4A9B-A07B-CC0B6818D053}"/>
    <dgm:cxn modelId="{E6DCC512-B469-47E9-8BD5-97E2EF934021}" srcId="{25517DD7-DB1A-4D3B-830D-8D2C066F5746}" destId="{529F289C-1325-4703-879B-35E712238ECD}" srcOrd="0" destOrd="0" parTransId="{6B7B38C0-2B59-4928-9476-E23CC9D30B51}" sibTransId="{F07CE773-962C-4161-92F9-46862F6C77F2}"/>
    <dgm:cxn modelId="{09AFD2B2-88E3-4A70-B451-28FACDC4550F}" type="presOf" srcId="{A0B43C47-DD68-41F4-8769-5B78208DF454}" destId="{93261C04-3BFF-4EDF-9483-0D0E7468F55D}" srcOrd="0" destOrd="5" presId="urn:microsoft.com/office/officeart/2005/8/layout/list1"/>
    <dgm:cxn modelId="{2A61CDB8-0D08-42A6-91F9-917E390B9AE0}" type="presParOf" srcId="{34D95EF9-0911-48C1-80B0-45FDA0B7A40B}" destId="{C3022B53-9209-4317-B0FC-82BD15B22C9B}" srcOrd="0" destOrd="0" presId="urn:microsoft.com/office/officeart/2005/8/layout/list1"/>
    <dgm:cxn modelId="{290AADB2-119D-42B1-AF03-A7FB96F0B0A0}" type="presParOf" srcId="{C3022B53-9209-4317-B0FC-82BD15B22C9B}" destId="{2948D2C1-847F-429A-8522-7C5ACC367C28}" srcOrd="0" destOrd="0" presId="urn:microsoft.com/office/officeart/2005/8/layout/list1"/>
    <dgm:cxn modelId="{A2E6E72B-C942-47B7-92E4-34FCDF4643E7}" type="presParOf" srcId="{C3022B53-9209-4317-B0FC-82BD15B22C9B}" destId="{4E3D71AC-C397-4068-AFE5-135B73D32131}" srcOrd="1" destOrd="0" presId="urn:microsoft.com/office/officeart/2005/8/layout/list1"/>
    <dgm:cxn modelId="{421197DC-1EAB-47D9-9647-A9C7B84DA88E}" type="presParOf" srcId="{34D95EF9-0911-48C1-80B0-45FDA0B7A40B}" destId="{255AC084-65A6-4A93-A0B4-DDF2BBA225B2}" srcOrd="1" destOrd="0" presId="urn:microsoft.com/office/officeart/2005/8/layout/list1"/>
    <dgm:cxn modelId="{90100473-E81D-4DA2-9843-2EE336594C77}" type="presParOf" srcId="{34D95EF9-0911-48C1-80B0-45FDA0B7A40B}" destId="{93261C04-3BFF-4EDF-9483-0D0E7468F55D}" srcOrd="2" destOrd="0" presId="urn:microsoft.com/office/officeart/2005/8/layout/list1"/>
    <dgm:cxn modelId="{F2D1EF74-A8ED-4F50-9CE1-9C69FDC5FF7C}" type="presParOf" srcId="{34D95EF9-0911-48C1-80B0-45FDA0B7A40B}" destId="{A73BE005-4390-4583-AC4B-C46ACC2C1325}" srcOrd="3" destOrd="0" presId="urn:microsoft.com/office/officeart/2005/8/layout/list1"/>
    <dgm:cxn modelId="{BAF8126C-5616-4EBC-8EC4-1E6C919D3A79}" type="presParOf" srcId="{34D95EF9-0911-48C1-80B0-45FDA0B7A40B}" destId="{4EDF965D-C67A-465D-A18E-589FF1D1FB1D}" srcOrd="4" destOrd="0" presId="urn:microsoft.com/office/officeart/2005/8/layout/list1"/>
    <dgm:cxn modelId="{6B83A305-427A-4676-9ACB-87EC488E0FD5}" type="presParOf" srcId="{4EDF965D-C67A-465D-A18E-589FF1D1FB1D}" destId="{2C3D7775-3C5F-4971-904B-B34B841D4A71}" srcOrd="0" destOrd="0" presId="urn:microsoft.com/office/officeart/2005/8/layout/list1"/>
    <dgm:cxn modelId="{C913E3D0-CAC3-42FA-93C5-ABB6936866FB}" type="presParOf" srcId="{4EDF965D-C67A-465D-A18E-589FF1D1FB1D}" destId="{861C2AD9-C013-44AD-88FE-4C90A416B8B8}" srcOrd="1" destOrd="0" presId="urn:microsoft.com/office/officeart/2005/8/layout/list1"/>
    <dgm:cxn modelId="{C1124F9D-980B-4EA5-86D3-36507BD6AB95}" type="presParOf" srcId="{34D95EF9-0911-48C1-80B0-45FDA0B7A40B}" destId="{EF4D0B67-2E0A-4EF0-9552-63602F438AC8}" srcOrd="5" destOrd="0" presId="urn:microsoft.com/office/officeart/2005/8/layout/list1"/>
    <dgm:cxn modelId="{4E7F00E6-4573-4696-AAB5-6C9E5B92C0A0}" type="presParOf" srcId="{34D95EF9-0911-48C1-80B0-45FDA0B7A40B}" destId="{99DB5BA7-36E1-4581-9057-85CBB9D22845}"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C86346B-5F6B-4273-A61B-F412B576050A}" type="doc">
      <dgm:prSet loTypeId="urn:microsoft.com/office/officeart/2005/8/layout/gear1" loCatId="process" qsTypeId="urn:microsoft.com/office/officeart/2005/8/quickstyle/simple1" qsCatId="simple" csTypeId="urn:microsoft.com/office/officeart/2005/8/colors/accent1_2" csCatId="accent1" phldr="1"/>
      <dgm:spPr/>
      <dgm:t>
        <a:bodyPr/>
        <a:lstStyle/>
        <a:p>
          <a:endParaRPr lang="zh-CN" altLang="en-US"/>
        </a:p>
      </dgm:t>
    </dgm:pt>
    <dgm:pt modelId="{416B5A00-E26E-455A-B58A-A3432CC43238}">
      <dgm:prSet phldrT="[文本]"/>
      <dgm:spPr/>
      <dgm:t>
        <a:bodyPr/>
        <a:lstStyle/>
        <a:p>
          <a:r>
            <a:rPr lang="zh-CN" altLang="en-US" dirty="0" smtClean="0"/>
            <a:t>访问路径</a:t>
          </a:r>
          <a:endParaRPr lang="zh-CN" altLang="en-US" dirty="0"/>
        </a:p>
      </dgm:t>
    </dgm:pt>
    <dgm:pt modelId="{29E7FE21-1937-4ED9-97AC-644C16E0BC7D}" type="parTrans" cxnId="{CAF64335-384F-49F1-94E4-B4AD151DC099}">
      <dgm:prSet/>
      <dgm:spPr/>
      <dgm:t>
        <a:bodyPr/>
        <a:lstStyle/>
        <a:p>
          <a:endParaRPr lang="zh-CN" altLang="en-US"/>
        </a:p>
      </dgm:t>
    </dgm:pt>
    <dgm:pt modelId="{DE242189-BCE7-4FB0-AD2E-E2F7C416468F}" type="sibTrans" cxnId="{CAF64335-384F-49F1-94E4-B4AD151DC099}">
      <dgm:prSet/>
      <dgm:spPr/>
      <dgm:t>
        <a:bodyPr/>
        <a:lstStyle/>
        <a:p>
          <a:endParaRPr lang="zh-CN" altLang="en-US"/>
        </a:p>
      </dgm:t>
    </dgm:pt>
    <dgm:pt modelId="{42E9389B-BC1E-4F3B-9D70-20EDEE9A679E}">
      <dgm:prSet phldrT="[文本]"/>
      <dgm:spPr/>
      <dgm:t>
        <a:bodyPr/>
        <a:lstStyle/>
        <a:p>
          <a:r>
            <a:rPr lang="zh-CN" altLang="en-US" dirty="0" smtClean="0"/>
            <a:t>本地</a:t>
          </a:r>
          <a:endParaRPr lang="zh-CN" altLang="en-US" dirty="0"/>
        </a:p>
      </dgm:t>
    </dgm:pt>
    <dgm:pt modelId="{4F14D74D-0F6F-42A0-AEC3-FDE079C7D4C2}" type="parTrans" cxnId="{FC9C2EF5-E253-4658-BF5E-E6BBAEBEC0AC}">
      <dgm:prSet/>
      <dgm:spPr/>
      <dgm:t>
        <a:bodyPr/>
        <a:lstStyle/>
        <a:p>
          <a:endParaRPr lang="zh-CN" altLang="en-US"/>
        </a:p>
      </dgm:t>
    </dgm:pt>
    <dgm:pt modelId="{DEF060B1-C006-443B-8D61-98133B313B24}" type="sibTrans" cxnId="{FC9C2EF5-E253-4658-BF5E-E6BBAEBEC0AC}">
      <dgm:prSet/>
      <dgm:spPr/>
      <dgm:t>
        <a:bodyPr/>
        <a:lstStyle/>
        <a:p>
          <a:endParaRPr lang="zh-CN" altLang="en-US"/>
        </a:p>
      </dgm:t>
    </dgm:pt>
    <dgm:pt modelId="{15C121FC-17D3-4FD2-9C2D-8B6D7D1C5021}">
      <dgm:prSet phldrT="[文本]"/>
      <dgm:spPr/>
      <dgm:t>
        <a:bodyPr/>
        <a:lstStyle/>
        <a:p>
          <a:r>
            <a:rPr lang="zh-CN" altLang="en-US" dirty="0" smtClean="0"/>
            <a:t>利用复杂度</a:t>
          </a:r>
          <a:endParaRPr lang="zh-CN" altLang="en-US" dirty="0"/>
        </a:p>
      </dgm:t>
    </dgm:pt>
    <dgm:pt modelId="{76C8D0ED-B34F-485C-9548-49F9ED67C2CC}" type="parTrans" cxnId="{3406ABD8-8FA2-4915-B0CB-957762D48912}">
      <dgm:prSet/>
      <dgm:spPr/>
      <dgm:t>
        <a:bodyPr/>
        <a:lstStyle/>
        <a:p>
          <a:endParaRPr lang="zh-CN" altLang="en-US"/>
        </a:p>
      </dgm:t>
    </dgm:pt>
    <dgm:pt modelId="{F2E94C55-7921-43DA-BE39-CD44128E9CD7}" type="sibTrans" cxnId="{3406ABD8-8FA2-4915-B0CB-957762D48912}">
      <dgm:prSet/>
      <dgm:spPr/>
      <dgm:t>
        <a:bodyPr/>
        <a:lstStyle/>
        <a:p>
          <a:endParaRPr lang="zh-CN" altLang="en-US"/>
        </a:p>
      </dgm:t>
    </dgm:pt>
    <dgm:pt modelId="{C5EFEBB9-107E-4B58-8A9A-3F5437D8F491}">
      <dgm:prSet phldrT="[文本]"/>
      <dgm:spPr/>
      <dgm:t>
        <a:bodyPr/>
        <a:lstStyle/>
        <a:p>
          <a:r>
            <a:rPr lang="zh-CN" altLang="en-US" dirty="0" smtClean="0"/>
            <a:t>简单</a:t>
          </a:r>
          <a:endParaRPr lang="zh-CN" altLang="en-US" dirty="0"/>
        </a:p>
      </dgm:t>
    </dgm:pt>
    <dgm:pt modelId="{F257D2EC-0E00-4983-8622-F07DB131E0BE}" type="parTrans" cxnId="{60113ECD-ECF8-4377-AF27-7E4F37BD3965}">
      <dgm:prSet/>
      <dgm:spPr/>
      <dgm:t>
        <a:bodyPr/>
        <a:lstStyle/>
        <a:p>
          <a:endParaRPr lang="zh-CN" altLang="en-US"/>
        </a:p>
      </dgm:t>
    </dgm:pt>
    <dgm:pt modelId="{8B1C67A3-7055-418E-B1DB-4338AC82DC0A}" type="sibTrans" cxnId="{60113ECD-ECF8-4377-AF27-7E4F37BD3965}">
      <dgm:prSet/>
      <dgm:spPr/>
      <dgm:t>
        <a:bodyPr/>
        <a:lstStyle/>
        <a:p>
          <a:endParaRPr lang="zh-CN" altLang="en-US"/>
        </a:p>
      </dgm:t>
    </dgm:pt>
    <dgm:pt modelId="{5E67ABB6-2F80-4A42-8D66-44C853FB8711}">
      <dgm:prSet phldrT="[文本]"/>
      <dgm:spPr/>
      <dgm:t>
        <a:bodyPr/>
        <a:lstStyle/>
        <a:p>
          <a:r>
            <a:rPr lang="zh-CN" altLang="en-US" dirty="0" smtClean="0"/>
            <a:t>邻接</a:t>
          </a:r>
          <a:endParaRPr lang="zh-CN" altLang="en-US" dirty="0"/>
        </a:p>
      </dgm:t>
    </dgm:pt>
    <dgm:pt modelId="{2AC18B7D-06B9-4F7C-AC39-34B95A34C7E3}" type="parTrans" cxnId="{96B8D0B9-29DB-49D6-A601-1ECB7FF90CD6}">
      <dgm:prSet/>
      <dgm:spPr/>
      <dgm:t>
        <a:bodyPr/>
        <a:lstStyle/>
        <a:p>
          <a:endParaRPr lang="zh-CN" altLang="en-US"/>
        </a:p>
      </dgm:t>
    </dgm:pt>
    <dgm:pt modelId="{129329AB-D35E-4A32-97E5-E23DEAD2CF1C}" type="sibTrans" cxnId="{96B8D0B9-29DB-49D6-A601-1ECB7FF90CD6}">
      <dgm:prSet/>
      <dgm:spPr/>
      <dgm:t>
        <a:bodyPr/>
        <a:lstStyle/>
        <a:p>
          <a:endParaRPr lang="zh-CN" altLang="en-US"/>
        </a:p>
      </dgm:t>
    </dgm:pt>
    <dgm:pt modelId="{15E8FCE3-074B-4611-924B-F32038D74553}">
      <dgm:prSet phldrT="[文本]"/>
      <dgm:spPr/>
      <dgm:t>
        <a:bodyPr/>
        <a:lstStyle/>
        <a:p>
          <a:r>
            <a:rPr lang="zh-CN" altLang="en-US" dirty="0" smtClean="0"/>
            <a:t>远程</a:t>
          </a:r>
          <a:endParaRPr lang="zh-CN" altLang="en-US" dirty="0"/>
        </a:p>
      </dgm:t>
    </dgm:pt>
    <dgm:pt modelId="{C6DA6E22-CD20-4CFA-9B54-BD344E1ED339}" type="parTrans" cxnId="{785B359C-E000-4EE6-86E4-5D11FB0561F5}">
      <dgm:prSet/>
      <dgm:spPr/>
      <dgm:t>
        <a:bodyPr/>
        <a:lstStyle/>
        <a:p>
          <a:endParaRPr lang="zh-CN" altLang="en-US"/>
        </a:p>
      </dgm:t>
    </dgm:pt>
    <dgm:pt modelId="{CEA148F3-94EF-4810-AF50-7A2AB15D8832}" type="sibTrans" cxnId="{785B359C-E000-4EE6-86E4-5D11FB0561F5}">
      <dgm:prSet/>
      <dgm:spPr/>
      <dgm:t>
        <a:bodyPr/>
        <a:lstStyle/>
        <a:p>
          <a:endParaRPr lang="zh-CN" altLang="en-US"/>
        </a:p>
      </dgm:t>
    </dgm:pt>
    <dgm:pt modelId="{25DC6303-9248-4828-963D-98A431B795A7}">
      <dgm:prSet phldrT="[文本]"/>
      <dgm:spPr/>
      <dgm:t>
        <a:bodyPr/>
        <a:lstStyle/>
        <a:p>
          <a:r>
            <a:rPr lang="zh-CN" altLang="en-US" dirty="0" smtClean="0"/>
            <a:t>复杂</a:t>
          </a:r>
          <a:endParaRPr lang="zh-CN" altLang="en-US" dirty="0"/>
        </a:p>
      </dgm:t>
    </dgm:pt>
    <dgm:pt modelId="{A3DED1D0-F8C8-43F5-8BA6-7508D0B55962}" type="parTrans" cxnId="{A2A1F1BB-737C-445A-A03E-AED9EBF62940}">
      <dgm:prSet/>
      <dgm:spPr/>
      <dgm:t>
        <a:bodyPr/>
        <a:lstStyle/>
        <a:p>
          <a:endParaRPr lang="zh-CN" altLang="en-US"/>
        </a:p>
      </dgm:t>
    </dgm:pt>
    <dgm:pt modelId="{296FCB3E-04F0-4155-B446-8D351A699DE4}" type="sibTrans" cxnId="{A2A1F1BB-737C-445A-A03E-AED9EBF62940}">
      <dgm:prSet/>
      <dgm:spPr/>
      <dgm:t>
        <a:bodyPr/>
        <a:lstStyle/>
        <a:p>
          <a:endParaRPr lang="zh-CN" altLang="en-US"/>
        </a:p>
      </dgm:t>
    </dgm:pt>
    <dgm:pt modelId="{07DB79ED-C32A-4581-9B76-C319276F56A8}">
      <dgm:prSet phldrT="[文本]"/>
      <dgm:spPr/>
      <dgm:t>
        <a:bodyPr/>
        <a:lstStyle/>
        <a:p>
          <a:r>
            <a:rPr lang="zh-CN" altLang="en-US" dirty="0" smtClean="0"/>
            <a:t>影响程度</a:t>
          </a:r>
          <a:endParaRPr lang="en-US" altLang="zh-CN" dirty="0" smtClean="0"/>
        </a:p>
      </dgm:t>
    </dgm:pt>
    <dgm:pt modelId="{85C6D4A2-3994-461F-9D24-EC0EA4EDA557}" type="parTrans" cxnId="{0772F12B-FDFF-4285-A9BA-397BF11CF939}">
      <dgm:prSet/>
      <dgm:spPr/>
      <dgm:t>
        <a:bodyPr/>
        <a:lstStyle/>
        <a:p>
          <a:endParaRPr lang="zh-CN" altLang="en-US"/>
        </a:p>
      </dgm:t>
    </dgm:pt>
    <dgm:pt modelId="{1855F08A-81BE-462E-BC1E-1A353F7639CE}" type="sibTrans" cxnId="{0772F12B-FDFF-4285-A9BA-397BF11CF939}">
      <dgm:prSet/>
      <dgm:spPr/>
      <dgm:t>
        <a:bodyPr/>
        <a:lstStyle/>
        <a:p>
          <a:endParaRPr lang="zh-CN" altLang="en-US"/>
        </a:p>
      </dgm:t>
    </dgm:pt>
    <dgm:pt modelId="{9D0C365D-5AAC-4C29-AD7E-814942D7AD78}">
      <dgm:prSet phldrT="[文本]"/>
      <dgm:spPr/>
      <dgm:t>
        <a:bodyPr/>
        <a:lstStyle/>
        <a:p>
          <a:r>
            <a:rPr lang="zh-CN" altLang="en-US" dirty="0" smtClean="0"/>
            <a:t>完全</a:t>
          </a:r>
          <a:endParaRPr lang="en-US" altLang="zh-CN" dirty="0" smtClean="0"/>
        </a:p>
      </dgm:t>
    </dgm:pt>
    <dgm:pt modelId="{4A9A06F5-E7A7-48AD-9B50-3D9536236FD6}" type="parTrans" cxnId="{A021B9E2-85B8-41FB-B818-0DC6189CC96E}">
      <dgm:prSet/>
      <dgm:spPr/>
      <dgm:t>
        <a:bodyPr/>
        <a:lstStyle/>
        <a:p>
          <a:endParaRPr lang="zh-CN" altLang="en-US"/>
        </a:p>
      </dgm:t>
    </dgm:pt>
    <dgm:pt modelId="{44C13638-3058-470A-A105-DDCF87789A9D}" type="sibTrans" cxnId="{A021B9E2-85B8-41FB-B818-0DC6189CC96E}">
      <dgm:prSet/>
      <dgm:spPr/>
      <dgm:t>
        <a:bodyPr/>
        <a:lstStyle/>
        <a:p>
          <a:endParaRPr lang="zh-CN" altLang="en-US"/>
        </a:p>
      </dgm:t>
    </dgm:pt>
    <dgm:pt modelId="{2C2EC073-E017-41CC-AFAA-7E6299BD6045}">
      <dgm:prSet phldrT="[文本]"/>
      <dgm:spPr/>
      <dgm:t>
        <a:bodyPr/>
        <a:lstStyle/>
        <a:p>
          <a:r>
            <a:rPr lang="zh-CN" altLang="en-US" dirty="0" smtClean="0"/>
            <a:t>部分</a:t>
          </a:r>
          <a:endParaRPr lang="en-US" altLang="zh-CN" dirty="0" smtClean="0"/>
        </a:p>
      </dgm:t>
    </dgm:pt>
    <dgm:pt modelId="{2D6FBDAB-DA2A-4138-ACF8-25DAC83ED5EA}" type="parTrans" cxnId="{C71AEE75-2AF3-4A4F-A355-B1356DAD972F}">
      <dgm:prSet/>
      <dgm:spPr/>
      <dgm:t>
        <a:bodyPr/>
        <a:lstStyle/>
        <a:p>
          <a:endParaRPr lang="zh-CN" altLang="en-US"/>
        </a:p>
      </dgm:t>
    </dgm:pt>
    <dgm:pt modelId="{DEE7105B-F8AD-467C-B94E-1223CC0880C6}" type="sibTrans" cxnId="{C71AEE75-2AF3-4A4F-A355-B1356DAD972F}">
      <dgm:prSet/>
      <dgm:spPr/>
      <dgm:t>
        <a:bodyPr/>
        <a:lstStyle/>
        <a:p>
          <a:endParaRPr lang="zh-CN" altLang="en-US"/>
        </a:p>
      </dgm:t>
    </dgm:pt>
    <dgm:pt modelId="{C43226A3-9D8B-4C7B-9A97-8FCCEE8A04DC}">
      <dgm:prSet phldrT="[文本]"/>
      <dgm:spPr/>
      <dgm:t>
        <a:bodyPr/>
        <a:lstStyle/>
        <a:p>
          <a:r>
            <a:rPr lang="zh-CN" altLang="en-US" dirty="0" smtClean="0"/>
            <a:t>轻微</a:t>
          </a:r>
          <a:endParaRPr lang="en-US" altLang="zh-CN" dirty="0" smtClean="0"/>
        </a:p>
      </dgm:t>
    </dgm:pt>
    <dgm:pt modelId="{7AFAFE1B-6317-4F78-8222-07537B37A01A}" type="parTrans" cxnId="{5722CE05-1BDE-4ACE-97C9-A1CF6A094436}">
      <dgm:prSet/>
      <dgm:spPr/>
      <dgm:t>
        <a:bodyPr/>
        <a:lstStyle/>
        <a:p>
          <a:endParaRPr lang="zh-CN" altLang="en-US"/>
        </a:p>
      </dgm:t>
    </dgm:pt>
    <dgm:pt modelId="{538F3F78-9807-4AFF-AC5E-3E2DC3CF792A}" type="sibTrans" cxnId="{5722CE05-1BDE-4ACE-97C9-A1CF6A094436}">
      <dgm:prSet/>
      <dgm:spPr/>
      <dgm:t>
        <a:bodyPr/>
        <a:lstStyle/>
        <a:p>
          <a:endParaRPr lang="zh-CN" altLang="en-US"/>
        </a:p>
      </dgm:t>
    </dgm:pt>
    <dgm:pt modelId="{8C750F49-F269-4513-BC6B-6754E922ABD8}">
      <dgm:prSet phldrT="[文本]"/>
      <dgm:spPr/>
      <dgm:t>
        <a:bodyPr/>
        <a:lstStyle/>
        <a:p>
          <a:r>
            <a:rPr lang="zh-CN" altLang="en-US" dirty="0" smtClean="0"/>
            <a:t>无</a:t>
          </a:r>
          <a:endParaRPr lang="en-US" altLang="zh-CN" dirty="0" smtClean="0"/>
        </a:p>
      </dgm:t>
    </dgm:pt>
    <dgm:pt modelId="{7587745D-33A3-4DAB-9723-B2C8808CAA73}" type="parTrans" cxnId="{08104CC6-3A2F-4011-BADC-E1416AF42FB6}">
      <dgm:prSet/>
      <dgm:spPr/>
      <dgm:t>
        <a:bodyPr/>
        <a:lstStyle/>
        <a:p>
          <a:endParaRPr lang="zh-CN" altLang="en-US"/>
        </a:p>
      </dgm:t>
    </dgm:pt>
    <dgm:pt modelId="{6A869899-DAF8-4443-A9A0-DE88519D44D7}" type="sibTrans" cxnId="{08104CC6-3A2F-4011-BADC-E1416AF42FB6}">
      <dgm:prSet/>
      <dgm:spPr/>
      <dgm:t>
        <a:bodyPr/>
        <a:lstStyle/>
        <a:p>
          <a:endParaRPr lang="zh-CN" altLang="en-US"/>
        </a:p>
      </dgm:t>
    </dgm:pt>
    <dgm:pt modelId="{4C67291E-4944-4FCA-8F83-85BC0255A55A}" type="pres">
      <dgm:prSet presAssocID="{5C86346B-5F6B-4273-A61B-F412B576050A}" presName="composite" presStyleCnt="0">
        <dgm:presLayoutVars>
          <dgm:chMax val="3"/>
          <dgm:animLvl val="lvl"/>
          <dgm:resizeHandles val="exact"/>
        </dgm:presLayoutVars>
      </dgm:prSet>
      <dgm:spPr/>
      <dgm:t>
        <a:bodyPr/>
        <a:lstStyle/>
        <a:p>
          <a:endParaRPr lang="zh-CN" altLang="en-US"/>
        </a:p>
      </dgm:t>
    </dgm:pt>
    <dgm:pt modelId="{F2B6B239-EFA5-4BFD-ACFA-FE09D2DBF823}" type="pres">
      <dgm:prSet presAssocID="{416B5A00-E26E-455A-B58A-A3432CC43238}" presName="gear1" presStyleLbl="node1" presStyleIdx="0" presStyleCnt="3">
        <dgm:presLayoutVars>
          <dgm:chMax val="1"/>
          <dgm:bulletEnabled val="1"/>
        </dgm:presLayoutVars>
      </dgm:prSet>
      <dgm:spPr/>
      <dgm:t>
        <a:bodyPr/>
        <a:lstStyle/>
        <a:p>
          <a:endParaRPr lang="zh-CN" altLang="en-US"/>
        </a:p>
      </dgm:t>
    </dgm:pt>
    <dgm:pt modelId="{236DCB8E-7019-453B-A5A9-C52671FA13F2}" type="pres">
      <dgm:prSet presAssocID="{416B5A00-E26E-455A-B58A-A3432CC43238}" presName="gear1srcNode" presStyleLbl="node1" presStyleIdx="0" presStyleCnt="3"/>
      <dgm:spPr/>
      <dgm:t>
        <a:bodyPr/>
        <a:lstStyle/>
        <a:p>
          <a:endParaRPr lang="zh-CN" altLang="en-US"/>
        </a:p>
      </dgm:t>
    </dgm:pt>
    <dgm:pt modelId="{97434A15-C79A-4E0D-BB07-BB28F94F9DEF}" type="pres">
      <dgm:prSet presAssocID="{416B5A00-E26E-455A-B58A-A3432CC43238}" presName="gear1dstNode" presStyleLbl="node1" presStyleIdx="0" presStyleCnt="3"/>
      <dgm:spPr/>
      <dgm:t>
        <a:bodyPr/>
        <a:lstStyle/>
        <a:p>
          <a:endParaRPr lang="zh-CN" altLang="en-US"/>
        </a:p>
      </dgm:t>
    </dgm:pt>
    <dgm:pt modelId="{7580CF43-043E-4C76-B60E-3379B0A0CF55}" type="pres">
      <dgm:prSet presAssocID="{416B5A00-E26E-455A-B58A-A3432CC43238}" presName="gear1ch" presStyleLbl="fgAcc1" presStyleIdx="0" presStyleCnt="3" custLinFactNeighborX="-1293">
        <dgm:presLayoutVars>
          <dgm:chMax val="0"/>
          <dgm:bulletEnabled val="1"/>
        </dgm:presLayoutVars>
      </dgm:prSet>
      <dgm:spPr/>
      <dgm:t>
        <a:bodyPr/>
        <a:lstStyle/>
        <a:p>
          <a:endParaRPr lang="zh-CN" altLang="en-US"/>
        </a:p>
      </dgm:t>
    </dgm:pt>
    <dgm:pt modelId="{BDDCEB9F-CCA7-442A-94AB-916272564FBE}" type="pres">
      <dgm:prSet presAssocID="{15C121FC-17D3-4FD2-9C2D-8B6D7D1C5021}" presName="gear2" presStyleLbl="node1" presStyleIdx="1" presStyleCnt="3">
        <dgm:presLayoutVars>
          <dgm:chMax val="1"/>
          <dgm:bulletEnabled val="1"/>
        </dgm:presLayoutVars>
      </dgm:prSet>
      <dgm:spPr/>
      <dgm:t>
        <a:bodyPr/>
        <a:lstStyle/>
        <a:p>
          <a:endParaRPr lang="zh-CN" altLang="en-US"/>
        </a:p>
      </dgm:t>
    </dgm:pt>
    <dgm:pt modelId="{51AC7240-3FAB-4567-85FE-47CDCC344007}" type="pres">
      <dgm:prSet presAssocID="{15C121FC-17D3-4FD2-9C2D-8B6D7D1C5021}" presName="gear2srcNode" presStyleLbl="node1" presStyleIdx="1" presStyleCnt="3"/>
      <dgm:spPr/>
      <dgm:t>
        <a:bodyPr/>
        <a:lstStyle/>
        <a:p>
          <a:endParaRPr lang="zh-CN" altLang="en-US"/>
        </a:p>
      </dgm:t>
    </dgm:pt>
    <dgm:pt modelId="{6E8DB72F-50C7-4423-8337-D2FAA44CE47A}" type="pres">
      <dgm:prSet presAssocID="{15C121FC-17D3-4FD2-9C2D-8B6D7D1C5021}" presName="gear2dstNode" presStyleLbl="node1" presStyleIdx="1" presStyleCnt="3"/>
      <dgm:spPr/>
      <dgm:t>
        <a:bodyPr/>
        <a:lstStyle/>
        <a:p>
          <a:endParaRPr lang="zh-CN" altLang="en-US"/>
        </a:p>
      </dgm:t>
    </dgm:pt>
    <dgm:pt modelId="{150D105A-A7AC-490F-9AD3-7D1F589D3A6A}" type="pres">
      <dgm:prSet presAssocID="{15C121FC-17D3-4FD2-9C2D-8B6D7D1C5021}" presName="gear2ch" presStyleLbl="fgAcc1" presStyleIdx="1" presStyleCnt="3">
        <dgm:presLayoutVars>
          <dgm:chMax val="0"/>
          <dgm:bulletEnabled val="1"/>
        </dgm:presLayoutVars>
      </dgm:prSet>
      <dgm:spPr/>
      <dgm:t>
        <a:bodyPr/>
        <a:lstStyle/>
        <a:p>
          <a:endParaRPr lang="zh-CN" altLang="en-US"/>
        </a:p>
      </dgm:t>
    </dgm:pt>
    <dgm:pt modelId="{E708F729-956D-411E-A5BA-094FC40920E9}" type="pres">
      <dgm:prSet presAssocID="{07DB79ED-C32A-4581-9B76-C319276F56A8}" presName="gear3" presStyleLbl="node1" presStyleIdx="2" presStyleCnt="3"/>
      <dgm:spPr/>
      <dgm:t>
        <a:bodyPr/>
        <a:lstStyle/>
        <a:p>
          <a:endParaRPr lang="zh-CN" altLang="en-US"/>
        </a:p>
      </dgm:t>
    </dgm:pt>
    <dgm:pt modelId="{67E051A1-A2E9-4BD1-AD80-97A8DC6A24D4}" type="pres">
      <dgm:prSet presAssocID="{07DB79ED-C32A-4581-9B76-C319276F56A8}" presName="gear3tx" presStyleLbl="node1" presStyleIdx="2" presStyleCnt="3">
        <dgm:presLayoutVars>
          <dgm:chMax val="1"/>
          <dgm:bulletEnabled val="1"/>
        </dgm:presLayoutVars>
      </dgm:prSet>
      <dgm:spPr/>
      <dgm:t>
        <a:bodyPr/>
        <a:lstStyle/>
        <a:p>
          <a:endParaRPr lang="zh-CN" altLang="en-US"/>
        </a:p>
      </dgm:t>
    </dgm:pt>
    <dgm:pt modelId="{89813969-954A-4C10-BCBE-6A8460B083F6}" type="pres">
      <dgm:prSet presAssocID="{07DB79ED-C32A-4581-9B76-C319276F56A8}" presName="gear3srcNode" presStyleLbl="node1" presStyleIdx="2" presStyleCnt="3"/>
      <dgm:spPr/>
      <dgm:t>
        <a:bodyPr/>
        <a:lstStyle/>
        <a:p>
          <a:endParaRPr lang="zh-CN" altLang="en-US"/>
        </a:p>
      </dgm:t>
    </dgm:pt>
    <dgm:pt modelId="{6FF6A4EA-8406-46C3-BB20-7DA175381D55}" type="pres">
      <dgm:prSet presAssocID="{07DB79ED-C32A-4581-9B76-C319276F56A8}" presName="gear3dstNode" presStyleLbl="node1" presStyleIdx="2" presStyleCnt="3"/>
      <dgm:spPr/>
      <dgm:t>
        <a:bodyPr/>
        <a:lstStyle/>
        <a:p>
          <a:endParaRPr lang="zh-CN" altLang="en-US"/>
        </a:p>
      </dgm:t>
    </dgm:pt>
    <dgm:pt modelId="{DD1C28AB-516B-46AA-B69D-C48A8E2245C3}" type="pres">
      <dgm:prSet presAssocID="{07DB79ED-C32A-4581-9B76-C319276F56A8}" presName="gear3ch" presStyleLbl="fgAcc1" presStyleIdx="2" presStyleCnt="3">
        <dgm:presLayoutVars>
          <dgm:chMax val="0"/>
          <dgm:bulletEnabled val="1"/>
        </dgm:presLayoutVars>
      </dgm:prSet>
      <dgm:spPr/>
      <dgm:t>
        <a:bodyPr/>
        <a:lstStyle/>
        <a:p>
          <a:endParaRPr lang="zh-CN" altLang="en-US"/>
        </a:p>
      </dgm:t>
    </dgm:pt>
    <dgm:pt modelId="{7D6C3B7B-9706-4AD6-88FA-50317C1B2357}" type="pres">
      <dgm:prSet presAssocID="{DE242189-BCE7-4FB0-AD2E-E2F7C416468F}" presName="connector1" presStyleLbl="sibTrans2D1" presStyleIdx="0" presStyleCnt="3"/>
      <dgm:spPr/>
      <dgm:t>
        <a:bodyPr/>
        <a:lstStyle/>
        <a:p>
          <a:endParaRPr lang="zh-CN" altLang="en-US"/>
        </a:p>
      </dgm:t>
    </dgm:pt>
    <dgm:pt modelId="{15C1CF20-D8A8-4C81-9211-A4F0015B8C36}" type="pres">
      <dgm:prSet presAssocID="{F2E94C55-7921-43DA-BE39-CD44128E9CD7}" presName="connector2" presStyleLbl="sibTrans2D1" presStyleIdx="1" presStyleCnt="3"/>
      <dgm:spPr/>
      <dgm:t>
        <a:bodyPr/>
        <a:lstStyle/>
        <a:p>
          <a:endParaRPr lang="zh-CN" altLang="en-US"/>
        </a:p>
      </dgm:t>
    </dgm:pt>
    <dgm:pt modelId="{261D2273-BFE9-4C53-8334-EB9647BDDBE2}" type="pres">
      <dgm:prSet presAssocID="{1855F08A-81BE-462E-BC1E-1A353F7639CE}" presName="connector3" presStyleLbl="sibTrans2D1" presStyleIdx="2" presStyleCnt="3"/>
      <dgm:spPr/>
      <dgm:t>
        <a:bodyPr/>
        <a:lstStyle/>
        <a:p>
          <a:endParaRPr lang="zh-CN" altLang="en-US"/>
        </a:p>
      </dgm:t>
    </dgm:pt>
  </dgm:ptLst>
  <dgm:cxnLst>
    <dgm:cxn modelId="{6A208E4C-5D76-4DFB-AC6E-7082653ADE53}" type="presOf" srcId="{416B5A00-E26E-455A-B58A-A3432CC43238}" destId="{97434A15-C79A-4E0D-BB07-BB28F94F9DEF}" srcOrd="2" destOrd="0" presId="urn:microsoft.com/office/officeart/2005/8/layout/gear1"/>
    <dgm:cxn modelId="{2CF86872-93AF-4AA2-92AA-625D22B82069}" type="presOf" srcId="{1855F08A-81BE-462E-BC1E-1A353F7639CE}" destId="{261D2273-BFE9-4C53-8334-EB9647BDDBE2}" srcOrd="0" destOrd="0" presId="urn:microsoft.com/office/officeart/2005/8/layout/gear1"/>
    <dgm:cxn modelId="{08104CC6-3A2F-4011-BADC-E1416AF42FB6}" srcId="{07DB79ED-C32A-4581-9B76-C319276F56A8}" destId="{8C750F49-F269-4513-BC6B-6754E922ABD8}" srcOrd="3" destOrd="0" parTransId="{7587745D-33A3-4DAB-9723-B2C8808CAA73}" sibTransId="{6A869899-DAF8-4443-A9A0-DE88519D44D7}"/>
    <dgm:cxn modelId="{03C0EBE3-8224-403C-A526-D1756BD3E186}" type="presOf" srcId="{5C86346B-5F6B-4273-A61B-F412B576050A}" destId="{4C67291E-4944-4FCA-8F83-85BC0255A55A}" srcOrd="0" destOrd="0" presId="urn:microsoft.com/office/officeart/2005/8/layout/gear1"/>
    <dgm:cxn modelId="{0772F12B-FDFF-4285-A9BA-397BF11CF939}" srcId="{5C86346B-5F6B-4273-A61B-F412B576050A}" destId="{07DB79ED-C32A-4581-9B76-C319276F56A8}" srcOrd="2" destOrd="0" parTransId="{85C6D4A2-3994-461F-9D24-EC0EA4EDA557}" sibTransId="{1855F08A-81BE-462E-BC1E-1A353F7639CE}"/>
    <dgm:cxn modelId="{785B359C-E000-4EE6-86E4-5D11FB0561F5}" srcId="{416B5A00-E26E-455A-B58A-A3432CC43238}" destId="{15E8FCE3-074B-4611-924B-F32038D74553}" srcOrd="2" destOrd="0" parTransId="{C6DA6E22-CD20-4CFA-9B54-BD344E1ED339}" sibTransId="{CEA148F3-94EF-4810-AF50-7A2AB15D8832}"/>
    <dgm:cxn modelId="{C4F995EB-5E4D-42C1-B158-63286BD8FE21}" type="presOf" srcId="{15C121FC-17D3-4FD2-9C2D-8B6D7D1C5021}" destId="{BDDCEB9F-CCA7-442A-94AB-916272564FBE}" srcOrd="0" destOrd="0" presId="urn:microsoft.com/office/officeart/2005/8/layout/gear1"/>
    <dgm:cxn modelId="{2858220F-811D-4554-AD5A-B51AB7A237FC}" type="presOf" srcId="{15C121FC-17D3-4FD2-9C2D-8B6D7D1C5021}" destId="{6E8DB72F-50C7-4423-8337-D2FAA44CE47A}" srcOrd="2" destOrd="0" presId="urn:microsoft.com/office/officeart/2005/8/layout/gear1"/>
    <dgm:cxn modelId="{BADE1861-11FE-42FD-BEBC-2D6F7EA49F17}" type="presOf" srcId="{9D0C365D-5AAC-4C29-AD7E-814942D7AD78}" destId="{DD1C28AB-516B-46AA-B69D-C48A8E2245C3}" srcOrd="0" destOrd="0" presId="urn:microsoft.com/office/officeart/2005/8/layout/gear1"/>
    <dgm:cxn modelId="{61F9F815-7CC8-4728-975D-52A68C322378}" type="presOf" srcId="{5E67ABB6-2F80-4A42-8D66-44C853FB8711}" destId="{7580CF43-043E-4C76-B60E-3379B0A0CF55}" srcOrd="0" destOrd="1" presId="urn:microsoft.com/office/officeart/2005/8/layout/gear1"/>
    <dgm:cxn modelId="{C402BCE5-EF14-41FD-8010-FFC6047C504A}" type="presOf" srcId="{25DC6303-9248-4828-963D-98A431B795A7}" destId="{150D105A-A7AC-490F-9AD3-7D1F589D3A6A}" srcOrd="0" destOrd="1" presId="urn:microsoft.com/office/officeart/2005/8/layout/gear1"/>
    <dgm:cxn modelId="{88109820-CA96-41D0-9F52-18B135128CA4}" type="presOf" srcId="{416B5A00-E26E-455A-B58A-A3432CC43238}" destId="{F2B6B239-EFA5-4BFD-ACFA-FE09D2DBF823}" srcOrd="0" destOrd="0" presId="urn:microsoft.com/office/officeart/2005/8/layout/gear1"/>
    <dgm:cxn modelId="{BB7E9C7A-711E-4FFB-8102-156873106BAE}" type="presOf" srcId="{42E9389B-BC1E-4F3B-9D70-20EDEE9A679E}" destId="{7580CF43-043E-4C76-B60E-3379B0A0CF55}" srcOrd="0" destOrd="0" presId="urn:microsoft.com/office/officeart/2005/8/layout/gear1"/>
    <dgm:cxn modelId="{5DFA2E40-EB14-47BD-BF7C-5603744E1F15}" type="presOf" srcId="{C5EFEBB9-107E-4B58-8A9A-3F5437D8F491}" destId="{150D105A-A7AC-490F-9AD3-7D1F589D3A6A}" srcOrd="0" destOrd="0" presId="urn:microsoft.com/office/officeart/2005/8/layout/gear1"/>
    <dgm:cxn modelId="{26E72930-ECEC-4D9D-902F-7CFD7605B008}" type="presOf" srcId="{416B5A00-E26E-455A-B58A-A3432CC43238}" destId="{236DCB8E-7019-453B-A5A9-C52671FA13F2}" srcOrd="1" destOrd="0" presId="urn:microsoft.com/office/officeart/2005/8/layout/gear1"/>
    <dgm:cxn modelId="{A021B9E2-85B8-41FB-B818-0DC6189CC96E}" srcId="{07DB79ED-C32A-4581-9B76-C319276F56A8}" destId="{9D0C365D-5AAC-4C29-AD7E-814942D7AD78}" srcOrd="0" destOrd="0" parTransId="{4A9A06F5-E7A7-48AD-9B50-3D9536236FD6}" sibTransId="{44C13638-3058-470A-A105-DDCF87789A9D}"/>
    <dgm:cxn modelId="{5722CE05-1BDE-4ACE-97C9-A1CF6A094436}" srcId="{07DB79ED-C32A-4581-9B76-C319276F56A8}" destId="{C43226A3-9D8B-4C7B-9A97-8FCCEE8A04DC}" srcOrd="2" destOrd="0" parTransId="{7AFAFE1B-6317-4F78-8222-07537B37A01A}" sibTransId="{538F3F78-9807-4AFF-AC5E-3E2DC3CF792A}"/>
    <dgm:cxn modelId="{3406ABD8-8FA2-4915-B0CB-957762D48912}" srcId="{5C86346B-5F6B-4273-A61B-F412B576050A}" destId="{15C121FC-17D3-4FD2-9C2D-8B6D7D1C5021}" srcOrd="1" destOrd="0" parTransId="{76C8D0ED-B34F-485C-9548-49F9ED67C2CC}" sibTransId="{F2E94C55-7921-43DA-BE39-CD44128E9CD7}"/>
    <dgm:cxn modelId="{51CC2A09-911F-47A2-9A62-09DB730B9D08}" type="presOf" srcId="{15E8FCE3-074B-4611-924B-F32038D74553}" destId="{7580CF43-043E-4C76-B60E-3379B0A0CF55}" srcOrd="0" destOrd="2" presId="urn:microsoft.com/office/officeart/2005/8/layout/gear1"/>
    <dgm:cxn modelId="{4BFE5EAE-6E4B-4DDF-AFF2-E6AFC932EE11}" type="presOf" srcId="{15C121FC-17D3-4FD2-9C2D-8B6D7D1C5021}" destId="{51AC7240-3FAB-4567-85FE-47CDCC344007}" srcOrd="1" destOrd="0" presId="urn:microsoft.com/office/officeart/2005/8/layout/gear1"/>
    <dgm:cxn modelId="{95C1592F-5242-45B7-B80B-59A9BAF05FD2}" type="presOf" srcId="{07DB79ED-C32A-4581-9B76-C319276F56A8}" destId="{89813969-954A-4C10-BCBE-6A8460B083F6}" srcOrd="2" destOrd="0" presId="urn:microsoft.com/office/officeart/2005/8/layout/gear1"/>
    <dgm:cxn modelId="{C71AEE75-2AF3-4A4F-A355-B1356DAD972F}" srcId="{07DB79ED-C32A-4581-9B76-C319276F56A8}" destId="{2C2EC073-E017-41CC-AFAA-7E6299BD6045}" srcOrd="1" destOrd="0" parTransId="{2D6FBDAB-DA2A-4138-ACF8-25DAC83ED5EA}" sibTransId="{DEE7105B-F8AD-467C-B94E-1223CC0880C6}"/>
    <dgm:cxn modelId="{C41E9C31-A7D2-4DF4-B019-D7642491D40E}" type="presOf" srcId="{2C2EC073-E017-41CC-AFAA-7E6299BD6045}" destId="{DD1C28AB-516B-46AA-B69D-C48A8E2245C3}" srcOrd="0" destOrd="1" presId="urn:microsoft.com/office/officeart/2005/8/layout/gear1"/>
    <dgm:cxn modelId="{60113ECD-ECF8-4377-AF27-7E4F37BD3965}" srcId="{15C121FC-17D3-4FD2-9C2D-8B6D7D1C5021}" destId="{C5EFEBB9-107E-4B58-8A9A-3F5437D8F491}" srcOrd="0" destOrd="0" parTransId="{F257D2EC-0E00-4983-8622-F07DB131E0BE}" sibTransId="{8B1C67A3-7055-418E-B1DB-4338AC82DC0A}"/>
    <dgm:cxn modelId="{B6BCCD3B-A7BF-43B2-B430-B81396B6FDCD}" type="presOf" srcId="{F2E94C55-7921-43DA-BE39-CD44128E9CD7}" destId="{15C1CF20-D8A8-4C81-9211-A4F0015B8C36}" srcOrd="0" destOrd="0" presId="urn:microsoft.com/office/officeart/2005/8/layout/gear1"/>
    <dgm:cxn modelId="{61350200-5945-42ED-A212-E317BA4EF9E3}" type="presOf" srcId="{8C750F49-F269-4513-BC6B-6754E922ABD8}" destId="{DD1C28AB-516B-46AA-B69D-C48A8E2245C3}" srcOrd="0" destOrd="3" presId="urn:microsoft.com/office/officeart/2005/8/layout/gear1"/>
    <dgm:cxn modelId="{CAF64335-384F-49F1-94E4-B4AD151DC099}" srcId="{5C86346B-5F6B-4273-A61B-F412B576050A}" destId="{416B5A00-E26E-455A-B58A-A3432CC43238}" srcOrd="0" destOrd="0" parTransId="{29E7FE21-1937-4ED9-97AC-644C16E0BC7D}" sibTransId="{DE242189-BCE7-4FB0-AD2E-E2F7C416468F}"/>
    <dgm:cxn modelId="{A2A1F1BB-737C-445A-A03E-AED9EBF62940}" srcId="{15C121FC-17D3-4FD2-9C2D-8B6D7D1C5021}" destId="{25DC6303-9248-4828-963D-98A431B795A7}" srcOrd="1" destOrd="0" parTransId="{A3DED1D0-F8C8-43F5-8BA6-7508D0B55962}" sibTransId="{296FCB3E-04F0-4155-B446-8D351A699DE4}"/>
    <dgm:cxn modelId="{FC9C2EF5-E253-4658-BF5E-E6BBAEBEC0AC}" srcId="{416B5A00-E26E-455A-B58A-A3432CC43238}" destId="{42E9389B-BC1E-4F3B-9D70-20EDEE9A679E}" srcOrd="0" destOrd="0" parTransId="{4F14D74D-0F6F-42A0-AEC3-FDE079C7D4C2}" sibTransId="{DEF060B1-C006-443B-8D61-98133B313B24}"/>
    <dgm:cxn modelId="{1EB530B6-D499-4F7D-81A8-2F9D14CB47CE}" type="presOf" srcId="{C43226A3-9D8B-4C7B-9A97-8FCCEE8A04DC}" destId="{DD1C28AB-516B-46AA-B69D-C48A8E2245C3}" srcOrd="0" destOrd="2" presId="urn:microsoft.com/office/officeart/2005/8/layout/gear1"/>
    <dgm:cxn modelId="{FE5CAF67-13AD-40DB-B12A-40961EB8A69B}" type="presOf" srcId="{DE242189-BCE7-4FB0-AD2E-E2F7C416468F}" destId="{7D6C3B7B-9706-4AD6-88FA-50317C1B2357}" srcOrd="0" destOrd="0" presId="urn:microsoft.com/office/officeart/2005/8/layout/gear1"/>
    <dgm:cxn modelId="{9EA5D41C-C918-4D90-B43E-E08F28D14DF4}" type="presOf" srcId="{07DB79ED-C32A-4581-9B76-C319276F56A8}" destId="{67E051A1-A2E9-4BD1-AD80-97A8DC6A24D4}" srcOrd="1" destOrd="0" presId="urn:microsoft.com/office/officeart/2005/8/layout/gear1"/>
    <dgm:cxn modelId="{96B8D0B9-29DB-49D6-A601-1ECB7FF90CD6}" srcId="{416B5A00-E26E-455A-B58A-A3432CC43238}" destId="{5E67ABB6-2F80-4A42-8D66-44C853FB8711}" srcOrd="1" destOrd="0" parTransId="{2AC18B7D-06B9-4F7C-AC39-34B95A34C7E3}" sibTransId="{129329AB-D35E-4A32-97E5-E23DEAD2CF1C}"/>
    <dgm:cxn modelId="{3EC4E323-B3EE-474E-A7F9-630A9FC2E503}" type="presOf" srcId="{07DB79ED-C32A-4581-9B76-C319276F56A8}" destId="{E708F729-956D-411E-A5BA-094FC40920E9}" srcOrd="0" destOrd="0" presId="urn:microsoft.com/office/officeart/2005/8/layout/gear1"/>
    <dgm:cxn modelId="{6FDFD800-6A6E-47BE-B5EC-22FE1F0B8E0D}" type="presOf" srcId="{07DB79ED-C32A-4581-9B76-C319276F56A8}" destId="{6FF6A4EA-8406-46C3-BB20-7DA175381D55}" srcOrd="3" destOrd="0" presId="urn:microsoft.com/office/officeart/2005/8/layout/gear1"/>
    <dgm:cxn modelId="{129B9DDA-E03E-4D83-9B66-1915C34B077A}" type="presParOf" srcId="{4C67291E-4944-4FCA-8F83-85BC0255A55A}" destId="{F2B6B239-EFA5-4BFD-ACFA-FE09D2DBF823}" srcOrd="0" destOrd="0" presId="urn:microsoft.com/office/officeart/2005/8/layout/gear1"/>
    <dgm:cxn modelId="{C0BBF1BA-F792-48EE-A942-05F0DA5DB3B2}" type="presParOf" srcId="{4C67291E-4944-4FCA-8F83-85BC0255A55A}" destId="{236DCB8E-7019-453B-A5A9-C52671FA13F2}" srcOrd="1" destOrd="0" presId="urn:microsoft.com/office/officeart/2005/8/layout/gear1"/>
    <dgm:cxn modelId="{B5C37A5E-30AB-4093-AD77-A2E1643D5475}" type="presParOf" srcId="{4C67291E-4944-4FCA-8F83-85BC0255A55A}" destId="{97434A15-C79A-4E0D-BB07-BB28F94F9DEF}" srcOrd="2" destOrd="0" presId="urn:microsoft.com/office/officeart/2005/8/layout/gear1"/>
    <dgm:cxn modelId="{C1A48659-AB13-4187-A33D-F67327B5DF3A}" type="presParOf" srcId="{4C67291E-4944-4FCA-8F83-85BC0255A55A}" destId="{7580CF43-043E-4C76-B60E-3379B0A0CF55}" srcOrd="3" destOrd="0" presId="urn:microsoft.com/office/officeart/2005/8/layout/gear1"/>
    <dgm:cxn modelId="{A1829B99-48E7-4449-B531-59296CB090DB}" type="presParOf" srcId="{4C67291E-4944-4FCA-8F83-85BC0255A55A}" destId="{BDDCEB9F-CCA7-442A-94AB-916272564FBE}" srcOrd="4" destOrd="0" presId="urn:microsoft.com/office/officeart/2005/8/layout/gear1"/>
    <dgm:cxn modelId="{5A93E503-9D33-4548-AA82-3D1DE1C57078}" type="presParOf" srcId="{4C67291E-4944-4FCA-8F83-85BC0255A55A}" destId="{51AC7240-3FAB-4567-85FE-47CDCC344007}" srcOrd="5" destOrd="0" presId="urn:microsoft.com/office/officeart/2005/8/layout/gear1"/>
    <dgm:cxn modelId="{60AB790C-A290-48B0-8DA1-C40CEBF3D8F6}" type="presParOf" srcId="{4C67291E-4944-4FCA-8F83-85BC0255A55A}" destId="{6E8DB72F-50C7-4423-8337-D2FAA44CE47A}" srcOrd="6" destOrd="0" presId="urn:microsoft.com/office/officeart/2005/8/layout/gear1"/>
    <dgm:cxn modelId="{44E8DB4C-C45F-43AB-BCF9-8134CD2D3C1D}" type="presParOf" srcId="{4C67291E-4944-4FCA-8F83-85BC0255A55A}" destId="{150D105A-A7AC-490F-9AD3-7D1F589D3A6A}" srcOrd="7" destOrd="0" presId="urn:microsoft.com/office/officeart/2005/8/layout/gear1"/>
    <dgm:cxn modelId="{16E477F0-8A37-4B2E-BFF0-04AB70D28CD7}" type="presParOf" srcId="{4C67291E-4944-4FCA-8F83-85BC0255A55A}" destId="{E708F729-956D-411E-A5BA-094FC40920E9}" srcOrd="8" destOrd="0" presId="urn:microsoft.com/office/officeart/2005/8/layout/gear1"/>
    <dgm:cxn modelId="{5EFDB64D-A810-499A-8349-5E5E56E06AAE}" type="presParOf" srcId="{4C67291E-4944-4FCA-8F83-85BC0255A55A}" destId="{67E051A1-A2E9-4BD1-AD80-97A8DC6A24D4}" srcOrd="9" destOrd="0" presId="urn:microsoft.com/office/officeart/2005/8/layout/gear1"/>
    <dgm:cxn modelId="{BC4F66E8-C65A-4B46-99AE-A59233C35F75}" type="presParOf" srcId="{4C67291E-4944-4FCA-8F83-85BC0255A55A}" destId="{89813969-954A-4C10-BCBE-6A8460B083F6}" srcOrd="10" destOrd="0" presId="urn:microsoft.com/office/officeart/2005/8/layout/gear1"/>
    <dgm:cxn modelId="{3907074B-CB94-4200-BC18-CF4C102C49D6}" type="presParOf" srcId="{4C67291E-4944-4FCA-8F83-85BC0255A55A}" destId="{6FF6A4EA-8406-46C3-BB20-7DA175381D55}" srcOrd="11" destOrd="0" presId="urn:microsoft.com/office/officeart/2005/8/layout/gear1"/>
    <dgm:cxn modelId="{1D8579C7-9A0A-493D-908F-0E5D55329362}" type="presParOf" srcId="{4C67291E-4944-4FCA-8F83-85BC0255A55A}" destId="{DD1C28AB-516B-46AA-B69D-C48A8E2245C3}" srcOrd="12" destOrd="0" presId="urn:microsoft.com/office/officeart/2005/8/layout/gear1"/>
    <dgm:cxn modelId="{AC70BC8D-DA74-4FEA-9CE7-1B9F98DA420B}" type="presParOf" srcId="{4C67291E-4944-4FCA-8F83-85BC0255A55A}" destId="{7D6C3B7B-9706-4AD6-88FA-50317C1B2357}" srcOrd="13" destOrd="0" presId="urn:microsoft.com/office/officeart/2005/8/layout/gear1"/>
    <dgm:cxn modelId="{0A1158CF-2520-4A3F-9AF4-4D0F109D0A8B}" type="presParOf" srcId="{4C67291E-4944-4FCA-8F83-85BC0255A55A}" destId="{15C1CF20-D8A8-4C81-9211-A4F0015B8C36}" srcOrd="14" destOrd="0" presId="urn:microsoft.com/office/officeart/2005/8/layout/gear1"/>
    <dgm:cxn modelId="{E8B99487-43C0-4812-A676-DA0242805D1E}" type="presParOf" srcId="{4C67291E-4944-4FCA-8F83-85BC0255A55A}" destId="{261D2273-BFE9-4C53-8334-EB9647BDDBE2}" srcOrd="15"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9BA8E957-3E98-4C6D-B0FF-BD52999030C4}"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zh-CN" altLang="en-US"/>
        </a:p>
      </dgm:t>
    </dgm:pt>
    <dgm:pt modelId="{0E7C2F30-9C98-4638-BA34-4EC2363D8846}">
      <dgm:prSet phldrT="[文本]"/>
      <dgm:spPr/>
      <dgm:t>
        <a:bodyPr/>
        <a:lstStyle/>
        <a:p>
          <a:r>
            <a:rPr lang="zh-CN" altLang="en-US" dirty="0" smtClean="0">
              <a:solidFill>
                <a:schemeClr val="tx1"/>
              </a:solidFill>
            </a:rPr>
            <a:t>掩踪潜伏</a:t>
          </a:r>
          <a:endParaRPr lang="zh-CN" altLang="en-US" dirty="0">
            <a:solidFill>
              <a:schemeClr val="tx1"/>
            </a:solidFill>
          </a:endParaRPr>
        </a:p>
      </dgm:t>
    </dgm:pt>
    <dgm:pt modelId="{227E7F01-FA18-4C67-9A91-EA51F58125C1}" type="parTrans" cxnId="{A25CB76D-6BA8-4D84-A414-08DDB23A50DD}">
      <dgm:prSet/>
      <dgm:spPr/>
      <dgm:t>
        <a:bodyPr/>
        <a:lstStyle/>
        <a:p>
          <a:endParaRPr lang="zh-CN" altLang="en-US">
            <a:solidFill>
              <a:schemeClr val="tx1"/>
            </a:solidFill>
          </a:endParaRPr>
        </a:p>
      </dgm:t>
    </dgm:pt>
    <dgm:pt modelId="{96EF6C5C-353A-4EDE-9EFA-356F4D8652FF}" type="sibTrans" cxnId="{A25CB76D-6BA8-4D84-A414-08DDB23A50DD}">
      <dgm:prSet/>
      <dgm:spPr/>
      <dgm:t>
        <a:bodyPr/>
        <a:lstStyle/>
        <a:p>
          <a:endParaRPr lang="zh-CN" altLang="en-US">
            <a:solidFill>
              <a:schemeClr val="tx1"/>
            </a:solidFill>
          </a:endParaRPr>
        </a:p>
      </dgm:t>
    </dgm:pt>
    <dgm:pt modelId="{25517DD7-DB1A-4D3B-830D-8D2C066F5746}">
      <dgm:prSet phldrT="[文本]"/>
      <dgm:spPr/>
      <dgm:t>
        <a:bodyPr/>
        <a:lstStyle/>
        <a:p>
          <a:r>
            <a:rPr lang="zh-CN" altLang="en-US" dirty="0" smtClean="0">
              <a:solidFill>
                <a:schemeClr val="tx1"/>
              </a:solidFill>
            </a:rPr>
            <a:t>监候目标</a:t>
          </a:r>
          <a:endParaRPr lang="zh-CN" altLang="en-US" dirty="0">
            <a:solidFill>
              <a:schemeClr val="tx1"/>
            </a:solidFill>
          </a:endParaRPr>
        </a:p>
      </dgm:t>
    </dgm:pt>
    <dgm:pt modelId="{D6186B5F-C5D3-48EB-A7DD-916C6D7D0041}" type="parTrans" cxnId="{C62FC481-10C0-45E8-8F30-D49B2E9F753F}">
      <dgm:prSet/>
      <dgm:spPr/>
      <dgm:t>
        <a:bodyPr/>
        <a:lstStyle/>
        <a:p>
          <a:endParaRPr lang="zh-CN" altLang="en-US">
            <a:solidFill>
              <a:schemeClr val="tx1"/>
            </a:solidFill>
          </a:endParaRPr>
        </a:p>
      </dgm:t>
    </dgm:pt>
    <dgm:pt modelId="{FE98D03A-065F-4E44-B54C-AF4DF9E22CE2}" type="sibTrans" cxnId="{C62FC481-10C0-45E8-8F30-D49B2E9F753F}">
      <dgm:prSet/>
      <dgm:spPr/>
      <dgm:t>
        <a:bodyPr/>
        <a:lstStyle/>
        <a:p>
          <a:endParaRPr lang="zh-CN" altLang="en-US">
            <a:solidFill>
              <a:schemeClr val="tx1"/>
            </a:solidFill>
          </a:endParaRPr>
        </a:p>
      </dgm:t>
    </dgm:pt>
    <dgm:pt modelId="{529F289C-1325-4703-879B-35E712238ECD}">
      <dgm:prSet phldrT="[文本]"/>
      <dgm:spPr/>
      <dgm:t>
        <a:bodyPr/>
        <a:lstStyle/>
        <a:p>
          <a:r>
            <a:rPr lang="zh-CN" altLang="en-US" dirty="0" smtClean="0">
              <a:solidFill>
                <a:schemeClr val="tx1"/>
              </a:solidFill>
            </a:rPr>
            <a:t>定期监控目标</a:t>
          </a:r>
          <a:endParaRPr lang="zh-CN" altLang="en-US" dirty="0">
            <a:solidFill>
              <a:schemeClr val="tx1"/>
            </a:solidFill>
          </a:endParaRPr>
        </a:p>
      </dgm:t>
    </dgm:pt>
    <dgm:pt modelId="{6B7B38C0-2B59-4928-9476-E23CC9D30B51}" type="parTrans" cxnId="{E6DCC512-B469-47E9-8BD5-97E2EF934021}">
      <dgm:prSet/>
      <dgm:spPr/>
      <dgm:t>
        <a:bodyPr/>
        <a:lstStyle/>
        <a:p>
          <a:endParaRPr lang="zh-CN" altLang="en-US">
            <a:solidFill>
              <a:schemeClr val="tx1"/>
            </a:solidFill>
          </a:endParaRPr>
        </a:p>
      </dgm:t>
    </dgm:pt>
    <dgm:pt modelId="{F07CE773-962C-4161-92F9-46862F6C77F2}" type="sibTrans" cxnId="{E6DCC512-B469-47E9-8BD5-97E2EF934021}">
      <dgm:prSet/>
      <dgm:spPr/>
      <dgm:t>
        <a:bodyPr/>
        <a:lstStyle/>
        <a:p>
          <a:endParaRPr lang="zh-CN" altLang="en-US">
            <a:solidFill>
              <a:schemeClr val="tx1"/>
            </a:solidFill>
          </a:endParaRPr>
        </a:p>
      </dgm:t>
    </dgm:pt>
    <dgm:pt modelId="{63BF8DFE-5C06-4158-8D0E-735E3F1EB56E}">
      <dgm:prSet phldrT="[文本]"/>
      <dgm:spPr/>
      <dgm:t>
        <a:bodyPr/>
        <a:lstStyle/>
        <a:p>
          <a:r>
            <a:rPr lang="zh-CN" altLang="en-US" dirty="0" smtClean="0">
              <a:solidFill>
                <a:schemeClr val="tx1"/>
              </a:solidFill>
            </a:rPr>
            <a:t>隐藏后门：</a:t>
          </a:r>
          <a:r>
            <a:rPr lang="en-US" altLang="zh-CN" dirty="0" err="1" smtClean="0">
              <a:solidFill>
                <a:schemeClr val="tx1"/>
              </a:solidFill>
            </a:rPr>
            <a:t>Rookit</a:t>
          </a:r>
          <a:r>
            <a:rPr lang="zh-CN" altLang="en-US" dirty="0" smtClean="0">
              <a:solidFill>
                <a:schemeClr val="tx1"/>
              </a:solidFill>
            </a:rPr>
            <a:t>、远控、</a:t>
          </a:r>
          <a:r>
            <a:rPr lang="en-US" altLang="zh-CN" dirty="0" smtClean="0">
              <a:solidFill>
                <a:schemeClr val="tx1"/>
              </a:solidFill>
            </a:rPr>
            <a:t>shift</a:t>
          </a:r>
          <a:r>
            <a:rPr lang="zh-CN" altLang="en-US" dirty="0" smtClean="0">
              <a:solidFill>
                <a:schemeClr val="tx1"/>
              </a:solidFill>
            </a:rPr>
            <a:t>后门、放大镜后门、恶意脚本代码</a:t>
          </a:r>
          <a:endParaRPr lang="zh-CN" altLang="en-US" dirty="0">
            <a:solidFill>
              <a:schemeClr val="tx1"/>
            </a:solidFill>
          </a:endParaRPr>
        </a:p>
      </dgm:t>
    </dgm:pt>
    <dgm:pt modelId="{502F4D93-5747-4A27-9C68-F7BB21176CA5}" type="parTrans" cxnId="{D1B4FECD-96A1-4C9D-A8CF-B605CA338D35}">
      <dgm:prSet/>
      <dgm:spPr/>
      <dgm:t>
        <a:bodyPr/>
        <a:lstStyle/>
        <a:p>
          <a:endParaRPr lang="zh-CN" altLang="en-US">
            <a:solidFill>
              <a:schemeClr val="tx1"/>
            </a:solidFill>
          </a:endParaRPr>
        </a:p>
      </dgm:t>
    </dgm:pt>
    <dgm:pt modelId="{FBE81397-983F-4A99-B9C8-C67C6B8F5E4F}" type="sibTrans" cxnId="{D1B4FECD-96A1-4C9D-A8CF-B605CA338D35}">
      <dgm:prSet/>
      <dgm:spPr/>
      <dgm:t>
        <a:bodyPr/>
        <a:lstStyle/>
        <a:p>
          <a:endParaRPr lang="zh-CN" altLang="en-US">
            <a:solidFill>
              <a:schemeClr val="tx1"/>
            </a:solidFill>
          </a:endParaRPr>
        </a:p>
      </dgm:t>
    </dgm:pt>
    <dgm:pt modelId="{7E9702B1-9945-4E84-9B88-102AA99CB48C}">
      <dgm:prSet phldrT="[文本]"/>
      <dgm:spPr/>
      <dgm:t>
        <a:bodyPr/>
        <a:lstStyle/>
        <a:p>
          <a:r>
            <a:rPr lang="zh-CN" altLang="en-US" dirty="0" smtClean="0">
              <a:solidFill>
                <a:schemeClr val="tx1"/>
              </a:solidFill>
            </a:rPr>
            <a:t>权限保护：隐藏帐户、伪装帐户、克隆系统帐户、口令保护的</a:t>
          </a:r>
          <a:r>
            <a:rPr lang="en-US" altLang="zh-CN" dirty="0" smtClean="0">
              <a:solidFill>
                <a:schemeClr val="tx1"/>
              </a:solidFill>
            </a:rPr>
            <a:t>VPN</a:t>
          </a:r>
          <a:endParaRPr lang="zh-CN" altLang="en-US" dirty="0">
            <a:solidFill>
              <a:schemeClr val="tx1"/>
            </a:solidFill>
          </a:endParaRPr>
        </a:p>
      </dgm:t>
    </dgm:pt>
    <dgm:pt modelId="{3EA00D84-2113-4A68-8C33-50676F60A07A}" type="parTrans" cxnId="{1EBB65BC-DAAD-4F38-85FB-57CE2986875C}">
      <dgm:prSet/>
      <dgm:spPr/>
      <dgm:t>
        <a:bodyPr/>
        <a:lstStyle/>
        <a:p>
          <a:endParaRPr lang="zh-CN" altLang="en-US">
            <a:solidFill>
              <a:schemeClr val="tx1"/>
            </a:solidFill>
          </a:endParaRPr>
        </a:p>
      </dgm:t>
    </dgm:pt>
    <dgm:pt modelId="{9187D4C8-1DD3-4BA3-B838-FF5060880333}" type="sibTrans" cxnId="{1EBB65BC-DAAD-4F38-85FB-57CE2986875C}">
      <dgm:prSet/>
      <dgm:spPr/>
      <dgm:t>
        <a:bodyPr/>
        <a:lstStyle/>
        <a:p>
          <a:endParaRPr lang="zh-CN" altLang="en-US">
            <a:solidFill>
              <a:schemeClr val="tx1"/>
            </a:solidFill>
          </a:endParaRPr>
        </a:p>
      </dgm:t>
    </dgm:pt>
    <dgm:pt modelId="{34D95EF9-0911-48C1-80B0-45FDA0B7A40B}" type="pres">
      <dgm:prSet presAssocID="{9BA8E957-3E98-4C6D-B0FF-BD52999030C4}" presName="linear" presStyleCnt="0">
        <dgm:presLayoutVars>
          <dgm:dir/>
          <dgm:animLvl val="lvl"/>
          <dgm:resizeHandles val="exact"/>
        </dgm:presLayoutVars>
      </dgm:prSet>
      <dgm:spPr/>
      <dgm:t>
        <a:bodyPr/>
        <a:lstStyle/>
        <a:p>
          <a:endParaRPr lang="zh-CN" altLang="en-US"/>
        </a:p>
      </dgm:t>
    </dgm:pt>
    <dgm:pt modelId="{C3022B53-9209-4317-B0FC-82BD15B22C9B}" type="pres">
      <dgm:prSet presAssocID="{0E7C2F30-9C98-4638-BA34-4EC2363D8846}" presName="parentLin" presStyleCnt="0"/>
      <dgm:spPr/>
    </dgm:pt>
    <dgm:pt modelId="{2948D2C1-847F-429A-8522-7C5ACC367C28}" type="pres">
      <dgm:prSet presAssocID="{0E7C2F30-9C98-4638-BA34-4EC2363D8846}" presName="parentLeftMargin" presStyleLbl="node1" presStyleIdx="0" presStyleCnt="2"/>
      <dgm:spPr/>
      <dgm:t>
        <a:bodyPr/>
        <a:lstStyle/>
        <a:p>
          <a:endParaRPr lang="zh-CN" altLang="en-US"/>
        </a:p>
      </dgm:t>
    </dgm:pt>
    <dgm:pt modelId="{4E3D71AC-C397-4068-AFE5-135B73D32131}" type="pres">
      <dgm:prSet presAssocID="{0E7C2F30-9C98-4638-BA34-4EC2363D8846}" presName="parentText" presStyleLbl="node1" presStyleIdx="0" presStyleCnt="2">
        <dgm:presLayoutVars>
          <dgm:chMax val="0"/>
          <dgm:bulletEnabled val="1"/>
        </dgm:presLayoutVars>
      </dgm:prSet>
      <dgm:spPr/>
      <dgm:t>
        <a:bodyPr/>
        <a:lstStyle/>
        <a:p>
          <a:endParaRPr lang="zh-CN" altLang="en-US"/>
        </a:p>
      </dgm:t>
    </dgm:pt>
    <dgm:pt modelId="{255AC084-65A6-4A93-A0B4-DDF2BBA225B2}" type="pres">
      <dgm:prSet presAssocID="{0E7C2F30-9C98-4638-BA34-4EC2363D8846}" presName="negativeSpace" presStyleCnt="0"/>
      <dgm:spPr/>
    </dgm:pt>
    <dgm:pt modelId="{93261C04-3BFF-4EDF-9483-0D0E7468F55D}" type="pres">
      <dgm:prSet presAssocID="{0E7C2F30-9C98-4638-BA34-4EC2363D8846}" presName="childText" presStyleLbl="conFgAcc1" presStyleIdx="0" presStyleCnt="2">
        <dgm:presLayoutVars>
          <dgm:bulletEnabled val="1"/>
        </dgm:presLayoutVars>
      </dgm:prSet>
      <dgm:spPr/>
      <dgm:t>
        <a:bodyPr/>
        <a:lstStyle/>
        <a:p>
          <a:endParaRPr lang="zh-CN" altLang="en-US"/>
        </a:p>
      </dgm:t>
    </dgm:pt>
    <dgm:pt modelId="{A73BE005-4390-4583-AC4B-C46ACC2C1325}" type="pres">
      <dgm:prSet presAssocID="{96EF6C5C-353A-4EDE-9EFA-356F4D8652FF}" presName="spaceBetweenRectangles" presStyleCnt="0"/>
      <dgm:spPr/>
    </dgm:pt>
    <dgm:pt modelId="{4EDF965D-C67A-465D-A18E-589FF1D1FB1D}" type="pres">
      <dgm:prSet presAssocID="{25517DD7-DB1A-4D3B-830D-8D2C066F5746}" presName="parentLin" presStyleCnt="0"/>
      <dgm:spPr/>
    </dgm:pt>
    <dgm:pt modelId="{2C3D7775-3C5F-4971-904B-B34B841D4A71}" type="pres">
      <dgm:prSet presAssocID="{25517DD7-DB1A-4D3B-830D-8D2C066F5746}" presName="parentLeftMargin" presStyleLbl="node1" presStyleIdx="0" presStyleCnt="2"/>
      <dgm:spPr/>
      <dgm:t>
        <a:bodyPr/>
        <a:lstStyle/>
        <a:p>
          <a:endParaRPr lang="zh-CN" altLang="en-US"/>
        </a:p>
      </dgm:t>
    </dgm:pt>
    <dgm:pt modelId="{861C2AD9-C013-44AD-88FE-4C90A416B8B8}" type="pres">
      <dgm:prSet presAssocID="{25517DD7-DB1A-4D3B-830D-8D2C066F5746}" presName="parentText" presStyleLbl="node1" presStyleIdx="1" presStyleCnt="2">
        <dgm:presLayoutVars>
          <dgm:chMax val="0"/>
          <dgm:bulletEnabled val="1"/>
        </dgm:presLayoutVars>
      </dgm:prSet>
      <dgm:spPr/>
      <dgm:t>
        <a:bodyPr/>
        <a:lstStyle/>
        <a:p>
          <a:endParaRPr lang="zh-CN" altLang="en-US"/>
        </a:p>
      </dgm:t>
    </dgm:pt>
    <dgm:pt modelId="{EF4D0B67-2E0A-4EF0-9552-63602F438AC8}" type="pres">
      <dgm:prSet presAssocID="{25517DD7-DB1A-4D3B-830D-8D2C066F5746}" presName="negativeSpace" presStyleCnt="0"/>
      <dgm:spPr/>
    </dgm:pt>
    <dgm:pt modelId="{99DB5BA7-36E1-4581-9057-85CBB9D22845}" type="pres">
      <dgm:prSet presAssocID="{25517DD7-DB1A-4D3B-830D-8D2C066F5746}" presName="childText" presStyleLbl="conFgAcc1" presStyleIdx="1" presStyleCnt="2">
        <dgm:presLayoutVars>
          <dgm:bulletEnabled val="1"/>
        </dgm:presLayoutVars>
      </dgm:prSet>
      <dgm:spPr/>
      <dgm:t>
        <a:bodyPr/>
        <a:lstStyle/>
        <a:p>
          <a:endParaRPr lang="zh-CN" altLang="en-US"/>
        </a:p>
      </dgm:t>
    </dgm:pt>
  </dgm:ptLst>
  <dgm:cxnLst>
    <dgm:cxn modelId="{898F50D6-A4D8-4DA8-A4B1-9D9C2A83A20B}" type="presOf" srcId="{529F289C-1325-4703-879B-35E712238ECD}" destId="{99DB5BA7-36E1-4581-9057-85CBB9D22845}" srcOrd="0" destOrd="0" presId="urn:microsoft.com/office/officeart/2005/8/layout/list1"/>
    <dgm:cxn modelId="{6EFE54FA-D666-4293-8B3D-CA050956B3F4}" type="presOf" srcId="{0E7C2F30-9C98-4638-BA34-4EC2363D8846}" destId="{4E3D71AC-C397-4068-AFE5-135B73D32131}" srcOrd="1" destOrd="0" presId="urn:microsoft.com/office/officeart/2005/8/layout/list1"/>
    <dgm:cxn modelId="{0444A93B-5502-4DA3-9588-DDB545527C19}" type="presOf" srcId="{7E9702B1-9945-4E84-9B88-102AA99CB48C}" destId="{93261C04-3BFF-4EDF-9483-0D0E7468F55D}" srcOrd="0" destOrd="0" presId="urn:microsoft.com/office/officeart/2005/8/layout/list1"/>
    <dgm:cxn modelId="{C62FC481-10C0-45E8-8F30-D49B2E9F753F}" srcId="{9BA8E957-3E98-4C6D-B0FF-BD52999030C4}" destId="{25517DD7-DB1A-4D3B-830D-8D2C066F5746}" srcOrd="1" destOrd="0" parTransId="{D6186B5F-C5D3-48EB-A7DD-916C6D7D0041}" sibTransId="{FE98D03A-065F-4E44-B54C-AF4DF9E22CE2}"/>
    <dgm:cxn modelId="{93706685-BD5D-48C8-BDF7-9B97305362D0}" type="presOf" srcId="{9BA8E957-3E98-4C6D-B0FF-BD52999030C4}" destId="{34D95EF9-0911-48C1-80B0-45FDA0B7A40B}" srcOrd="0" destOrd="0" presId="urn:microsoft.com/office/officeart/2005/8/layout/list1"/>
    <dgm:cxn modelId="{A25CB76D-6BA8-4D84-A414-08DDB23A50DD}" srcId="{9BA8E957-3E98-4C6D-B0FF-BD52999030C4}" destId="{0E7C2F30-9C98-4638-BA34-4EC2363D8846}" srcOrd="0" destOrd="0" parTransId="{227E7F01-FA18-4C67-9A91-EA51F58125C1}" sibTransId="{96EF6C5C-353A-4EDE-9EFA-356F4D8652FF}"/>
    <dgm:cxn modelId="{1EBB65BC-DAAD-4F38-85FB-57CE2986875C}" srcId="{0E7C2F30-9C98-4638-BA34-4EC2363D8846}" destId="{7E9702B1-9945-4E84-9B88-102AA99CB48C}" srcOrd="0" destOrd="0" parTransId="{3EA00D84-2113-4A68-8C33-50676F60A07A}" sibTransId="{9187D4C8-1DD3-4BA3-B838-FF5060880333}"/>
    <dgm:cxn modelId="{3E924C01-2510-4D99-84AE-336B23EF417A}" type="presOf" srcId="{63BF8DFE-5C06-4158-8D0E-735E3F1EB56E}" destId="{93261C04-3BFF-4EDF-9483-0D0E7468F55D}" srcOrd="0" destOrd="1" presId="urn:microsoft.com/office/officeart/2005/8/layout/list1"/>
    <dgm:cxn modelId="{A67E409F-AADB-46A0-890B-96068132FB44}" type="presOf" srcId="{25517DD7-DB1A-4D3B-830D-8D2C066F5746}" destId="{861C2AD9-C013-44AD-88FE-4C90A416B8B8}" srcOrd="1" destOrd="0" presId="urn:microsoft.com/office/officeart/2005/8/layout/list1"/>
    <dgm:cxn modelId="{F630300D-7F9D-45AE-8ECB-286C465F0109}" type="presOf" srcId="{25517DD7-DB1A-4D3B-830D-8D2C066F5746}" destId="{2C3D7775-3C5F-4971-904B-B34B841D4A71}" srcOrd="0" destOrd="0" presId="urn:microsoft.com/office/officeart/2005/8/layout/list1"/>
    <dgm:cxn modelId="{D1B4FECD-96A1-4C9D-A8CF-B605CA338D35}" srcId="{0E7C2F30-9C98-4638-BA34-4EC2363D8846}" destId="{63BF8DFE-5C06-4158-8D0E-735E3F1EB56E}" srcOrd="1" destOrd="0" parTransId="{502F4D93-5747-4A27-9C68-F7BB21176CA5}" sibTransId="{FBE81397-983F-4A99-B9C8-C67C6B8F5E4F}"/>
    <dgm:cxn modelId="{8F8F379E-15F7-4FE3-864E-97421D27BDB6}" type="presOf" srcId="{0E7C2F30-9C98-4638-BA34-4EC2363D8846}" destId="{2948D2C1-847F-429A-8522-7C5ACC367C28}" srcOrd="0" destOrd="0" presId="urn:microsoft.com/office/officeart/2005/8/layout/list1"/>
    <dgm:cxn modelId="{E6DCC512-B469-47E9-8BD5-97E2EF934021}" srcId="{25517DD7-DB1A-4D3B-830D-8D2C066F5746}" destId="{529F289C-1325-4703-879B-35E712238ECD}" srcOrd="0" destOrd="0" parTransId="{6B7B38C0-2B59-4928-9476-E23CC9D30B51}" sibTransId="{F07CE773-962C-4161-92F9-46862F6C77F2}"/>
    <dgm:cxn modelId="{9115B0D9-2710-4F80-902D-851DF6D6FDCC}" type="presParOf" srcId="{34D95EF9-0911-48C1-80B0-45FDA0B7A40B}" destId="{C3022B53-9209-4317-B0FC-82BD15B22C9B}" srcOrd="0" destOrd="0" presId="urn:microsoft.com/office/officeart/2005/8/layout/list1"/>
    <dgm:cxn modelId="{32FA7786-F2F2-4146-93C9-A1FC60645E1F}" type="presParOf" srcId="{C3022B53-9209-4317-B0FC-82BD15B22C9B}" destId="{2948D2C1-847F-429A-8522-7C5ACC367C28}" srcOrd="0" destOrd="0" presId="urn:microsoft.com/office/officeart/2005/8/layout/list1"/>
    <dgm:cxn modelId="{DA7A895C-44B2-4448-B402-3A4740815ED9}" type="presParOf" srcId="{C3022B53-9209-4317-B0FC-82BD15B22C9B}" destId="{4E3D71AC-C397-4068-AFE5-135B73D32131}" srcOrd="1" destOrd="0" presId="urn:microsoft.com/office/officeart/2005/8/layout/list1"/>
    <dgm:cxn modelId="{4C1C7FCE-3074-45B7-9D5C-E16C6EF10606}" type="presParOf" srcId="{34D95EF9-0911-48C1-80B0-45FDA0B7A40B}" destId="{255AC084-65A6-4A93-A0B4-DDF2BBA225B2}" srcOrd="1" destOrd="0" presId="urn:microsoft.com/office/officeart/2005/8/layout/list1"/>
    <dgm:cxn modelId="{930165BD-71EC-4D94-A7B4-5037A9084316}" type="presParOf" srcId="{34D95EF9-0911-48C1-80B0-45FDA0B7A40B}" destId="{93261C04-3BFF-4EDF-9483-0D0E7468F55D}" srcOrd="2" destOrd="0" presId="urn:microsoft.com/office/officeart/2005/8/layout/list1"/>
    <dgm:cxn modelId="{F97085EF-19E6-45FF-92CC-FF4417A41643}" type="presParOf" srcId="{34D95EF9-0911-48C1-80B0-45FDA0B7A40B}" destId="{A73BE005-4390-4583-AC4B-C46ACC2C1325}" srcOrd="3" destOrd="0" presId="urn:microsoft.com/office/officeart/2005/8/layout/list1"/>
    <dgm:cxn modelId="{A6D3264F-406C-4A31-B837-2A136EC83B55}" type="presParOf" srcId="{34D95EF9-0911-48C1-80B0-45FDA0B7A40B}" destId="{4EDF965D-C67A-465D-A18E-589FF1D1FB1D}" srcOrd="4" destOrd="0" presId="urn:microsoft.com/office/officeart/2005/8/layout/list1"/>
    <dgm:cxn modelId="{89867227-A5C3-41DE-B0E1-7FBD60167671}" type="presParOf" srcId="{4EDF965D-C67A-465D-A18E-589FF1D1FB1D}" destId="{2C3D7775-3C5F-4971-904B-B34B841D4A71}" srcOrd="0" destOrd="0" presId="urn:microsoft.com/office/officeart/2005/8/layout/list1"/>
    <dgm:cxn modelId="{5C913B21-A0E3-4354-BE97-A6ED6C436B98}" type="presParOf" srcId="{4EDF965D-C67A-465D-A18E-589FF1D1FB1D}" destId="{861C2AD9-C013-44AD-88FE-4C90A416B8B8}" srcOrd="1" destOrd="0" presId="urn:microsoft.com/office/officeart/2005/8/layout/list1"/>
    <dgm:cxn modelId="{10997B6F-1726-4F62-9E24-DA765BB36224}" type="presParOf" srcId="{34D95EF9-0911-48C1-80B0-45FDA0B7A40B}" destId="{EF4D0B67-2E0A-4EF0-9552-63602F438AC8}" srcOrd="5" destOrd="0" presId="urn:microsoft.com/office/officeart/2005/8/layout/list1"/>
    <dgm:cxn modelId="{23029EC7-164B-48C5-911F-E5BA7D4B28C7}" type="presParOf" srcId="{34D95EF9-0911-48C1-80B0-45FDA0B7A40B}" destId="{99DB5BA7-36E1-4581-9057-85CBB9D22845}"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A0AEF523-6ADA-4BBF-A10F-78ED99D90A2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zh-CN" altLang="en-US"/>
        </a:p>
      </dgm:t>
    </dgm:pt>
    <dgm:pt modelId="{6935AA07-C87D-40ED-9CC7-DCF5185B1E40}">
      <dgm:prSet phldrT="[文本]"/>
      <dgm:spPr/>
      <dgm:t>
        <a:bodyPr/>
        <a:lstStyle/>
        <a:p>
          <a:r>
            <a:rPr lang="zh-CN" altLang="en-US" dirty="0" smtClean="0">
              <a:solidFill>
                <a:schemeClr val="tx1"/>
              </a:solidFill>
            </a:rPr>
            <a:t>清除痕迹</a:t>
          </a:r>
          <a:endParaRPr lang="zh-CN" altLang="en-US" dirty="0">
            <a:solidFill>
              <a:schemeClr val="tx1"/>
            </a:solidFill>
          </a:endParaRPr>
        </a:p>
      </dgm:t>
    </dgm:pt>
    <dgm:pt modelId="{0BBA1766-4EC6-40A9-BDC8-6AB29365363D}" type="parTrans" cxnId="{1F96D49A-C372-42E4-8B91-0CDD18ABADB5}">
      <dgm:prSet/>
      <dgm:spPr/>
      <dgm:t>
        <a:bodyPr/>
        <a:lstStyle/>
        <a:p>
          <a:endParaRPr lang="zh-CN" altLang="en-US">
            <a:solidFill>
              <a:schemeClr val="tx1"/>
            </a:solidFill>
          </a:endParaRPr>
        </a:p>
      </dgm:t>
    </dgm:pt>
    <dgm:pt modelId="{62B167F9-3791-4DDA-9531-FCDB5868FAFA}" type="sibTrans" cxnId="{1F96D49A-C372-42E4-8B91-0CDD18ABADB5}">
      <dgm:prSet/>
      <dgm:spPr/>
      <dgm:t>
        <a:bodyPr/>
        <a:lstStyle/>
        <a:p>
          <a:endParaRPr lang="zh-CN" altLang="en-US">
            <a:solidFill>
              <a:schemeClr val="tx1"/>
            </a:solidFill>
          </a:endParaRPr>
        </a:p>
      </dgm:t>
    </dgm:pt>
    <dgm:pt modelId="{BE92D021-C149-4765-83AD-3A23F217CFCC}">
      <dgm:prSet phldrT="[文本]"/>
      <dgm:spPr/>
      <dgm:t>
        <a:bodyPr/>
        <a:lstStyle/>
        <a:p>
          <a:r>
            <a:rPr lang="zh-CN" altLang="en-US" dirty="0" smtClean="0">
              <a:solidFill>
                <a:schemeClr val="tx1"/>
              </a:solidFill>
            </a:rPr>
            <a:t>应用日志</a:t>
          </a:r>
          <a:endParaRPr lang="zh-CN" altLang="en-US" dirty="0">
            <a:solidFill>
              <a:schemeClr val="tx1"/>
            </a:solidFill>
          </a:endParaRPr>
        </a:p>
      </dgm:t>
    </dgm:pt>
    <dgm:pt modelId="{9ACBE0F5-4159-4DE8-9672-16CC2C41E127}" type="parTrans" cxnId="{A6F21CA2-EDCC-48DB-9E45-6612047A54C5}">
      <dgm:prSet/>
      <dgm:spPr/>
      <dgm:t>
        <a:bodyPr/>
        <a:lstStyle/>
        <a:p>
          <a:endParaRPr lang="zh-CN" altLang="en-US">
            <a:solidFill>
              <a:schemeClr val="tx1"/>
            </a:solidFill>
          </a:endParaRPr>
        </a:p>
      </dgm:t>
    </dgm:pt>
    <dgm:pt modelId="{EB34A1D2-69CA-4027-AF8E-AA022DE11280}" type="sibTrans" cxnId="{A6F21CA2-EDCC-48DB-9E45-6612047A54C5}">
      <dgm:prSet/>
      <dgm:spPr/>
      <dgm:t>
        <a:bodyPr/>
        <a:lstStyle/>
        <a:p>
          <a:endParaRPr lang="zh-CN" altLang="en-US">
            <a:solidFill>
              <a:schemeClr val="tx1"/>
            </a:solidFill>
          </a:endParaRPr>
        </a:p>
      </dgm:t>
    </dgm:pt>
    <dgm:pt modelId="{7729AB02-12E2-412E-B898-B0FE78539F9E}">
      <dgm:prSet phldrT="[文本]"/>
      <dgm:spPr/>
      <dgm:t>
        <a:bodyPr/>
        <a:lstStyle/>
        <a:p>
          <a:r>
            <a:rPr lang="zh-CN" altLang="en-US" dirty="0" smtClean="0">
              <a:solidFill>
                <a:schemeClr val="tx1"/>
              </a:solidFill>
            </a:rPr>
            <a:t>网络日志</a:t>
          </a:r>
          <a:endParaRPr lang="zh-CN" altLang="en-US" dirty="0">
            <a:solidFill>
              <a:schemeClr val="tx1"/>
            </a:solidFill>
          </a:endParaRPr>
        </a:p>
      </dgm:t>
    </dgm:pt>
    <dgm:pt modelId="{4EAE58F2-39E3-4908-B2C9-B55BFA93779A}" type="parTrans" cxnId="{41A490EF-3B73-4705-AE30-7157D2CED535}">
      <dgm:prSet/>
      <dgm:spPr/>
      <dgm:t>
        <a:bodyPr/>
        <a:lstStyle/>
        <a:p>
          <a:endParaRPr lang="zh-CN" altLang="en-US">
            <a:solidFill>
              <a:schemeClr val="tx1"/>
            </a:solidFill>
          </a:endParaRPr>
        </a:p>
      </dgm:t>
    </dgm:pt>
    <dgm:pt modelId="{DB534818-96B7-4EF6-A026-FEA30E32E121}" type="sibTrans" cxnId="{41A490EF-3B73-4705-AE30-7157D2CED535}">
      <dgm:prSet/>
      <dgm:spPr/>
      <dgm:t>
        <a:bodyPr/>
        <a:lstStyle/>
        <a:p>
          <a:endParaRPr lang="zh-CN" altLang="en-US">
            <a:solidFill>
              <a:schemeClr val="tx1"/>
            </a:solidFill>
          </a:endParaRPr>
        </a:p>
      </dgm:t>
    </dgm:pt>
    <dgm:pt modelId="{D5630A41-4DDD-4A26-9703-9F0D56C269A5}">
      <dgm:prSet phldrT="[文本]"/>
      <dgm:spPr/>
      <dgm:t>
        <a:bodyPr/>
        <a:lstStyle/>
        <a:p>
          <a:r>
            <a:rPr lang="zh-CN" altLang="en-US" dirty="0" smtClean="0">
              <a:solidFill>
                <a:schemeClr val="tx1"/>
              </a:solidFill>
            </a:rPr>
            <a:t>清除权限</a:t>
          </a:r>
          <a:endParaRPr lang="zh-CN" altLang="en-US" dirty="0">
            <a:solidFill>
              <a:schemeClr val="tx1"/>
            </a:solidFill>
          </a:endParaRPr>
        </a:p>
      </dgm:t>
    </dgm:pt>
    <dgm:pt modelId="{28BE0CFB-98D5-4D86-9A6C-5F9FE7FC38F4}" type="parTrans" cxnId="{9E1720F4-F2CA-4E96-9856-8F5FAD3AAF13}">
      <dgm:prSet/>
      <dgm:spPr/>
      <dgm:t>
        <a:bodyPr/>
        <a:lstStyle/>
        <a:p>
          <a:endParaRPr lang="zh-CN" altLang="en-US">
            <a:solidFill>
              <a:schemeClr val="tx1"/>
            </a:solidFill>
          </a:endParaRPr>
        </a:p>
      </dgm:t>
    </dgm:pt>
    <dgm:pt modelId="{3C635EBB-6EC0-4D05-8077-27076CCCDD94}" type="sibTrans" cxnId="{9E1720F4-F2CA-4E96-9856-8F5FAD3AAF13}">
      <dgm:prSet/>
      <dgm:spPr/>
      <dgm:t>
        <a:bodyPr/>
        <a:lstStyle/>
        <a:p>
          <a:endParaRPr lang="zh-CN" altLang="en-US">
            <a:solidFill>
              <a:schemeClr val="tx1"/>
            </a:solidFill>
          </a:endParaRPr>
        </a:p>
      </dgm:t>
    </dgm:pt>
    <dgm:pt modelId="{D3975C27-3E4E-4DD7-934F-98E7E909FF07}">
      <dgm:prSet phldrT="[文本]"/>
      <dgm:spPr/>
      <dgm:t>
        <a:bodyPr/>
        <a:lstStyle/>
        <a:p>
          <a:r>
            <a:rPr lang="zh-CN" altLang="en-US" dirty="0" smtClean="0">
              <a:solidFill>
                <a:schemeClr val="tx1"/>
              </a:solidFill>
            </a:rPr>
            <a:t>入侵帐户</a:t>
          </a:r>
          <a:endParaRPr lang="zh-CN" altLang="en-US" dirty="0">
            <a:solidFill>
              <a:schemeClr val="tx1"/>
            </a:solidFill>
          </a:endParaRPr>
        </a:p>
      </dgm:t>
    </dgm:pt>
    <dgm:pt modelId="{9CD1876B-C4E4-4EE8-BD30-FDB9113B04D0}" type="parTrans" cxnId="{53DF1ACA-F3A4-4DFC-8502-A17796F14A12}">
      <dgm:prSet/>
      <dgm:spPr/>
      <dgm:t>
        <a:bodyPr/>
        <a:lstStyle/>
        <a:p>
          <a:endParaRPr lang="zh-CN" altLang="en-US">
            <a:solidFill>
              <a:schemeClr val="tx1"/>
            </a:solidFill>
          </a:endParaRPr>
        </a:p>
      </dgm:t>
    </dgm:pt>
    <dgm:pt modelId="{6F0D7F15-1B91-4BFF-981A-D1A941CCC654}" type="sibTrans" cxnId="{53DF1ACA-F3A4-4DFC-8502-A17796F14A12}">
      <dgm:prSet/>
      <dgm:spPr/>
      <dgm:t>
        <a:bodyPr/>
        <a:lstStyle/>
        <a:p>
          <a:endParaRPr lang="zh-CN" altLang="en-US">
            <a:solidFill>
              <a:schemeClr val="tx1"/>
            </a:solidFill>
          </a:endParaRPr>
        </a:p>
      </dgm:t>
    </dgm:pt>
    <dgm:pt modelId="{7B9FE0D7-8490-4E2B-8ACA-7CEF23DC2445}">
      <dgm:prSet phldrT="[文本]"/>
      <dgm:spPr/>
      <dgm:t>
        <a:bodyPr/>
        <a:lstStyle/>
        <a:p>
          <a:r>
            <a:rPr lang="zh-CN" altLang="en-US" dirty="0" smtClean="0">
              <a:solidFill>
                <a:schemeClr val="tx1"/>
              </a:solidFill>
            </a:rPr>
            <a:t>入侵工具</a:t>
          </a:r>
          <a:endParaRPr lang="zh-CN" altLang="en-US" dirty="0">
            <a:solidFill>
              <a:schemeClr val="tx1"/>
            </a:solidFill>
          </a:endParaRPr>
        </a:p>
      </dgm:t>
    </dgm:pt>
    <dgm:pt modelId="{465217EC-1E93-4849-809D-453993494C61}" type="parTrans" cxnId="{9BB5A510-B206-4E0D-8A71-31CAEB6E0799}">
      <dgm:prSet/>
      <dgm:spPr/>
      <dgm:t>
        <a:bodyPr/>
        <a:lstStyle/>
        <a:p>
          <a:endParaRPr lang="zh-CN" altLang="en-US">
            <a:solidFill>
              <a:schemeClr val="tx1"/>
            </a:solidFill>
          </a:endParaRPr>
        </a:p>
      </dgm:t>
    </dgm:pt>
    <dgm:pt modelId="{A7113ED5-AFA3-4970-96A8-B837680D7899}" type="sibTrans" cxnId="{9BB5A510-B206-4E0D-8A71-31CAEB6E0799}">
      <dgm:prSet/>
      <dgm:spPr/>
      <dgm:t>
        <a:bodyPr/>
        <a:lstStyle/>
        <a:p>
          <a:endParaRPr lang="zh-CN" altLang="en-US">
            <a:solidFill>
              <a:schemeClr val="tx1"/>
            </a:solidFill>
          </a:endParaRPr>
        </a:p>
      </dgm:t>
    </dgm:pt>
    <dgm:pt modelId="{811DD525-9454-4DC0-9A46-FF1B4ABB55F6}">
      <dgm:prSet phldrT="[文本]"/>
      <dgm:spPr/>
      <dgm:t>
        <a:bodyPr/>
        <a:lstStyle/>
        <a:p>
          <a:r>
            <a:rPr lang="zh-CN" altLang="en-US" dirty="0" smtClean="0">
              <a:solidFill>
                <a:schemeClr val="tx1"/>
              </a:solidFill>
            </a:rPr>
            <a:t>入侵脚本</a:t>
          </a:r>
          <a:endParaRPr lang="zh-CN" altLang="en-US" dirty="0">
            <a:solidFill>
              <a:schemeClr val="tx1"/>
            </a:solidFill>
          </a:endParaRPr>
        </a:p>
      </dgm:t>
    </dgm:pt>
    <dgm:pt modelId="{DF83CF03-31D0-4786-8621-C2A028C6E05E}" type="parTrans" cxnId="{152EED02-966F-4BD4-9F92-913FCE4EF758}">
      <dgm:prSet/>
      <dgm:spPr/>
      <dgm:t>
        <a:bodyPr/>
        <a:lstStyle/>
        <a:p>
          <a:endParaRPr lang="zh-CN" altLang="en-US">
            <a:solidFill>
              <a:schemeClr val="tx1"/>
            </a:solidFill>
          </a:endParaRPr>
        </a:p>
      </dgm:t>
    </dgm:pt>
    <dgm:pt modelId="{9DE26C4F-8B8A-44F9-ABBA-468A33E05F66}" type="sibTrans" cxnId="{152EED02-966F-4BD4-9F92-913FCE4EF758}">
      <dgm:prSet/>
      <dgm:spPr/>
      <dgm:t>
        <a:bodyPr/>
        <a:lstStyle/>
        <a:p>
          <a:endParaRPr lang="zh-CN" altLang="en-US">
            <a:solidFill>
              <a:schemeClr val="tx1"/>
            </a:solidFill>
          </a:endParaRPr>
        </a:p>
      </dgm:t>
    </dgm:pt>
    <dgm:pt modelId="{92AE5A0A-5815-4897-A7D7-C75D3A8D11F2}">
      <dgm:prSet phldrT="[文本]"/>
      <dgm:spPr/>
      <dgm:t>
        <a:bodyPr/>
        <a:lstStyle/>
        <a:p>
          <a:r>
            <a:rPr lang="zh-CN" altLang="en-US" dirty="0" smtClean="0">
              <a:solidFill>
                <a:schemeClr val="tx1"/>
              </a:solidFill>
            </a:rPr>
            <a:t>主机日志</a:t>
          </a:r>
          <a:endParaRPr lang="zh-CN" altLang="en-US" dirty="0">
            <a:solidFill>
              <a:schemeClr val="tx1"/>
            </a:solidFill>
          </a:endParaRPr>
        </a:p>
      </dgm:t>
    </dgm:pt>
    <dgm:pt modelId="{5C7B8F3D-3A04-4670-B56F-EC0EA37FE54E}" type="parTrans" cxnId="{A75C8909-92DE-4C73-8EAD-7467AC1E6B7C}">
      <dgm:prSet/>
      <dgm:spPr/>
      <dgm:t>
        <a:bodyPr/>
        <a:lstStyle/>
        <a:p>
          <a:endParaRPr lang="zh-CN" altLang="en-US">
            <a:solidFill>
              <a:schemeClr val="tx1"/>
            </a:solidFill>
          </a:endParaRPr>
        </a:p>
      </dgm:t>
    </dgm:pt>
    <dgm:pt modelId="{BC43CF18-E4F2-49A8-875B-8B23C9E23195}" type="sibTrans" cxnId="{A75C8909-92DE-4C73-8EAD-7467AC1E6B7C}">
      <dgm:prSet/>
      <dgm:spPr/>
      <dgm:t>
        <a:bodyPr/>
        <a:lstStyle/>
        <a:p>
          <a:endParaRPr lang="zh-CN" altLang="en-US">
            <a:solidFill>
              <a:schemeClr val="tx1"/>
            </a:solidFill>
          </a:endParaRPr>
        </a:p>
      </dgm:t>
    </dgm:pt>
    <dgm:pt modelId="{262FA4E5-AC80-4950-B972-368D2E821EF6}">
      <dgm:prSet phldrT="[文本]"/>
      <dgm:spPr/>
      <dgm:t>
        <a:bodyPr/>
        <a:lstStyle/>
        <a:p>
          <a:r>
            <a:rPr lang="zh-CN" altLang="en-US" dirty="0" smtClean="0">
              <a:solidFill>
                <a:schemeClr val="tx1"/>
              </a:solidFill>
            </a:rPr>
            <a:t>清除装备</a:t>
          </a:r>
          <a:endParaRPr lang="zh-CN" altLang="en-US" dirty="0">
            <a:solidFill>
              <a:schemeClr val="tx1"/>
            </a:solidFill>
          </a:endParaRPr>
        </a:p>
      </dgm:t>
    </dgm:pt>
    <dgm:pt modelId="{4EAC7AC1-92C3-46FC-9355-E41FB7339ADB}" type="parTrans" cxnId="{63D731EE-D0C5-4784-888A-C7F0F188B25A}">
      <dgm:prSet/>
      <dgm:spPr/>
      <dgm:t>
        <a:bodyPr/>
        <a:lstStyle/>
        <a:p>
          <a:endParaRPr lang="zh-CN" altLang="en-US">
            <a:solidFill>
              <a:schemeClr val="tx1"/>
            </a:solidFill>
          </a:endParaRPr>
        </a:p>
      </dgm:t>
    </dgm:pt>
    <dgm:pt modelId="{73A4F2DF-1AB4-4813-8606-D701E0F7E796}" type="sibTrans" cxnId="{63D731EE-D0C5-4784-888A-C7F0F188B25A}">
      <dgm:prSet/>
      <dgm:spPr/>
      <dgm:t>
        <a:bodyPr/>
        <a:lstStyle/>
        <a:p>
          <a:endParaRPr lang="zh-CN" altLang="en-US">
            <a:solidFill>
              <a:schemeClr val="tx1"/>
            </a:solidFill>
          </a:endParaRPr>
        </a:p>
      </dgm:t>
    </dgm:pt>
    <dgm:pt modelId="{91CCFFB8-C50D-40B6-9641-AE2A581844A7}">
      <dgm:prSet phldrT="[文本]"/>
      <dgm:spPr/>
      <dgm:t>
        <a:bodyPr/>
        <a:lstStyle/>
        <a:p>
          <a:r>
            <a:rPr lang="zh-CN" altLang="en-US" smtClean="0">
              <a:solidFill>
                <a:schemeClr val="tx1"/>
              </a:solidFill>
            </a:rPr>
            <a:t>其它日志</a:t>
          </a:r>
          <a:endParaRPr lang="zh-CN" altLang="en-US" dirty="0">
            <a:solidFill>
              <a:schemeClr val="tx1"/>
            </a:solidFill>
          </a:endParaRPr>
        </a:p>
      </dgm:t>
    </dgm:pt>
    <dgm:pt modelId="{56683FE6-F126-4978-B966-D6E68D827F73}" type="sibTrans" cxnId="{CC0DA485-7A96-462E-A6F4-4C20C56E24A9}">
      <dgm:prSet/>
      <dgm:spPr/>
      <dgm:t>
        <a:bodyPr/>
        <a:lstStyle/>
        <a:p>
          <a:endParaRPr lang="zh-CN" altLang="en-US">
            <a:solidFill>
              <a:schemeClr val="tx1"/>
            </a:solidFill>
          </a:endParaRPr>
        </a:p>
      </dgm:t>
    </dgm:pt>
    <dgm:pt modelId="{B6026B59-DFBE-433E-AA24-846FEF6635EC}" type="parTrans" cxnId="{CC0DA485-7A96-462E-A6F4-4C20C56E24A9}">
      <dgm:prSet/>
      <dgm:spPr/>
      <dgm:t>
        <a:bodyPr/>
        <a:lstStyle/>
        <a:p>
          <a:endParaRPr lang="zh-CN" altLang="en-US">
            <a:solidFill>
              <a:schemeClr val="tx1"/>
            </a:solidFill>
          </a:endParaRPr>
        </a:p>
      </dgm:t>
    </dgm:pt>
    <dgm:pt modelId="{2F8D0EBE-21AF-40C1-8E10-39086750FEBD}" type="pres">
      <dgm:prSet presAssocID="{A0AEF523-6ADA-4BBF-A10F-78ED99D90A2E}" presName="Name0" presStyleCnt="0">
        <dgm:presLayoutVars>
          <dgm:dir/>
          <dgm:animLvl val="lvl"/>
          <dgm:resizeHandles val="exact"/>
        </dgm:presLayoutVars>
      </dgm:prSet>
      <dgm:spPr/>
      <dgm:t>
        <a:bodyPr/>
        <a:lstStyle/>
        <a:p>
          <a:endParaRPr lang="zh-CN" altLang="en-US"/>
        </a:p>
      </dgm:t>
    </dgm:pt>
    <dgm:pt modelId="{789C8230-7B7A-4F67-B763-BEB44D7DA8B5}" type="pres">
      <dgm:prSet presAssocID="{6935AA07-C87D-40ED-9CC7-DCF5185B1E40}" presName="composite" presStyleCnt="0"/>
      <dgm:spPr/>
    </dgm:pt>
    <dgm:pt modelId="{12A0539D-9414-4434-BA4C-2451F37DAB23}" type="pres">
      <dgm:prSet presAssocID="{6935AA07-C87D-40ED-9CC7-DCF5185B1E40}" presName="parTx" presStyleLbl="alignNode1" presStyleIdx="0" presStyleCnt="3">
        <dgm:presLayoutVars>
          <dgm:chMax val="0"/>
          <dgm:chPref val="0"/>
          <dgm:bulletEnabled val="1"/>
        </dgm:presLayoutVars>
      </dgm:prSet>
      <dgm:spPr/>
      <dgm:t>
        <a:bodyPr/>
        <a:lstStyle/>
        <a:p>
          <a:endParaRPr lang="zh-CN" altLang="en-US"/>
        </a:p>
      </dgm:t>
    </dgm:pt>
    <dgm:pt modelId="{38CF62C4-C7BD-4D8E-86F9-82B9F3B70110}" type="pres">
      <dgm:prSet presAssocID="{6935AA07-C87D-40ED-9CC7-DCF5185B1E40}" presName="desTx" presStyleLbl="alignAccFollowNode1" presStyleIdx="0" presStyleCnt="3">
        <dgm:presLayoutVars>
          <dgm:bulletEnabled val="1"/>
        </dgm:presLayoutVars>
      </dgm:prSet>
      <dgm:spPr/>
      <dgm:t>
        <a:bodyPr/>
        <a:lstStyle/>
        <a:p>
          <a:endParaRPr lang="zh-CN" altLang="en-US"/>
        </a:p>
      </dgm:t>
    </dgm:pt>
    <dgm:pt modelId="{BE625AB6-87D2-49EA-A021-1197F2BD07D3}" type="pres">
      <dgm:prSet presAssocID="{62B167F9-3791-4DDA-9531-FCDB5868FAFA}" presName="space" presStyleCnt="0"/>
      <dgm:spPr/>
    </dgm:pt>
    <dgm:pt modelId="{06185493-5ED4-4DCC-9C0F-C5760390D27A}" type="pres">
      <dgm:prSet presAssocID="{D5630A41-4DDD-4A26-9703-9F0D56C269A5}" presName="composite" presStyleCnt="0"/>
      <dgm:spPr/>
    </dgm:pt>
    <dgm:pt modelId="{D22A39ED-77CC-415A-80F2-78763B685DE9}" type="pres">
      <dgm:prSet presAssocID="{D5630A41-4DDD-4A26-9703-9F0D56C269A5}" presName="parTx" presStyleLbl="alignNode1" presStyleIdx="1" presStyleCnt="3">
        <dgm:presLayoutVars>
          <dgm:chMax val="0"/>
          <dgm:chPref val="0"/>
          <dgm:bulletEnabled val="1"/>
        </dgm:presLayoutVars>
      </dgm:prSet>
      <dgm:spPr/>
      <dgm:t>
        <a:bodyPr/>
        <a:lstStyle/>
        <a:p>
          <a:endParaRPr lang="zh-CN" altLang="en-US"/>
        </a:p>
      </dgm:t>
    </dgm:pt>
    <dgm:pt modelId="{72B208A7-2669-42E7-9CB2-AC55855250A4}" type="pres">
      <dgm:prSet presAssocID="{D5630A41-4DDD-4A26-9703-9F0D56C269A5}" presName="desTx" presStyleLbl="alignAccFollowNode1" presStyleIdx="1" presStyleCnt="3">
        <dgm:presLayoutVars>
          <dgm:bulletEnabled val="1"/>
        </dgm:presLayoutVars>
      </dgm:prSet>
      <dgm:spPr/>
      <dgm:t>
        <a:bodyPr/>
        <a:lstStyle/>
        <a:p>
          <a:endParaRPr lang="zh-CN" altLang="en-US"/>
        </a:p>
      </dgm:t>
    </dgm:pt>
    <dgm:pt modelId="{B5B587DA-61D1-4764-9417-61DD1D94C2AF}" type="pres">
      <dgm:prSet presAssocID="{3C635EBB-6EC0-4D05-8077-27076CCCDD94}" presName="space" presStyleCnt="0"/>
      <dgm:spPr/>
    </dgm:pt>
    <dgm:pt modelId="{49C1B7E9-1CED-4349-9AB0-3415D5924ACD}" type="pres">
      <dgm:prSet presAssocID="{262FA4E5-AC80-4950-B972-368D2E821EF6}" presName="composite" presStyleCnt="0"/>
      <dgm:spPr/>
    </dgm:pt>
    <dgm:pt modelId="{BF3A3480-1EA9-4AD7-B6F6-8CE42A988F0A}" type="pres">
      <dgm:prSet presAssocID="{262FA4E5-AC80-4950-B972-368D2E821EF6}" presName="parTx" presStyleLbl="alignNode1" presStyleIdx="2" presStyleCnt="3">
        <dgm:presLayoutVars>
          <dgm:chMax val="0"/>
          <dgm:chPref val="0"/>
          <dgm:bulletEnabled val="1"/>
        </dgm:presLayoutVars>
      </dgm:prSet>
      <dgm:spPr/>
      <dgm:t>
        <a:bodyPr/>
        <a:lstStyle/>
        <a:p>
          <a:endParaRPr lang="zh-CN" altLang="en-US"/>
        </a:p>
      </dgm:t>
    </dgm:pt>
    <dgm:pt modelId="{97AE0756-AA7B-4071-B277-92E149E4A9DC}" type="pres">
      <dgm:prSet presAssocID="{262FA4E5-AC80-4950-B972-368D2E821EF6}" presName="desTx" presStyleLbl="alignAccFollowNode1" presStyleIdx="2" presStyleCnt="3">
        <dgm:presLayoutVars>
          <dgm:bulletEnabled val="1"/>
        </dgm:presLayoutVars>
      </dgm:prSet>
      <dgm:spPr/>
      <dgm:t>
        <a:bodyPr/>
        <a:lstStyle/>
        <a:p>
          <a:endParaRPr lang="zh-CN" altLang="en-US"/>
        </a:p>
      </dgm:t>
    </dgm:pt>
  </dgm:ptLst>
  <dgm:cxnLst>
    <dgm:cxn modelId="{41A490EF-3B73-4705-AE30-7157D2CED535}" srcId="{6935AA07-C87D-40ED-9CC7-DCF5185B1E40}" destId="{7729AB02-12E2-412E-B898-B0FE78539F9E}" srcOrd="1" destOrd="0" parTransId="{4EAE58F2-39E3-4908-B2C9-B55BFA93779A}" sibTransId="{DB534818-96B7-4EF6-A026-FEA30E32E121}"/>
    <dgm:cxn modelId="{24D1A178-372A-4DC9-AB02-8C1F6B659F0C}" type="presOf" srcId="{92AE5A0A-5815-4897-A7D7-C75D3A8D11F2}" destId="{38CF62C4-C7BD-4D8E-86F9-82B9F3B70110}" srcOrd="0" destOrd="2" presId="urn:microsoft.com/office/officeart/2005/8/layout/hList1"/>
    <dgm:cxn modelId="{A6F21CA2-EDCC-48DB-9E45-6612047A54C5}" srcId="{6935AA07-C87D-40ED-9CC7-DCF5185B1E40}" destId="{BE92D021-C149-4765-83AD-3A23F217CFCC}" srcOrd="0" destOrd="0" parTransId="{9ACBE0F5-4159-4DE8-9672-16CC2C41E127}" sibTransId="{EB34A1D2-69CA-4027-AF8E-AA022DE11280}"/>
    <dgm:cxn modelId="{434D260A-F2F2-47C1-8BB4-1CE4D42A9123}" type="presOf" srcId="{7B9FE0D7-8490-4E2B-8ACA-7CEF23DC2445}" destId="{97AE0756-AA7B-4071-B277-92E149E4A9DC}" srcOrd="0" destOrd="0" presId="urn:microsoft.com/office/officeart/2005/8/layout/hList1"/>
    <dgm:cxn modelId="{2B0C7920-5E81-4989-9A08-B2E6D9F009C8}" type="presOf" srcId="{BE92D021-C149-4765-83AD-3A23F217CFCC}" destId="{38CF62C4-C7BD-4D8E-86F9-82B9F3B70110}" srcOrd="0" destOrd="0" presId="urn:microsoft.com/office/officeart/2005/8/layout/hList1"/>
    <dgm:cxn modelId="{85CA1F9C-C48F-4DDD-85B7-1362E2A891AE}" type="presOf" srcId="{D3975C27-3E4E-4DD7-934F-98E7E909FF07}" destId="{72B208A7-2669-42E7-9CB2-AC55855250A4}" srcOrd="0" destOrd="0" presId="urn:microsoft.com/office/officeart/2005/8/layout/hList1"/>
    <dgm:cxn modelId="{A75C8909-92DE-4C73-8EAD-7467AC1E6B7C}" srcId="{6935AA07-C87D-40ED-9CC7-DCF5185B1E40}" destId="{92AE5A0A-5815-4897-A7D7-C75D3A8D11F2}" srcOrd="2" destOrd="0" parTransId="{5C7B8F3D-3A04-4670-B56F-EC0EA37FE54E}" sibTransId="{BC43CF18-E4F2-49A8-875B-8B23C9E23195}"/>
    <dgm:cxn modelId="{152EED02-966F-4BD4-9F92-913FCE4EF758}" srcId="{262FA4E5-AC80-4950-B972-368D2E821EF6}" destId="{811DD525-9454-4DC0-9A46-FF1B4ABB55F6}" srcOrd="1" destOrd="0" parTransId="{DF83CF03-31D0-4786-8621-C2A028C6E05E}" sibTransId="{9DE26C4F-8B8A-44F9-ABBA-468A33E05F66}"/>
    <dgm:cxn modelId="{BE7B8F03-9790-4077-9123-D37FABE1A018}" type="presOf" srcId="{D5630A41-4DDD-4A26-9703-9F0D56C269A5}" destId="{D22A39ED-77CC-415A-80F2-78763B685DE9}" srcOrd="0" destOrd="0" presId="urn:microsoft.com/office/officeart/2005/8/layout/hList1"/>
    <dgm:cxn modelId="{59816FBE-73A6-4308-971E-BEC6D69C4203}" type="presOf" srcId="{811DD525-9454-4DC0-9A46-FF1B4ABB55F6}" destId="{97AE0756-AA7B-4071-B277-92E149E4A9DC}" srcOrd="0" destOrd="1" presId="urn:microsoft.com/office/officeart/2005/8/layout/hList1"/>
    <dgm:cxn modelId="{9BB5A510-B206-4E0D-8A71-31CAEB6E0799}" srcId="{262FA4E5-AC80-4950-B972-368D2E821EF6}" destId="{7B9FE0D7-8490-4E2B-8ACA-7CEF23DC2445}" srcOrd="0" destOrd="0" parTransId="{465217EC-1E93-4849-809D-453993494C61}" sibTransId="{A7113ED5-AFA3-4970-96A8-B837680D7899}"/>
    <dgm:cxn modelId="{CC0DA485-7A96-462E-A6F4-4C20C56E24A9}" srcId="{6935AA07-C87D-40ED-9CC7-DCF5185B1E40}" destId="{91CCFFB8-C50D-40B6-9641-AE2A581844A7}" srcOrd="3" destOrd="0" parTransId="{B6026B59-DFBE-433E-AA24-846FEF6635EC}" sibTransId="{56683FE6-F126-4978-B966-D6E68D827F73}"/>
    <dgm:cxn modelId="{51241A9F-EA9B-4596-A856-E9B92AD85E24}" type="presOf" srcId="{6935AA07-C87D-40ED-9CC7-DCF5185B1E40}" destId="{12A0539D-9414-4434-BA4C-2451F37DAB23}" srcOrd="0" destOrd="0" presId="urn:microsoft.com/office/officeart/2005/8/layout/hList1"/>
    <dgm:cxn modelId="{53DF1ACA-F3A4-4DFC-8502-A17796F14A12}" srcId="{D5630A41-4DDD-4A26-9703-9F0D56C269A5}" destId="{D3975C27-3E4E-4DD7-934F-98E7E909FF07}" srcOrd="0" destOrd="0" parTransId="{9CD1876B-C4E4-4EE8-BD30-FDB9113B04D0}" sibTransId="{6F0D7F15-1B91-4BFF-981A-D1A941CCC654}"/>
    <dgm:cxn modelId="{3C2CE543-4690-4440-A508-BE3037C5E49D}" type="presOf" srcId="{A0AEF523-6ADA-4BBF-A10F-78ED99D90A2E}" destId="{2F8D0EBE-21AF-40C1-8E10-39086750FEBD}" srcOrd="0" destOrd="0" presId="urn:microsoft.com/office/officeart/2005/8/layout/hList1"/>
    <dgm:cxn modelId="{63D731EE-D0C5-4784-888A-C7F0F188B25A}" srcId="{A0AEF523-6ADA-4BBF-A10F-78ED99D90A2E}" destId="{262FA4E5-AC80-4950-B972-368D2E821EF6}" srcOrd="2" destOrd="0" parTransId="{4EAC7AC1-92C3-46FC-9355-E41FB7339ADB}" sibTransId="{73A4F2DF-1AB4-4813-8606-D701E0F7E796}"/>
    <dgm:cxn modelId="{1F96D49A-C372-42E4-8B91-0CDD18ABADB5}" srcId="{A0AEF523-6ADA-4BBF-A10F-78ED99D90A2E}" destId="{6935AA07-C87D-40ED-9CC7-DCF5185B1E40}" srcOrd="0" destOrd="0" parTransId="{0BBA1766-4EC6-40A9-BDC8-6AB29365363D}" sibTransId="{62B167F9-3791-4DDA-9531-FCDB5868FAFA}"/>
    <dgm:cxn modelId="{9E1720F4-F2CA-4E96-9856-8F5FAD3AAF13}" srcId="{A0AEF523-6ADA-4BBF-A10F-78ED99D90A2E}" destId="{D5630A41-4DDD-4A26-9703-9F0D56C269A5}" srcOrd="1" destOrd="0" parTransId="{28BE0CFB-98D5-4D86-9A6C-5F9FE7FC38F4}" sibTransId="{3C635EBB-6EC0-4D05-8077-27076CCCDD94}"/>
    <dgm:cxn modelId="{933F2D42-1A2C-48B1-AE94-CD95D7DF4997}" type="presOf" srcId="{7729AB02-12E2-412E-B898-B0FE78539F9E}" destId="{38CF62C4-C7BD-4D8E-86F9-82B9F3B70110}" srcOrd="0" destOrd="1" presId="urn:microsoft.com/office/officeart/2005/8/layout/hList1"/>
    <dgm:cxn modelId="{0D4CB7A5-21A5-4D3C-9256-EF64A137BAB7}" type="presOf" srcId="{262FA4E5-AC80-4950-B972-368D2E821EF6}" destId="{BF3A3480-1EA9-4AD7-B6F6-8CE42A988F0A}" srcOrd="0" destOrd="0" presId="urn:microsoft.com/office/officeart/2005/8/layout/hList1"/>
    <dgm:cxn modelId="{37ADEC2F-300A-4D36-970B-615B8C6ED9C9}" type="presOf" srcId="{91CCFFB8-C50D-40B6-9641-AE2A581844A7}" destId="{38CF62C4-C7BD-4D8E-86F9-82B9F3B70110}" srcOrd="0" destOrd="3" presId="urn:microsoft.com/office/officeart/2005/8/layout/hList1"/>
    <dgm:cxn modelId="{5C03EC0B-4152-43E9-899F-7C08895BAC24}" type="presParOf" srcId="{2F8D0EBE-21AF-40C1-8E10-39086750FEBD}" destId="{789C8230-7B7A-4F67-B763-BEB44D7DA8B5}" srcOrd="0" destOrd="0" presId="urn:microsoft.com/office/officeart/2005/8/layout/hList1"/>
    <dgm:cxn modelId="{47D7FFA8-BF23-4817-ABDF-73AAF57D16B1}" type="presParOf" srcId="{789C8230-7B7A-4F67-B763-BEB44D7DA8B5}" destId="{12A0539D-9414-4434-BA4C-2451F37DAB23}" srcOrd="0" destOrd="0" presId="urn:microsoft.com/office/officeart/2005/8/layout/hList1"/>
    <dgm:cxn modelId="{BFD31C94-67E8-4A73-B92B-048192BCAE83}" type="presParOf" srcId="{789C8230-7B7A-4F67-B763-BEB44D7DA8B5}" destId="{38CF62C4-C7BD-4D8E-86F9-82B9F3B70110}" srcOrd="1" destOrd="0" presId="urn:microsoft.com/office/officeart/2005/8/layout/hList1"/>
    <dgm:cxn modelId="{181BAAAF-A293-4500-B165-5D8FC5188FE3}" type="presParOf" srcId="{2F8D0EBE-21AF-40C1-8E10-39086750FEBD}" destId="{BE625AB6-87D2-49EA-A021-1197F2BD07D3}" srcOrd="1" destOrd="0" presId="urn:microsoft.com/office/officeart/2005/8/layout/hList1"/>
    <dgm:cxn modelId="{7C739CAF-0035-41E5-B7AA-D236C268AEFE}" type="presParOf" srcId="{2F8D0EBE-21AF-40C1-8E10-39086750FEBD}" destId="{06185493-5ED4-4DCC-9C0F-C5760390D27A}" srcOrd="2" destOrd="0" presId="urn:microsoft.com/office/officeart/2005/8/layout/hList1"/>
    <dgm:cxn modelId="{4573C56E-72E1-4DE1-A605-5D25F77A4575}" type="presParOf" srcId="{06185493-5ED4-4DCC-9C0F-C5760390D27A}" destId="{D22A39ED-77CC-415A-80F2-78763B685DE9}" srcOrd="0" destOrd="0" presId="urn:microsoft.com/office/officeart/2005/8/layout/hList1"/>
    <dgm:cxn modelId="{A9342A5E-C3C9-4C17-9285-12DFCFF0FB5E}" type="presParOf" srcId="{06185493-5ED4-4DCC-9C0F-C5760390D27A}" destId="{72B208A7-2669-42E7-9CB2-AC55855250A4}" srcOrd="1" destOrd="0" presId="urn:microsoft.com/office/officeart/2005/8/layout/hList1"/>
    <dgm:cxn modelId="{619AD656-0896-4645-825E-41A4D0DE21FF}" type="presParOf" srcId="{2F8D0EBE-21AF-40C1-8E10-39086750FEBD}" destId="{B5B587DA-61D1-4764-9417-61DD1D94C2AF}" srcOrd="3" destOrd="0" presId="urn:microsoft.com/office/officeart/2005/8/layout/hList1"/>
    <dgm:cxn modelId="{0D6FFF4C-DA49-45B9-A746-709F8A24F6D2}" type="presParOf" srcId="{2F8D0EBE-21AF-40C1-8E10-39086750FEBD}" destId="{49C1B7E9-1CED-4349-9AB0-3415D5924ACD}" srcOrd="4" destOrd="0" presId="urn:microsoft.com/office/officeart/2005/8/layout/hList1"/>
    <dgm:cxn modelId="{9E86381C-0075-497D-A914-29D7AF24F441}" type="presParOf" srcId="{49C1B7E9-1CED-4349-9AB0-3415D5924ACD}" destId="{BF3A3480-1EA9-4AD7-B6F6-8CE42A988F0A}" srcOrd="0" destOrd="0" presId="urn:microsoft.com/office/officeart/2005/8/layout/hList1"/>
    <dgm:cxn modelId="{0B717CAB-DA7E-40AA-86C2-E2C6E1BC526A}" type="presParOf" srcId="{49C1B7E9-1CED-4349-9AB0-3415D5924ACD}" destId="{97AE0756-AA7B-4071-B277-92E149E4A9D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3FBE73AE-6709-45B2-9529-6DF989DAA08D}" type="doc">
      <dgm:prSet loTypeId="urn:microsoft.com/office/officeart/2009/3/layout/SubStepProcess" loCatId="process" qsTypeId="urn:microsoft.com/office/officeart/2005/8/quickstyle/simple1" qsCatId="simple" csTypeId="urn:microsoft.com/office/officeart/2005/8/colors/accent1_2" csCatId="accent1" phldr="1"/>
      <dgm:spPr/>
      <dgm:t>
        <a:bodyPr/>
        <a:lstStyle/>
        <a:p>
          <a:endParaRPr lang="zh-CN" altLang="en-US"/>
        </a:p>
      </dgm:t>
    </dgm:pt>
    <dgm:pt modelId="{30DA0421-DCFB-40D9-AC7F-FE2B3D35D860}">
      <dgm:prSet phldrT="[文本]"/>
      <dgm:spPr/>
      <dgm:t>
        <a:bodyPr/>
        <a:lstStyle/>
        <a:p>
          <a:r>
            <a:rPr lang="zh-CN" altLang="en-US" dirty="0" smtClean="0">
              <a:solidFill>
                <a:schemeClr val="tx1"/>
              </a:solidFill>
            </a:rPr>
            <a:t>服务器层面</a:t>
          </a:r>
          <a:endParaRPr lang="zh-CN" altLang="en-US" dirty="0">
            <a:solidFill>
              <a:schemeClr val="tx1"/>
            </a:solidFill>
          </a:endParaRPr>
        </a:p>
      </dgm:t>
    </dgm:pt>
    <dgm:pt modelId="{6B1AEA68-D14C-4B8D-A779-15027B9E3F2C}" type="parTrans" cxnId="{EE25B1C0-FE86-4841-9E8E-1878CF1846E5}">
      <dgm:prSet/>
      <dgm:spPr/>
      <dgm:t>
        <a:bodyPr/>
        <a:lstStyle/>
        <a:p>
          <a:endParaRPr lang="zh-CN" altLang="en-US">
            <a:solidFill>
              <a:schemeClr val="tx1"/>
            </a:solidFill>
          </a:endParaRPr>
        </a:p>
      </dgm:t>
    </dgm:pt>
    <dgm:pt modelId="{5E8F8F17-1840-4ECB-93F4-D14B7BD752A2}" type="sibTrans" cxnId="{EE25B1C0-FE86-4841-9E8E-1878CF1846E5}">
      <dgm:prSet/>
      <dgm:spPr/>
      <dgm:t>
        <a:bodyPr/>
        <a:lstStyle/>
        <a:p>
          <a:endParaRPr lang="zh-CN" altLang="en-US">
            <a:solidFill>
              <a:schemeClr val="tx1"/>
            </a:solidFill>
          </a:endParaRPr>
        </a:p>
      </dgm:t>
    </dgm:pt>
    <dgm:pt modelId="{574D59F4-7DC4-4C04-BA57-5898303CD5FB}">
      <dgm:prSet phldrT="[文本]"/>
      <dgm:spPr/>
      <dgm:t>
        <a:bodyPr/>
        <a:lstStyle/>
        <a:p>
          <a:r>
            <a:rPr lang="zh-CN" altLang="en-US" dirty="0" smtClean="0">
              <a:solidFill>
                <a:schemeClr val="tx1"/>
              </a:solidFill>
            </a:rPr>
            <a:t>操作系统日志</a:t>
          </a:r>
          <a:endParaRPr lang="zh-CN" altLang="en-US" dirty="0">
            <a:solidFill>
              <a:schemeClr val="tx1"/>
            </a:solidFill>
          </a:endParaRPr>
        </a:p>
      </dgm:t>
    </dgm:pt>
    <dgm:pt modelId="{67EB4732-30AC-49F8-91C0-6775C306FB09}" type="parTrans" cxnId="{A2AEC3D9-9182-408E-936A-3E0875B52926}">
      <dgm:prSet/>
      <dgm:spPr/>
      <dgm:t>
        <a:bodyPr/>
        <a:lstStyle/>
        <a:p>
          <a:endParaRPr lang="zh-CN" altLang="en-US">
            <a:solidFill>
              <a:schemeClr val="tx1"/>
            </a:solidFill>
          </a:endParaRPr>
        </a:p>
      </dgm:t>
    </dgm:pt>
    <dgm:pt modelId="{5243A5BD-E68D-4CF0-B270-C6A350FC8B76}" type="sibTrans" cxnId="{A2AEC3D9-9182-408E-936A-3E0875B52926}">
      <dgm:prSet/>
      <dgm:spPr/>
      <dgm:t>
        <a:bodyPr/>
        <a:lstStyle/>
        <a:p>
          <a:endParaRPr lang="zh-CN" altLang="en-US">
            <a:solidFill>
              <a:schemeClr val="tx1"/>
            </a:solidFill>
          </a:endParaRPr>
        </a:p>
      </dgm:t>
    </dgm:pt>
    <dgm:pt modelId="{C407A102-8A62-491F-8F80-E0B315D5C17D}">
      <dgm:prSet phldrT="[文本]"/>
      <dgm:spPr/>
      <dgm:t>
        <a:bodyPr/>
        <a:lstStyle/>
        <a:p>
          <a:r>
            <a:rPr lang="zh-CN" altLang="en-US" dirty="0" smtClean="0">
              <a:solidFill>
                <a:schemeClr val="tx1"/>
              </a:solidFill>
            </a:rPr>
            <a:t>网络层面</a:t>
          </a:r>
          <a:endParaRPr lang="zh-CN" altLang="en-US" dirty="0">
            <a:solidFill>
              <a:schemeClr val="tx1"/>
            </a:solidFill>
          </a:endParaRPr>
        </a:p>
      </dgm:t>
    </dgm:pt>
    <dgm:pt modelId="{3680D555-D014-467E-A53E-0ECE97FF7069}" type="parTrans" cxnId="{6D2200BD-4255-4356-AC09-0249D8190953}">
      <dgm:prSet/>
      <dgm:spPr/>
      <dgm:t>
        <a:bodyPr/>
        <a:lstStyle/>
        <a:p>
          <a:endParaRPr lang="zh-CN" altLang="en-US">
            <a:solidFill>
              <a:schemeClr val="tx1"/>
            </a:solidFill>
          </a:endParaRPr>
        </a:p>
      </dgm:t>
    </dgm:pt>
    <dgm:pt modelId="{A851EFA3-B9A1-4E02-BF5D-9094C8B8C7F6}" type="sibTrans" cxnId="{6D2200BD-4255-4356-AC09-0249D8190953}">
      <dgm:prSet/>
      <dgm:spPr/>
      <dgm:t>
        <a:bodyPr/>
        <a:lstStyle/>
        <a:p>
          <a:endParaRPr lang="zh-CN" altLang="en-US">
            <a:solidFill>
              <a:schemeClr val="tx1"/>
            </a:solidFill>
          </a:endParaRPr>
        </a:p>
      </dgm:t>
    </dgm:pt>
    <dgm:pt modelId="{4DF052D9-1A31-4B08-A231-B5D237EFF79B}">
      <dgm:prSet phldrT="[文本]"/>
      <dgm:spPr/>
      <dgm:t>
        <a:bodyPr/>
        <a:lstStyle/>
        <a:p>
          <a:r>
            <a:rPr lang="zh-CN" altLang="en-US" dirty="0" smtClean="0">
              <a:solidFill>
                <a:schemeClr val="tx1"/>
              </a:solidFill>
            </a:rPr>
            <a:t>网络设备日志</a:t>
          </a:r>
          <a:endParaRPr lang="zh-CN" altLang="en-US" dirty="0">
            <a:solidFill>
              <a:schemeClr val="tx1"/>
            </a:solidFill>
          </a:endParaRPr>
        </a:p>
      </dgm:t>
    </dgm:pt>
    <dgm:pt modelId="{4D496B88-C3D9-4EA1-9F92-A26AD4A2120C}" type="parTrans" cxnId="{5F3F217F-7A5E-4C07-96B3-305E8B4419D1}">
      <dgm:prSet/>
      <dgm:spPr/>
      <dgm:t>
        <a:bodyPr/>
        <a:lstStyle/>
        <a:p>
          <a:endParaRPr lang="zh-CN" altLang="en-US">
            <a:solidFill>
              <a:schemeClr val="tx1"/>
            </a:solidFill>
          </a:endParaRPr>
        </a:p>
      </dgm:t>
    </dgm:pt>
    <dgm:pt modelId="{7A5AA366-3D2D-40DE-ACEC-51284199F958}" type="sibTrans" cxnId="{5F3F217F-7A5E-4C07-96B3-305E8B4419D1}">
      <dgm:prSet/>
      <dgm:spPr/>
      <dgm:t>
        <a:bodyPr/>
        <a:lstStyle/>
        <a:p>
          <a:endParaRPr lang="zh-CN" altLang="en-US">
            <a:solidFill>
              <a:schemeClr val="tx1"/>
            </a:solidFill>
          </a:endParaRPr>
        </a:p>
      </dgm:t>
    </dgm:pt>
    <dgm:pt modelId="{EE0EB7E1-93BD-4AC0-A868-2903B5DA4DD8}">
      <dgm:prSet phldrT="[文本]"/>
      <dgm:spPr/>
      <dgm:t>
        <a:bodyPr/>
        <a:lstStyle/>
        <a:p>
          <a:r>
            <a:rPr lang="zh-CN" altLang="en-US" dirty="0" smtClean="0">
              <a:solidFill>
                <a:schemeClr val="tx1"/>
              </a:solidFill>
            </a:rPr>
            <a:t>应用层面</a:t>
          </a:r>
          <a:endParaRPr lang="zh-CN" altLang="en-US" dirty="0">
            <a:solidFill>
              <a:schemeClr val="tx1"/>
            </a:solidFill>
          </a:endParaRPr>
        </a:p>
      </dgm:t>
    </dgm:pt>
    <dgm:pt modelId="{E0BFE2F1-C740-4376-A9D9-C6790D9D303A}" type="parTrans" cxnId="{80173348-35DA-4DCD-B29F-70AADAC2763B}">
      <dgm:prSet/>
      <dgm:spPr/>
      <dgm:t>
        <a:bodyPr/>
        <a:lstStyle/>
        <a:p>
          <a:endParaRPr lang="zh-CN" altLang="en-US">
            <a:solidFill>
              <a:schemeClr val="tx1"/>
            </a:solidFill>
          </a:endParaRPr>
        </a:p>
      </dgm:t>
    </dgm:pt>
    <dgm:pt modelId="{A7FEFAF9-76AB-4E47-83AE-D7A00295B72A}" type="sibTrans" cxnId="{80173348-35DA-4DCD-B29F-70AADAC2763B}">
      <dgm:prSet/>
      <dgm:spPr/>
      <dgm:t>
        <a:bodyPr/>
        <a:lstStyle/>
        <a:p>
          <a:endParaRPr lang="zh-CN" altLang="en-US">
            <a:solidFill>
              <a:schemeClr val="tx1"/>
            </a:solidFill>
          </a:endParaRPr>
        </a:p>
      </dgm:t>
    </dgm:pt>
    <dgm:pt modelId="{990C2E57-0F17-4E5A-97CB-97FCAF81D263}">
      <dgm:prSet phldrT="[文本]"/>
      <dgm:spPr/>
      <dgm:t>
        <a:bodyPr/>
        <a:lstStyle/>
        <a:p>
          <a:r>
            <a:rPr lang="zh-CN" altLang="en-US" dirty="0" smtClean="0">
              <a:solidFill>
                <a:schemeClr val="tx1"/>
              </a:solidFill>
            </a:rPr>
            <a:t>应用系统日志</a:t>
          </a:r>
          <a:endParaRPr lang="zh-CN" altLang="en-US" dirty="0">
            <a:solidFill>
              <a:schemeClr val="tx1"/>
            </a:solidFill>
          </a:endParaRPr>
        </a:p>
      </dgm:t>
    </dgm:pt>
    <dgm:pt modelId="{F136C798-389D-4411-BC12-CA0DF59837D9}" type="parTrans" cxnId="{F0C14A8D-A7D0-496D-A1E2-09AFBAFE5207}">
      <dgm:prSet/>
      <dgm:spPr/>
      <dgm:t>
        <a:bodyPr/>
        <a:lstStyle/>
        <a:p>
          <a:endParaRPr lang="zh-CN" altLang="en-US">
            <a:solidFill>
              <a:schemeClr val="tx1"/>
            </a:solidFill>
          </a:endParaRPr>
        </a:p>
      </dgm:t>
    </dgm:pt>
    <dgm:pt modelId="{F675334F-DE29-44A8-8F50-5F842F5AEDFB}" type="sibTrans" cxnId="{F0C14A8D-A7D0-496D-A1E2-09AFBAFE5207}">
      <dgm:prSet/>
      <dgm:spPr/>
      <dgm:t>
        <a:bodyPr/>
        <a:lstStyle/>
        <a:p>
          <a:endParaRPr lang="zh-CN" altLang="en-US">
            <a:solidFill>
              <a:schemeClr val="tx1"/>
            </a:solidFill>
          </a:endParaRPr>
        </a:p>
      </dgm:t>
    </dgm:pt>
    <dgm:pt modelId="{82EF3061-54B1-4B5D-95A5-4E072FF275B5}">
      <dgm:prSet phldrT="[文本]"/>
      <dgm:spPr/>
      <dgm:t>
        <a:bodyPr/>
        <a:lstStyle/>
        <a:p>
          <a:r>
            <a:rPr lang="zh-CN" altLang="en-US" dirty="0" smtClean="0">
              <a:solidFill>
                <a:schemeClr val="tx1"/>
              </a:solidFill>
            </a:rPr>
            <a:t>安全设备日志</a:t>
          </a:r>
          <a:endParaRPr lang="zh-CN" altLang="en-US" dirty="0">
            <a:solidFill>
              <a:schemeClr val="tx1"/>
            </a:solidFill>
          </a:endParaRPr>
        </a:p>
      </dgm:t>
    </dgm:pt>
    <dgm:pt modelId="{9BAC8E01-04CB-4BA6-900A-1140190AAD91}" type="parTrans" cxnId="{EC0FA56D-9F20-414A-A2B8-6E68F07F176B}">
      <dgm:prSet/>
      <dgm:spPr/>
      <dgm:t>
        <a:bodyPr/>
        <a:lstStyle/>
        <a:p>
          <a:endParaRPr lang="zh-CN" altLang="en-US">
            <a:solidFill>
              <a:schemeClr val="tx1"/>
            </a:solidFill>
          </a:endParaRPr>
        </a:p>
      </dgm:t>
    </dgm:pt>
    <dgm:pt modelId="{12D22232-6C3C-4907-B7D3-3207932224EF}" type="sibTrans" cxnId="{EC0FA56D-9F20-414A-A2B8-6E68F07F176B}">
      <dgm:prSet/>
      <dgm:spPr/>
      <dgm:t>
        <a:bodyPr/>
        <a:lstStyle/>
        <a:p>
          <a:endParaRPr lang="zh-CN" altLang="en-US">
            <a:solidFill>
              <a:schemeClr val="tx1"/>
            </a:solidFill>
          </a:endParaRPr>
        </a:p>
      </dgm:t>
    </dgm:pt>
    <dgm:pt modelId="{7D2E38F0-B94F-4105-AA7E-0858906FBAE6}">
      <dgm:prSet phldrT="[文本]"/>
      <dgm:spPr/>
      <dgm:t>
        <a:bodyPr/>
        <a:lstStyle/>
        <a:p>
          <a:r>
            <a:rPr lang="zh-CN" altLang="en-US" dirty="0" smtClean="0">
              <a:solidFill>
                <a:schemeClr val="tx1"/>
              </a:solidFill>
            </a:rPr>
            <a:t>数据库日志</a:t>
          </a:r>
          <a:endParaRPr lang="zh-CN" altLang="en-US" dirty="0">
            <a:solidFill>
              <a:schemeClr val="tx1"/>
            </a:solidFill>
          </a:endParaRPr>
        </a:p>
      </dgm:t>
    </dgm:pt>
    <dgm:pt modelId="{9BD172AC-7B73-4D38-984C-BCFC06ED06D8}" type="parTrans" cxnId="{C7A05942-818E-4D12-980B-50F7AC1D93A8}">
      <dgm:prSet/>
      <dgm:spPr/>
      <dgm:t>
        <a:bodyPr/>
        <a:lstStyle/>
        <a:p>
          <a:endParaRPr lang="zh-CN" altLang="en-US">
            <a:solidFill>
              <a:schemeClr val="tx1"/>
            </a:solidFill>
          </a:endParaRPr>
        </a:p>
      </dgm:t>
    </dgm:pt>
    <dgm:pt modelId="{0A2E6684-DFDD-4E17-8CC3-A63F7E606C63}" type="sibTrans" cxnId="{C7A05942-818E-4D12-980B-50F7AC1D93A8}">
      <dgm:prSet/>
      <dgm:spPr/>
      <dgm:t>
        <a:bodyPr/>
        <a:lstStyle/>
        <a:p>
          <a:endParaRPr lang="zh-CN" altLang="en-US">
            <a:solidFill>
              <a:schemeClr val="tx1"/>
            </a:solidFill>
          </a:endParaRPr>
        </a:p>
      </dgm:t>
    </dgm:pt>
    <dgm:pt modelId="{589E2F41-F711-4548-8171-E95CAD490519}">
      <dgm:prSet phldrT="[文本]"/>
      <dgm:spPr/>
      <dgm:t>
        <a:bodyPr/>
        <a:lstStyle/>
        <a:p>
          <a:r>
            <a:rPr lang="zh-CN" altLang="en-US" dirty="0" smtClean="0">
              <a:solidFill>
                <a:schemeClr val="tx1"/>
              </a:solidFill>
            </a:rPr>
            <a:t>中间件日志</a:t>
          </a:r>
          <a:endParaRPr lang="zh-CN" altLang="en-US" dirty="0">
            <a:solidFill>
              <a:schemeClr val="tx1"/>
            </a:solidFill>
          </a:endParaRPr>
        </a:p>
      </dgm:t>
    </dgm:pt>
    <dgm:pt modelId="{6FC66C59-A93E-42CC-940B-AB394E1C2E36}" type="parTrans" cxnId="{6FA14980-703E-4BAA-B6A2-ECE5414C3D1B}">
      <dgm:prSet/>
      <dgm:spPr/>
      <dgm:t>
        <a:bodyPr/>
        <a:lstStyle/>
        <a:p>
          <a:endParaRPr lang="zh-CN" altLang="en-US">
            <a:solidFill>
              <a:schemeClr val="tx1"/>
            </a:solidFill>
          </a:endParaRPr>
        </a:p>
      </dgm:t>
    </dgm:pt>
    <dgm:pt modelId="{C7ABDB06-182A-4F85-9552-53C1CA071DA4}" type="sibTrans" cxnId="{6FA14980-703E-4BAA-B6A2-ECE5414C3D1B}">
      <dgm:prSet/>
      <dgm:spPr/>
      <dgm:t>
        <a:bodyPr/>
        <a:lstStyle/>
        <a:p>
          <a:endParaRPr lang="zh-CN" altLang="en-US">
            <a:solidFill>
              <a:schemeClr val="tx1"/>
            </a:solidFill>
          </a:endParaRPr>
        </a:p>
      </dgm:t>
    </dgm:pt>
    <dgm:pt modelId="{A52D3B46-C117-4FE9-97AD-F58B7631E393}">
      <dgm:prSet phldrT="[文本]"/>
      <dgm:spPr/>
      <dgm:t>
        <a:bodyPr/>
        <a:lstStyle/>
        <a:p>
          <a:r>
            <a:rPr lang="zh-CN" altLang="en-US" dirty="0" smtClean="0">
              <a:solidFill>
                <a:schemeClr val="tx1"/>
              </a:solidFill>
            </a:rPr>
            <a:t>其它日志</a:t>
          </a:r>
          <a:endParaRPr lang="zh-CN" altLang="en-US" dirty="0">
            <a:solidFill>
              <a:schemeClr val="tx1"/>
            </a:solidFill>
          </a:endParaRPr>
        </a:p>
      </dgm:t>
    </dgm:pt>
    <dgm:pt modelId="{3536A35D-2503-46A4-BDDC-5A6EBCAAFC44}" type="parTrans" cxnId="{FC02C173-8676-4A8C-A555-1B215FB7622A}">
      <dgm:prSet/>
      <dgm:spPr/>
      <dgm:t>
        <a:bodyPr/>
        <a:lstStyle/>
        <a:p>
          <a:endParaRPr lang="zh-CN" altLang="en-US">
            <a:solidFill>
              <a:schemeClr val="tx1"/>
            </a:solidFill>
          </a:endParaRPr>
        </a:p>
      </dgm:t>
    </dgm:pt>
    <dgm:pt modelId="{1F4DAA5C-32E1-43B3-87D9-2C0F8F03329D}" type="sibTrans" cxnId="{FC02C173-8676-4A8C-A555-1B215FB7622A}">
      <dgm:prSet/>
      <dgm:spPr/>
      <dgm:t>
        <a:bodyPr/>
        <a:lstStyle/>
        <a:p>
          <a:endParaRPr lang="zh-CN" altLang="en-US">
            <a:solidFill>
              <a:schemeClr val="tx1"/>
            </a:solidFill>
          </a:endParaRPr>
        </a:p>
      </dgm:t>
    </dgm:pt>
    <dgm:pt modelId="{C7B81B4D-A747-481C-8012-3E34A3DDB299}" type="pres">
      <dgm:prSet presAssocID="{3FBE73AE-6709-45B2-9529-6DF989DAA08D}" presName="Name0" presStyleCnt="0">
        <dgm:presLayoutVars>
          <dgm:chMax val="7"/>
          <dgm:dir/>
          <dgm:animOne val="branch"/>
        </dgm:presLayoutVars>
      </dgm:prSet>
      <dgm:spPr/>
      <dgm:t>
        <a:bodyPr/>
        <a:lstStyle/>
        <a:p>
          <a:endParaRPr lang="zh-CN" altLang="en-US"/>
        </a:p>
      </dgm:t>
    </dgm:pt>
    <dgm:pt modelId="{4EC5F410-2E15-438F-9B60-276E97191C15}" type="pres">
      <dgm:prSet presAssocID="{30DA0421-DCFB-40D9-AC7F-FE2B3D35D860}" presName="parTx1" presStyleLbl="node1" presStyleIdx="0" presStyleCnt="3"/>
      <dgm:spPr/>
      <dgm:t>
        <a:bodyPr/>
        <a:lstStyle/>
        <a:p>
          <a:endParaRPr lang="zh-CN" altLang="en-US"/>
        </a:p>
      </dgm:t>
    </dgm:pt>
    <dgm:pt modelId="{7E6371F5-B59C-4E29-BB87-1EA23145B07E}" type="pres">
      <dgm:prSet presAssocID="{30DA0421-DCFB-40D9-AC7F-FE2B3D35D860}" presName="spPre1" presStyleCnt="0"/>
      <dgm:spPr/>
    </dgm:pt>
    <dgm:pt modelId="{EC51255A-76D8-4BFA-BF37-7943579291B2}" type="pres">
      <dgm:prSet presAssocID="{30DA0421-DCFB-40D9-AC7F-FE2B3D35D860}" presName="chLin1" presStyleCnt="0"/>
      <dgm:spPr/>
    </dgm:pt>
    <dgm:pt modelId="{D417927E-D4DD-4F93-A1FF-982705B75A79}" type="pres">
      <dgm:prSet presAssocID="{67EB4732-30AC-49F8-91C0-6775C306FB09}" presName="Name11" presStyleLbl="parChTrans1D1" presStyleIdx="0" presStyleCnt="26"/>
      <dgm:spPr/>
    </dgm:pt>
    <dgm:pt modelId="{37FD8D3D-F524-4917-B3F9-F0E4F7BC8D29}" type="pres">
      <dgm:prSet presAssocID="{67EB4732-30AC-49F8-91C0-6775C306FB09}" presName="Name31" presStyleLbl="parChTrans1D1" presStyleIdx="1" presStyleCnt="26"/>
      <dgm:spPr/>
    </dgm:pt>
    <dgm:pt modelId="{792C1FF6-BE3F-42AA-8E06-F7D769D6AAF4}" type="pres">
      <dgm:prSet presAssocID="{574D59F4-7DC4-4C04-BA57-5898303CD5FB}" presName="txAndLines1" presStyleCnt="0"/>
      <dgm:spPr/>
    </dgm:pt>
    <dgm:pt modelId="{B59F3D46-BFE2-44EF-8692-AD59F4B0744E}" type="pres">
      <dgm:prSet presAssocID="{574D59F4-7DC4-4C04-BA57-5898303CD5FB}" presName="anchor1" presStyleCnt="0"/>
      <dgm:spPr/>
    </dgm:pt>
    <dgm:pt modelId="{4479E171-55C7-413A-AC53-4B42AD4304D0}" type="pres">
      <dgm:prSet presAssocID="{574D59F4-7DC4-4C04-BA57-5898303CD5FB}" presName="backup1" presStyleCnt="0"/>
      <dgm:spPr/>
    </dgm:pt>
    <dgm:pt modelId="{5BB5B075-3348-43FD-8515-EDFC868B5D4A}" type="pres">
      <dgm:prSet presAssocID="{574D59F4-7DC4-4C04-BA57-5898303CD5FB}" presName="preLine1" presStyleLbl="parChTrans1D1" presStyleIdx="2" presStyleCnt="26"/>
      <dgm:spPr/>
    </dgm:pt>
    <dgm:pt modelId="{72D295D6-89B6-4EE6-AB73-909ED91B7748}" type="pres">
      <dgm:prSet presAssocID="{574D59F4-7DC4-4C04-BA57-5898303CD5FB}" presName="desTx1" presStyleLbl="revTx" presStyleIdx="0" presStyleCnt="0">
        <dgm:presLayoutVars>
          <dgm:bulletEnabled val="1"/>
        </dgm:presLayoutVars>
      </dgm:prSet>
      <dgm:spPr/>
      <dgm:t>
        <a:bodyPr/>
        <a:lstStyle/>
        <a:p>
          <a:endParaRPr lang="zh-CN" altLang="en-US"/>
        </a:p>
      </dgm:t>
    </dgm:pt>
    <dgm:pt modelId="{01996E6A-F2E5-4EE0-B5F7-758689F32EE7}" type="pres">
      <dgm:prSet presAssocID="{574D59F4-7DC4-4C04-BA57-5898303CD5FB}" presName="postLine1" presStyleLbl="parChTrans1D1" presStyleIdx="3" presStyleCnt="26"/>
      <dgm:spPr/>
    </dgm:pt>
    <dgm:pt modelId="{EE1DA32D-839E-4FED-AC09-7C6FCE96790A}" type="pres">
      <dgm:prSet presAssocID="{9BD172AC-7B73-4D38-984C-BCFC06ED06D8}" presName="Name11" presStyleLbl="parChTrans1D1" presStyleIdx="4" presStyleCnt="26"/>
      <dgm:spPr/>
    </dgm:pt>
    <dgm:pt modelId="{78C04FA0-9D3C-4535-9FE9-906BEB1384D9}" type="pres">
      <dgm:prSet presAssocID="{9BD172AC-7B73-4D38-984C-BCFC06ED06D8}" presName="Name31" presStyleLbl="parChTrans1D1" presStyleIdx="5" presStyleCnt="26"/>
      <dgm:spPr/>
    </dgm:pt>
    <dgm:pt modelId="{AED58C65-C006-4B9B-A2C0-E57D8DA5DD68}" type="pres">
      <dgm:prSet presAssocID="{7D2E38F0-B94F-4105-AA7E-0858906FBAE6}" presName="txAndLines1" presStyleCnt="0"/>
      <dgm:spPr/>
    </dgm:pt>
    <dgm:pt modelId="{E0588C81-3760-4149-A567-36F6D897778F}" type="pres">
      <dgm:prSet presAssocID="{7D2E38F0-B94F-4105-AA7E-0858906FBAE6}" presName="anchor1" presStyleCnt="0"/>
      <dgm:spPr/>
    </dgm:pt>
    <dgm:pt modelId="{C2A616FA-73F5-4EEF-8A48-7B93C4424DC8}" type="pres">
      <dgm:prSet presAssocID="{7D2E38F0-B94F-4105-AA7E-0858906FBAE6}" presName="backup1" presStyleCnt="0"/>
      <dgm:spPr/>
    </dgm:pt>
    <dgm:pt modelId="{73C98F60-86E6-4F43-B5A8-99A871702BBE}" type="pres">
      <dgm:prSet presAssocID="{7D2E38F0-B94F-4105-AA7E-0858906FBAE6}" presName="preLine1" presStyleLbl="parChTrans1D1" presStyleIdx="6" presStyleCnt="26"/>
      <dgm:spPr/>
    </dgm:pt>
    <dgm:pt modelId="{62C4CE99-790D-4809-B8FB-A93067AD9367}" type="pres">
      <dgm:prSet presAssocID="{7D2E38F0-B94F-4105-AA7E-0858906FBAE6}" presName="desTx1" presStyleLbl="revTx" presStyleIdx="0" presStyleCnt="0">
        <dgm:presLayoutVars>
          <dgm:bulletEnabled val="1"/>
        </dgm:presLayoutVars>
      </dgm:prSet>
      <dgm:spPr/>
      <dgm:t>
        <a:bodyPr/>
        <a:lstStyle/>
        <a:p>
          <a:endParaRPr lang="zh-CN" altLang="en-US"/>
        </a:p>
      </dgm:t>
    </dgm:pt>
    <dgm:pt modelId="{CDF3068F-BCDB-4F3F-AC8B-B2DEBF6D221F}" type="pres">
      <dgm:prSet presAssocID="{7D2E38F0-B94F-4105-AA7E-0858906FBAE6}" presName="postLine1" presStyleLbl="parChTrans1D1" presStyleIdx="7" presStyleCnt="26"/>
      <dgm:spPr/>
    </dgm:pt>
    <dgm:pt modelId="{EBBD5752-8F65-43B9-A41E-7D70452B7F69}" type="pres">
      <dgm:prSet presAssocID="{6FC66C59-A93E-42CC-940B-AB394E1C2E36}" presName="Name11" presStyleLbl="parChTrans1D1" presStyleIdx="8" presStyleCnt="26"/>
      <dgm:spPr/>
    </dgm:pt>
    <dgm:pt modelId="{351569FC-F182-45AA-A7E4-EAA6471DFE27}" type="pres">
      <dgm:prSet presAssocID="{6FC66C59-A93E-42CC-940B-AB394E1C2E36}" presName="Name31" presStyleLbl="parChTrans1D1" presStyleIdx="9" presStyleCnt="26"/>
      <dgm:spPr/>
    </dgm:pt>
    <dgm:pt modelId="{5E874009-2F6A-49F6-9219-AE60B220CB12}" type="pres">
      <dgm:prSet presAssocID="{589E2F41-F711-4548-8171-E95CAD490519}" presName="txAndLines1" presStyleCnt="0"/>
      <dgm:spPr/>
    </dgm:pt>
    <dgm:pt modelId="{8BA0C91F-B4A1-4D3C-AA0A-CA6197C10D31}" type="pres">
      <dgm:prSet presAssocID="{589E2F41-F711-4548-8171-E95CAD490519}" presName="anchor1" presStyleCnt="0"/>
      <dgm:spPr/>
    </dgm:pt>
    <dgm:pt modelId="{229FB547-30F5-45AC-A10F-8F5E055A49A0}" type="pres">
      <dgm:prSet presAssocID="{589E2F41-F711-4548-8171-E95CAD490519}" presName="backup1" presStyleCnt="0"/>
      <dgm:spPr/>
    </dgm:pt>
    <dgm:pt modelId="{5EF440F4-B405-4FE5-B353-14BB8BE490FC}" type="pres">
      <dgm:prSet presAssocID="{589E2F41-F711-4548-8171-E95CAD490519}" presName="preLine1" presStyleLbl="parChTrans1D1" presStyleIdx="10" presStyleCnt="26"/>
      <dgm:spPr/>
    </dgm:pt>
    <dgm:pt modelId="{041ABFBA-01A4-4373-8AEA-C0434520EA78}" type="pres">
      <dgm:prSet presAssocID="{589E2F41-F711-4548-8171-E95CAD490519}" presName="desTx1" presStyleLbl="revTx" presStyleIdx="0" presStyleCnt="0">
        <dgm:presLayoutVars>
          <dgm:bulletEnabled val="1"/>
        </dgm:presLayoutVars>
      </dgm:prSet>
      <dgm:spPr/>
      <dgm:t>
        <a:bodyPr/>
        <a:lstStyle/>
        <a:p>
          <a:endParaRPr lang="zh-CN" altLang="en-US"/>
        </a:p>
      </dgm:t>
    </dgm:pt>
    <dgm:pt modelId="{20480805-D49F-4D75-99EE-A3DBA890EEE7}" type="pres">
      <dgm:prSet presAssocID="{589E2F41-F711-4548-8171-E95CAD490519}" presName="postLine1" presStyleLbl="parChTrans1D1" presStyleIdx="11" presStyleCnt="26"/>
      <dgm:spPr/>
    </dgm:pt>
    <dgm:pt modelId="{42CC69AC-927E-4D21-BFA0-87ABDB823B0A}" type="pres">
      <dgm:prSet presAssocID="{3536A35D-2503-46A4-BDDC-5A6EBCAAFC44}" presName="Name11" presStyleLbl="parChTrans1D1" presStyleIdx="12" presStyleCnt="26"/>
      <dgm:spPr/>
    </dgm:pt>
    <dgm:pt modelId="{5A73F131-39D6-4AD6-8E70-827F2681EBF1}" type="pres">
      <dgm:prSet presAssocID="{3536A35D-2503-46A4-BDDC-5A6EBCAAFC44}" presName="Name31" presStyleLbl="parChTrans1D1" presStyleIdx="13" presStyleCnt="26"/>
      <dgm:spPr/>
    </dgm:pt>
    <dgm:pt modelId="{AE7CCEA4-E67C-442A-B46E-5DA16D8E7C73}" type="pres">
      <dgm:prSet presAssocID="{A52D3B46-C117-4FE9-97AD-F58B7631E393}" presName="txAndLines1" presStyleCnt="0"/>
      <dgm:spPr/>
    </dgm:pt>
    <dgm:pt modelId="{136C103E-358D-4372-B6D9-30D5D0BB4C88}" type="pres">
      <dgm:prSet presAssocID="{A52D3B46-C117-4FE9-97AD-F58B7631E393}" presName="anchor1" presStyleCnt="0"/>
      <dgm:spPr/>
    </dgm:pt>
    <dgm:pt modelId="{480E86ED-AEFF-4160-9FE5-584083F68C95}" type="pres">
      <dgm:prSet presAssocID="{A52D3B46-C117-4FE9-97AD-F58B7631E393}" presName="backup1" presStyleCnt="0"/>
      <dgm:spPr/>
    </dgm:pt>
    <dgm:pt modelId="{B0E52B2B-7380-439A-9546-24BCAE306316}" type="pres">
      <dgm:prSet presAssocID="{A52D3B46-C117-4FE9-97AD-F58B7631E393}" presName="preLine1" presStyleLbl="parChTrans1D1" presStyleIdx="14" presStyleCnt="26"/>
      <dgm:spPr/>
    </dgm:pt>
    <dgm:pt modelId="{7F95620D-ACB9-4CF6-A559-CE36E91BC92A}" type="pres">
      <dgm:prSet presAssocID="{A52D3B46-C117-4FE9-97AD-F58B7631E393}" presName="desTx1" presStyleLbl="revTx" presStyleIdx="0" presStyleCnt="0">
        <dgm:presLayoutVars>
          <dgm:bulletEnabled val="1"/>
        </dgm:presLayoutVars>
      </dgm:prSet>
      <dgm:spPr/>
      <dgm:t>
        <a:bodyPr/>
        <a:lstStyle/>
        <a:p>
          <a:endParaRPr lang="zh-CN" altLang="en-US"/>
        </a:p>
      </dgm:t>
    </dgm:pt>
    <dgm:pt modelId="{C4A88B1F-5A6B-430C-BDAD-9129FEBABD3A}" type="pres">
      <dgm:prSet presAssocID="{A52D3B46-C117-4FE9-97AD-F58B7631E393}" presName="postLine1" presStyleLbl="parChTrans1D1" presStyleIdx="15" presStyleCnt="26"/>
      <dgm:spPr/>
    </dgm:pt>
    <dgm:pt modelId="{7742E2F3-092B-4120-8B7C-B8B31ADDDC7B}" type="pres">
      <dgm:prSet presAssocID="{30DA0421-DCFB-40D9-AC7F-FE2B3D35D860}" presName="spPost1" presStyleCnt="0"/>
      <dgm:spPr/>
    </dgm:pt>
    <dgm:pt modelId="{FF182EA2-E69E-4E2C-81D5-EA35996BC9EB}" type="pres">
      <dgm:prSet presAssocID="{C407A102-8A62-491F-8F80-E0B315D5C17D}" presName="parTx2" presStyleLbl="node1" presStyleIdx="1" presStyleCnt="3"/>
      <dgm:spPr/>
      <dgm:t>
        <a:bodyPr/>
        <a:lstStyle/>
        <a:p>
          <a:endParaRPr lang="zh-CN" altLang="en-US"/>
        </a:p>
      </dgm:t>
    </dgm:pt>
    <dgm:pt modelId="{01873B14-EBEA-4871-91EE-2A42C9A52373}" type="pres">
      <dgm:prSet presAssocID="{C407A102-8A62-491F-8F80-E0B315D5C17D}" presName="spPre2" presStyleCnt="0"/>
      <dgm:spPr/>
    </dgm:pt>
    <dgm:pt modelId="{3F986B5A-5EC8-4B72-8D41-70DA26C06B81}" type="pres">
      <dgm:prSet presAssocID="{C407A102-8A62-491F-8F80-E0B315D5C17D}" presName="chLin2" presStyleCnt="0"/>
      <dgm:spPr/>
    </dgm:pt>
    <dgm:pt modelId="{1E00D136-618E-4C92-B982-4A51D252C55C}" type="pres">
      <dgm:prSet presAssocID="{4D496B88-C3D9-4EA1-9F92-A26AD4A2120C}" presName="Name45" presStyleLbl="parChTrans1D1" presStyleIdx="16" presStyleCnt="26"/>
      <dgm:spPr/>
    </dgm:pt>
    <dgm:pt modelId="{237743B5-E8F4-4634-B121-CF56D686F51D}" type="pres">
      <dgm:prSet presAssocID="{4D496B88-C3D9-4EA1-9F92-A26AD4A2120C}" presName="Name65" presStyleLbl="parChTrans1D1" presStyleIdx="17" presStyleCnt="26"/>
      <dgm:spPr/>
    </dgm:pt>
    <dgm:pt modelId="{63620600-C048-4148-B8E8-C36CD9CDBC1C}" type="pres">
      <dgm:prSet presAssocID="{4DF052D9-1A31-4B08-A231-B5D237EFF79B}" presName="txAndLines2" presStyleCnt="0"/>
      <dgm:spPr/>
    </dgm:pt>
    <dgm:pt modelId="{DE808A21-AC95-49D8-A3F6-23CA091C5101}" type="pres">
      <dgm:prSet presAssocID="{4DF052D9-1A31-4B08-A231-B5D237EFF79B}" presName="anchor2" presStyleCnt="0"/>
      <dgm:spPr/>
    </dgm:pt>
    <dgm:pt modelId="{237BCE96-F026-4C9A-AB73-76528AF940CC}" type="pres">
      <dgm:prSet presAssocID="{4DF052D9-1A31-4B08-A231-B5D237EFF79B}" presName="backup2" presStyleCnt="0"/>
      <dgm:spPr/>
    </dgm:pt>
    <dgm:pt modelId="{0145009A-4736-4094-9984-83445DEE2404}" type="pres">
      <dgm:prSet presAssocID="{4DF052D9-1A31-4B08-A231-B5D237EFF79B}" presName="preLine2" presStyleLbl="parChTrans1D1" presStyleIdx="18" presStyleCnt="26"/>
      <dgm:spPr/>
    </dgm:pt>
    <dgm:pt modelId="{F00B1E63-3FBF-4D44-A863-C31C522AAEF1}" type="pres">
      <dgm:prSet presAssocID="{4DF052D9-1A31-4B08-A231-B5D237EFF79B}" presName="desTx2" presStyleLbl="revTx" presStyleIdx="0" presStyleCnt="0">
        <dgm:presLayoutVars>
          <dgm:bulletEnabled val="1"/>
        </dgm:presLayoutVars>
      </dgm:prSet>
      <dgm:spPr/>
      <dgm:t>
        <a:bodyPr/>
        <a:lstStyle/>
        <a:p>
          <a:endParaRPr lang="zh-CN" altLang="en-US"/>
        </a:p>
      </dgm:t>
    </dgm:pt>
    <dgm:pt modelId="{77E51CC0-AA1E-4FDC-93AF-2DAEF3EB8EF8}" type="pres">
      <dgm:prSet presAssocID="{4DF052D9-1A31-4B08-A231-B5D237EFF79B}" presName="postLine2" presStyleLbl="parChTrans1D1" presStyleIdx="19" presStyleCnt="26"/>
      <dgm:spPr/>
    </dgm:pt>
    <dgm:pt modelId="{E335E53B-667F-497A-9A20-5EFF69FC2437}" type="pres">
      <dgm:prSet presAssocID="{9BAC8E01-04CB-4BA6-900A-1140190AAD91}" presName="Name45" presStyleLbl="parChTrans1D1" presStyleIdx="20" presStyleCnt="26"/>
      <dgm:spPr/>
    </dgm:pt>
    <dgm:pt modelId="{9B68A8F1-D80D-4EEE-8E97-02C05655C359}" type="pres">
      <dgm:prSet presAssocID="{9BAC8E01-04CB-4BA6-900A-1140190AAD91}" presName="Name65" presStyleLbl="parChTrans1D1" presStyleIdx="21" presStyleCnt="26"/>
      <dgm:spPr/>
    </dgm:pt>
    <dgm:pt modelId="{2357EFAE-9E68-4FF6-89DB-5FB7CD955D38}" type="pres">
      <dgm:prSet presAssocID="{82EF3061-54B1-4B5D-95A5-4E072FF275B5}" presName="txAndLines2" presStyleCnt="0"/>
      <dgm:spPr/>
    </dgm:pt>
    <dgm:pt modelId="{1F5533F3-F6C8-4612-8105-8D3DE4BDBFC7}" type="pres">
      <dgm:prSet presAssocID="{82EF3061-54B1-4B5D-95A5-4E072FF275B5}" presName="anchor2" presStyleCnt="0"/>
      <dgm:spPr/>
    </dgm:pt>
    <dgm:pt modelId="{E06078BC-8100-4211-961D-C40F1C399CB8}" type="pres">
      <dgm:prSet presAssocID="{82EF3061-54B1-4B5D-95A5-4E072FF275B5}" presName="backup2" presStyleCnt="0"/>
      <dgm:spPr/>
    </dgm:pt>
    <dgm:pt modelId="{974B733B-47DE-4835-85E5-62148AE4A670}" type="pres">
      <dgm:prSet presAssocID="{82EF3061-54B1-4B5D-95A5-4E072FF275B5}" presName="preLine2" presStyleLbl="parChTrans1D1" presStyleIdx="22" presStyleCnt="26"/>
      <dgm:spPr/>
    </dgm:pt>
    <dgm:pt modelId="{797C6269-0D55-412F-A2ED-FFC50BA83277}" type="pres">
      <dgm:prSet presAssocID="{82EF3061-54B1-4B5D-95A5-4E072FF275B5}" presName="desTx2" presStyleLbl="revTx" presStyleIdx="0" presStyleCnt="0">
        <dgm:presLayoutVars>
          <dgm:bulletEnabled val="1"/>
        </dgm:presLayoutVars>
      </dgm:prSet>
      <dgm:spPr/>
      <dgm:t>
        <a:bodyPr/>
        <a:lstStyle/>
        <a:p>
          <a:endParaRPr lang="zh-CN" altLang="en-US"/>
        </a:p>
      </dgm:t>
    </dgm:pt>
    <dgm:pt modelId="{C5A8D69C-7841-4521-B4D4-05419854FDD4}" type="pres">
      <dgm:prSet presAssocID="{82EF3061-54B1-4B5D-95A5-4E072FF275B5}" presName="postLine2" presStyleLbl="parChTrans1D1" presStyleIdx="23" presStyleCnt="26"/>
      <dgm:spPr/>
    </dgm:pt>
    <dgm:pt modelId="{F1D6281B-BB96-4929-9B51-595096B35985}" type="pres">
      <dgm:prSet presAssocID="{C407A102-8A62-491F-8F80-E0B315D5C17D}" presName="spPost2" presStyleCnt="0"/>
      <dgm:spPr/>
    </dgm:pt>
    <dgm:pt modelId="{AEDD0CC6-D517-49F3-9CB3-AF6C04CA0F5C}" type="pres">
      <dgm:prSet presAssocID="{EE0EB7E1-93BD-4AC0-A868-2903B5DA4DD8}" presName="parTx3" presStyleLbl="node1" presStyleIdx="2" presStyleCnt="3"/>
      <dgm:spPr/>
      <dgm:t>
        <a:bodyPr/>
        <a:lstStyle/>
        <a:p>
          <a:endParaRPr lang="zh-CN" altLang="en-US"/>
        </a:p>
      </dgm:t>
    </dgm:pt>
    <dgm:pt modelId="{7704EC77-1994-433F-906D-10F8FF7389F6}" type="pres">
      <dgm:prSet presAssocID="{EE0EB7E1-93BD-4AC0-A868-2903B5DA4DD8}" presName="spPre3" presStyleCnt="0"/>
      <dgm:spPr/>
    </dgm:pt>
    <dgm:pt modelId="{02A25982-D8AF-4485-B1BA-65A2079C7211}" type="pres">
      <dgm:prSet presAssocID="{EE0EB7E1-93BD-4AC0-A868-2903B5DA4DD8}" presName="chLin3" presStyleCnt="0"/>
      <dgm:spPr/>
    </dgm:pt>
    <dgm:pt modelId="{9683F75C-53DA-4CB7-9283-2AF2F038622E}" type="pres">
      <dgm:prSet presAssocID="{F136C798-389D-4411-BC12-CA0DF59837D9}" presName="Name79" presStyleLbl="parChTrans1D1" presStyleIdx="24" presStyleCnt="26"/>
      <dgm:spPr/>
    </dgm:pt>
    <dgm:pt modelId="{9610EA0C-1545-42D7-BBB2-4A2C9033CA72}" type="pres">
      <dgm:prSet presAssocID="{990C2E57-0F17-4E5A-97CB-97FCAF81D263}" presName="top3" presStyleCnt="0"/>
      <dgm:spPr/>
    </dgm:pt>
    <dgm:pt modelId="{8EA35E78-2FBA-4FFF-8579-DDACB2CAA758}" type="pres">
      <dgm:prSet presAssocID="{990C2E57-0F17-4E5A-97CB-97FCAF81D263}" presName="txAndLines3" presStyleCnt="0"/>
      <dgm:spPr/>
    </dgm:pt>
    <dgm:pt modelId="{BA320AE8-5AD8-4AC8-8720-E5DB72B81083}" type="pres">
      <dgm:prSet presAssocID="{990C2E57-0F17-4E5A-97CB-97FCAF81D263}" presName="anchor3" presStyleCnt="0"/>
      <dgm:spPr/>
    </dgm:pt>
    <dgm:pt modelId="{202F409A-C4B5-45C2-8326-0A05499D50DD}" type="pres">
      <dgm:prSet presAssocID="{990C2E57-0F17-4E5A-97CB-97FCAF81D263}" presName="backup3" presStyleCnt="0"/>
      <dgm:spPr/>
    </dgm:pt>
    <dgm:pt modelId="{FCEC7500-FDD1-42D5-925D-E9D23EFF6EBD}" type="pres">
      <dgm:prSet presAssocID="{990C2E57-0F17-4E5A-97CB-97FCAF81D263}" presName="preLine3" presStyleLbl="parChTrans1D1" presStyleIdx="25" presStyleCnt="26"/>
      <dgm:spPr/>
    </dgm:pt>
    <dgm:pt modelId="{CD0A751C-052D-40EC-84F0-5A78F4850700}" type="pres">
      <dgm:prSet presAssocID="{990C2E57-0F17-4E5A-97CB-97FCAF81D263}" presName="desTx3" presStyleLbl="revTx" presStyleIdx="0" presStyleCnt="0">
        <dgm:presLayoutVars>
          <dgm:bulletEnabled val="1"/>
        </dgm:presLayoutVars>
      </dgm:prSet>
      <dgm:spPr/>
      <dgm:t>
        <a:bodyPr/>
        <a:lstStyle/>
        <a:p>
          <a:endParaRPr lang="zh-CN" altLang="en-US"/>
        </a:p>
      </dgm:t>
    </dgm:pt>
  </dgm:ptLst>
  <dgm:cxnLst>
    <dgm:cxn modelId="{5355DDC6-457C-4E82-BCB9-44124A0E2B65}" type="presOf" srcId="{3FBE73AE-6709-45B2-9529-6DF989DAA08D}" destId="{C7B81B4D-A747-481C-8012-3E34A3DDB299}" srcOrd="0" destOrd="0" presId="urn:microsoft.com/office/officeart/2009/3/layout/SubStepProcess"/>
    <dgm:cxn modelId="{2FE6B4F5-10E0-45A9-932D-F65855A59EAD}" type="presOf" srcId="{7D2E38F0-B94F-4105-AA7E-0858906FBAE6}" destId="{62C4CE99-790D-4809-B8FB-A93067AD9367}" srcOrd="0" destOrd="0" presId="urn:microsoft.com/office/officeart/2009/3/layout/SubStepProcess"/>
    <dgm:cxn modelId="{E7FA096F-E8EF-4DBB-AC04-B7A8FFADAB8D}" type="presOf" srcId="{4DF052D9-1A31-4B08-A231-B5D237EFF79B}" destId="{F00B1E63-3FBF-4D44-A863-C31C522AAEF1}" srcOrd="0" destOrd="0" presId="urn:microsoft.com/office/officeart/2009/3/layout/SubStepProcess"/>
    <dgm:cxn modelId="{3EFCC190-777B-4C9B-8BFD-814194741189}" type="presOf" srcId="{574D59F4-7DC4-4C04-BA57-5898303CD5FB}" destId="{72D295D6-89B6-4EE6-AB73-909ED91B7748}" srcOrd="0" destOrd="0" presId="urn:microsoft.com/office/officeart/2009/3/layout/SubStepProcess"/>
    <dgm:cxn modelId="{6D2200BD-4255-4356-AC09-0249D8190953}" srcId="{3FBE73AE-6709-45B2-9529-6DF989DAA08D}" destId="{C407A102-8A62-491F-8F80-E0B315D5C17D}" srcOrd="1" destOrd="0" parTransId="{3680D555-D014-467E-A53E-0ECE97FF7069}" sibTransId="{A851EFA3-B9A1-4E02-BF5D-9094C8B8C7F6}"/>
    <dgm:cxn modelId="{EE25B1C0-FE86-4841-9E8E-1878CF1846E5}" srcId="{3FBE73AE-6709-45B2-9529-6DF989DAA08D}" destId="{30DA0421-DCFB-40D9-AC7F-FE2B3D35D860}" srcOrd="0" destOrd="0" parTransId="{6B1AEA68-D14C-4B8D-A779-15027B9E3F2C}" sibTransId="{5E8F8F17-1840-4ECB-93F4-D14B7BD752A2}"/>
    <dgm:cxn modelId="{EC0FA56D-9F20-414A-A2B8-6E68F07F176B}" srcId="{C407A102-8A62-491F-8F80-E0B315D5C17D}" destId="{82EF3061-54B1-4B5D-95A5-4E072FF275B5}" srcOrd="1" destOrd="0" parTransId="{9BAC8E01-04CB-4BA6-900A-1140190AAD91}" sibTransId="{12D22232-6C3C-4907-B7D3-3207932224EF}"/>
    <dgm:cxn modelId="{C7A05942-818E-4D12-980B-50F7AC1D93A8}" srcId="{30DA0421-DCFB-40D9-AC7F-FE2B3D35D860}" destId="{7D2E38F0-B94F-4105-AA7E-0858906FBAE6}" srcOrd="1" destOrd="0" parTransId="{9BD172AC-7B73-4D38-984C-BCFC06ED06D8}" sibTransId="{0A2E6684-DFDD-4E17-8CC3-A63F7E606C63}"/>
    <dgm:cxn modelId="{366C9580-7F9D-4BB6-831B-E0226C804B38}" type="presOf" srcId="{82EF3061-54B1-4B5D-95A5-4E072FF275B5}" destId="{797C6269-0D55-412F-A2ED-FFC50BA83277}" srcOrd="0" destOrd="0" presId="urn:microsoft.com/office/officeart/2009/3/layout/SubStepProcess"/>
    <dgm:cxn modelId="{FC02C173-8676-4A8C-A555-1B215FB7622A}" srcId="{30DA0421-DCFB-40D9-AC7F-FE2B3D35D860}" destId="{A52D3B46-C117-4FE9-97AD-F58B7631E393}" srcOrd="3" destOrd="0" parTransId="{3536A35D-2503-46A4-BDDC-5A6EBCAAFC44}" sibTransId="{1F4DAA5C-32E1-43B3-87D9-2C0F8F03329D}"/>
    <dgm:cxn modelId="{FDEDD831-0D0B-4874-A9F4-E93670ED5E4D}" type="presOf" srcId="{990C2E57-0F17-4E5A-97CB-97FCAF81D263}" destId="{CD0A751C-052D-40EC-84F0-5A78F4850700}" srcOrd="0" destOrd="0" presId="urn:microsoft.com/office/officeart/2009/3/layout/SubStepProcess"/>
    <dgm:cxn modelId="{8520FD63-AC0E-43A2-9044-9F539DDDD0D1}" type="presOf" srcId="{30DA0421-DCFB-40D9-AC7F-FE2B3D35D860}" destId="{4EC5F410-2E15-438F-9B60-276E97191C15}" srcOrd="0" destOrd="0" presId="urn:microsoft.com/office/officeart/2009/3/layout/SubStepProcess"/>
    <dgm:cxn modelId="{AD6B814D-EB1F-4D8C-9DBF-F0850453678F}" type="presOf" srcId="{C407A102-8A62-491F-8F80-E0B315D5C17D}" destId="{FF182EA2-E69E-4E2C-81D5-EA35996BC9EB}" srcOrd="0" destOrd="0" presId="urn:microsoft.com/office/officeart/2009/3/layout/SubStepProcess"/>
    <dgm:cxn modelId="{80173348-35DA-4DCD-B29F-70AADAC2763B}" srcId="{3FBE73AE-6709-45B2-9529-6DF989DAA08D}" destId="{EE0EB7E1-93BD-4AC0-A868-2903B5DA4DD8}" srcOrd="2" destOrd="0" parTransId="{E0BFE2F1-C740-4376-A9D9-C6790D9D303A}" sibTransId="{A7FEFAF9-76AB-4E47-83AE-D7A00295B72A}"/>
    <dgm:cxn modelId="{E7E1EEBD-B67D-4EE6-BC6D-CC7444B73360}" type="presOf" srcId="{EE0EB7E1-93BD-4AC0-A868-2903B5DA4DD8}" destId="{AEDD0CC6-D517-49F3-9CB3-AF6C04CA0F5C}" srcOrd="0" destOrd="0" presId="urn:microsoft.com/office/officeart/2009/3/layout/SubStepProcess"/>
    <dgm:cxn modelId="{6FA14980-703E-4BAA-B6A2-ECE5414C3D1B}" srcId="{30DA0421-DCFB-40D9-AC7F-FE2B3D35D860}" destId="{589E2F41-F711-4548-8171-E95CAD490519}" srcOrd="2" destOrd="0" parTransId="{6FC66C59-A93E-42CC-940B-AB394E1C2E36}" sibTransId="{C7ABDB06-182A-4F85-9552-53C1CA071DA4}"/>
    <dgm:cxn modelId="{A2AEC3D9-9182-408E-936A-3E0875B52926}" srcId="{30DA0421-DCFB-40D9-AC7F-FE2B3D35D860}" destId="{574D59F4-7DC4-4C04-BA57-5898303CD5FB}" srcOrd="0" destOrd="0" parTransId="{67EB4732-30AC-49F8-91C0-6775C306FB09}" sibTransId="{5243A5BD-E68D-4CF0-B270-C6A350FC8B76}"/>
    <dgm:cxn modelId="{468ED7AB-D65B-4CBA-A407-727887DD64A1}" type="presOf" srcId="{589E2F41-F711-4548-8171-E95CAD490519}" destId="{041ABFBA-01A4-4373-8AEA-C0434520EA78}" srcOrd="0" destOrd="0" presId="urn:microsoft.com/office/officeart/2009/3/layout/SubStepProcess"/>
    <dgm:cxn modelId="{5F3F217F-7A5E-4C07-96B3-305E8B4419D1}" srcId="{C407A102-8A62-491F-8F80-E0B315D5C17D}" destId="{4DF052D9-1A31-4B08-A231-B5D237EFF79B}" srcOrd="0" destOrd="0" parTransId="{4D496B88-C3D9-4EA1-9F92-A26AD4A2120C}" sibTransId="{7A5AA366-3D2D-40DE-ACEC-51284199F958}"/>
    <dgm:cxn modelId="{F0C14A8D-A7D0-496D-A1E2-09AFBAFE5207}" srcId="{EE0EB7E1-93BD-4AC0-A868-2903B5DA4DD8}" destId="{990C2E57-0F17-4E5A-97CB-97FCAF81D263}" srcOrd="0" destOrd="0" parTransId="{F136C798-389D-4411-BC12-CA0DF59837D9}" sibTransId="{F675334F-DE29-44A8-8F50-5F842F5AEDFB}"/>
    <dgm:cxn modelId="{5D1B9B4B-CCBE-4A8A-A845-7045144FF9A1}" type="presOf" srcId="{A52D3B46-C117-4FE9-97AD-F58B7631E393}" destId="{7F95620D-ACB9-4CF6-A559-CE36E91BC92A}" srcOrd="0" destOrd="0" presId="urn:microsoft.com/office/officeart/2009/3/layout/SubStepProcess"/>
    <dgm:cxn modelId="{670E012C-16EC-4967-A99C-6B6BCD378F5E}" type="presParOf" srcId="{C7B81B4D-A747-481C-8012-3E34A3DDB299}" destId="{4EC5F410-2E15-438F-9B60-276E97191C15}" srcOrd="0" destOrd="0" presId="urn:microsoft.com/office/officeart/2009/3/layout/SubStepProcess"/>
    <dgm:cxn modelId="{29B99245-488E-4E1A-89FA-7670038893C9}" type="presParOf" srcId="{C7B81B4D-A747-481C-8012-3E34A3DDB299}" destId="{7E6371F5-B59C-4E29-BB87-1EA23145B07E}" srcOrd="1" destOrd="0" presId="urn:microsoft.com/office/officeart/2009/3/layout/SubStepProcess"/>
    <dgm:cxn modelId="{D83A88CB-86E5-4ECB-A3B0-09C0694623B8}" type="presParOf" srcId="{C7B81B4D-A747-481C-8012-3E34A3DDB299}" destId="{EC51255A-76D8-4BFA-BF37-7943579291B2}" srcOrd="2" destOrd="0" presId="urn:microsoft.com/office/officeart/2009/3/layout/SubStepProcess"/>
    <dgm:cxn modelId="{0B97D1E0-6B78-4B34-AD06-8D7047409295}" type="presParOf" srcId="{EC51255A-76D8-4BFA-BF37-7943579291B2}" destId="{D417927E-D4DD-4F93-A1FF-982705B75A79}" srcOrd="0" destOrd="0" presId="urn:microsoft.com/office/officeart/2009/3/layout/SubStepProcess"/>
    <dgm:cxn modelId="{24F17A36-77C7-459A-9C0A-CB346E8ACF41}" type="presParOf" srcId="{EC51255A-76D8-4BFA-BF37-7943579291B2}" destId="{37FD8D3D-F524-4917-B3F9-F0E4F7BC8D29}" srcOrd="1" destOrd="0" presId="urn:microsoft.com/office/officeart/2009/3/layout/SubStepProcess"/>
    <dgm:cxn modelId="{702D3319-3804-450C-9546-2CF8A9EA5D16}" type="presParOf" srcId="{EC51255A-76D8-4BFA-BF37-7943579291B2}" destId="{792C1FF6-BE3F-42AA-8E06-F7D769D6AAF4}" srcOrd="2" destOrd="0" presId="urn:microsoft.com/office/officeart/2009/3/layout/SubStepProcess"/>
    <dgm:cxn modelId="{77941B53-D865-4C31-9F21-5C10C109BF26}" type="presParOf" srcId="{792C1FF6-BE3F-42AA-8E06-F7D769D6AAF4}" destId="{B59F3D46-BFE2-44EF-8692-AD59F4B0744E}" srcOrd="0" destOrd="0" presId="urn:microsoft.com/office/officeart/2009/3/layout/SubStepProcess"/>
    <dgm:cxn modelId="{E62F6A88-8801-48A3-8498-FCF4247CCFE3}" type="presParOf" srcId="{792C1FF6-BE3F-42AA-8E06-F7D769D6AAF4}" destId="{4479E171-55C7-413A-AC53-4B42AD4304D0}" srcOrd="1" destOrd="0" presId="urn:microsoft.com/office/officeart/2009/3/layout/SubStepProcess"/>
    <dgm:cxn modelId="{F2E50C6A-116E-46AC-8887-4EF405A7ECAD}" type="presParOf" srcId="{792C1FF6-BE3F-42AA-8E06-F7D769D6AAF4}" destId="{5BB5B075-3348-43FD-8515-EDFC868B5D4A}" srcOrd="2" destOrd="0" presId="urn:microsoft.com/office/officeart/2009/3/layout/SubStepProcess"/>
    <dgm:cxn modelId="{B42DB6B5-1EC4-4798-9FB9-1FBE5070E625}" type="presParOf" srcId="{792C1FF6-BE3F-42AA-8E06-F7D769D6AAF4}" destId="{72D295D6-89B6-4EE6-AB73-909ED91B7748}" srcOrd="3" destOrd="0" presId="urn:microsoft.com/office/officeart/2009/3/layout/SubStepProcess"/>
    <dgm:cxn modelId="{4674109B-0773-45E5-8024-76C211D096E4}" type="presParOf" srcId="{792C1FF6-BE3F-42AA-8E06-F7D769D6AAF4}" destId="{01996E6A-F2E5-4EE0-B5F7-758689F32EE7}" srcOrd="4" destOrd="0" presId="urn:microsoft.com/office/officeart/2009/3/layout/SubStepProcess"/>
    <dgm:cxn modelId="{7688A2DD-0E71-47E7-8FEF-79536FBC09C7}" type="presParOf" srcId="{EC51255A-76D8-4BFA-BF37-7943579291B2}" destId="{EE1DA32D-839E-4FED-AC09-7C6FCE96790A}" srcOrd="3" destOrd="0" presId="urn:microsoft.com/office/officeart/2009/3/layout/SubStepProcess"/>
    <dgm:cxn modelId="{32CDB025-243A-466C-9A9A-49125665F926}" type="presParOf" srcId="{EC51255A-76D8-4BFA-BF37-7943579291B2}" destId="{78C04FA0-9D3C-4535-9FE9-906BEB1384D9}" srcOrd="4" destOrd="0" presId="urn:microsoft.com/office/officeart/2009/3/layout/SubStepProcess"/>
    <dgm:cxn modelId="{AD389A7A-4901-4018-97BC-60BB8268DBDC}" type="presParOf" srcId="{EC51255A-76D8-4BFA-BF37-7943579291B2}" destId="{AED58C65-C006-4B9B-A2C0-E57D8DA5DD68}" srcOrd="5" destOrd="0" presId="urn:microsoft.com/office/officeart/2009/3/layout/SubStepProcess"/>
    <dgm:cxn modelId="{8D26997A-ED13-461E-9FA2-9A0F4945FF90}" type="presParOf" srcId="{AED58C65-C006-4B9B-A2C0-E57D8DA5DD68}" destId="{E0588C81-3760-4149-A567-36F6D897778F}" srcOrd="0" destOrd="0" presId="urn:microsoft.com/office/officeart/2009/3/layout/SubStepProcess"/>
    <dgm:cxn modelId="{9851849A-39FC-4D8A-B845-CC98897E0834}" type="presParOf" srcId="{AED58C65-C006-4B9B-A2C0-E57D8DA5DD68}" destId="{C2A616FA-73F5-4EEF-8A48-7B93C4424DC8}" srcOrd="1" destOrd="0" presId="urn:microsoft.com/office/officeart/2009/3/layout/SubStepProcess"/>
    <dgm:cxn modelId="{42F314D7-8073-41ED-8784-3051460A86F9}" type="presParOf" srcId="{AED58C65-C006-4B9B-A2C0-E57D8DA5DD68}" destId="{73C98F60-86E6-4F43-B5A8-99A871702BBE}" srcOrd="2" destOrd="0" presId="urn:microsoft.com/office/officeart/2009/3/layout/SubStepProcess"/>
    <dgm:cxn modelId="{1D9E863B-9B36-4AD3-8375-2B8CF8CEF263}" type="presParOf" srcId="{AED58C65-C006-4B9B-A2C0-E57D8DA5DD68}" destId="{62C4CE99-790D-4809-B8FB-A93067AD9367}" srcOrd="3" destOrd="0" presId="urn:microsoft.com/office/officeart/2009/3/layout/SubStepProcess"/>
    <dgm:cxn modelId="{8281BBD5-B164-4A24-A3B9-B4CA923FA9F5}" type="presParOf" srcId="{AED58C65-C006-4B9B-A2C0-E57D8DA5DD68}" destId="{CDF3068F-BCDB-4F3F-AC8B-B2DEBF6D221F}" srcOrd="4" destOrd="0" presId="urn:microsoft.com/office/officeart/2009/3/layout/SubStepProcess"/>
    <dgm:cxn modelId="{199797CB-9761-4BD0-883F-CC1452608E82}" type="presParOf" srcId="{EC51255A-76D8-4BFA-BF37-7943579291B2}" destId="{EBBD5752-8F65-43B9-A41E-7D70452B7F69}" srcOrd="6" destOrd="0" presId="urn:microsoft.com/office/officeart/2009/3/layout/SubStepProcess"/>
    <dgm:cxn modelId="{F38FCC51-12D6-4009-9B12-E522648A28B7}" type="presParOf" srcId="{EC51255A-76D8-4BFA-BF37-7943579291B2}" destId="{351569FC-F182-45AA-A7E4-EAA6471DFE27}" srcOrd="7" destOrd="0" presId="urn:microsoft.com/office/officeart/2009/3/layout/SubStepProcess"/>
    <dgm:cxn modelId="{BB329649-92C4-4F86-A3C4-471A8BA2B876}" type="presParOf" srcId="{EC51255A-76D8-4BFA-BF37-7943579291B2}" destId="{5E874009-2F6A-49F6-9219-AE60B220CB12}" srcOrd="8" destOrd="0" presId="urn:microsoft.com/office/officeart/2009/3/layout/SubStepProcess"/>
    <dgm:cxn modelId="{3C160E6C-2813-4490-B606-A51D6E6EEEE3}" type="presParOf" srcId="{5E874009-2F6A-49F6-9219-AE60B220CB12}" destId="{8BA0C91F-B4A1-4D3C-AA0A-CA6197C10D31}" srcOrd="0" destOrd="0" presId="urn:microsoft.com/office/officeart/2009/3/layout/SubStepProcess"/>
    <dgm:cxn modelId="{50734393-9C4B-4451-8469-C331250F01F2}" type="presParOf" srcId="{5E874009-2F6A-49F6-9219-AE60B220CB12}" destId="{229FB547-30F5-45AC-A10F-8F5E055A49A0}" srcOrd="1" destOrd="0" presId="urn:microsoft.com/office/officeart/2009/3/layout/SubStepProcess"/>
    <dgm:cxn modelId="{E1D08625-64B3-4A69-B6A1-F388A94FC4F2}" type="presParOf" srcId="{5E874009-2F6A-49F6-9219-AE60B220CB12}" destId="{5EF440F4-B405-4FE5-B353-14BB8BE490FC}" srcOrd="2" destOrd="0" presId="urn:microsoft.com/office/officeart/2009/3/layout/SubStepProcess"/>
    <dgm:cxn modelId="{8CBB36CF-54C7-4F93-8C01-7622D712F84D}" type="presParOf" srcId="{5E874009-2F6A-49F6-9219-AE60B220CB12}" destId="{041ABFBA-01A4-4373-8AEA-C0434520EA78}" srcOrd="3" destOrd="0" presId="urn:microsoft.com/office/officeart/2009/3/layout/SubStepProcess"/>
    <dgm:cxn modelId="{77B2242D-2EC0-46D3-90BF-BAC8E2C456FE}" type="presParOf" srcId="{5E874009-2F6A-49F6-9219-AE60B220CB12}" destId="{20480805-D49F-4D75-99EE-A3DBA890EEE7}" srcOrd="4" destOrd="0" presId="urn:microsoft.com/office/officeart/2009/3/layout/SubStepProcess"/>
    <dgm:cxn modelId="{37A2D5CD-4435-4C25-8761-D0FC29C3256B}" type="presParOf" srcId="{EC51255A-76D8-4BFA-BF37-7943579291B2}" destId="{42CC69AC-927E-4D21-BFA0-87ABDB823B0A}" srcOrd="9" destOrd="0" presId="urn:microsoft.com/office/officeart/2009/3/layout/SubStepProcess"/>
    <dgm:cxn modelId="{5F19241A-5B3A-4E8E-A60C-76158C00C214}" type="presParOf" srcId="{EC51255A-76D8-4BFA-BF37-7943579291B2}" destId="{5A73F131-39D6-4AD6-8E70-827F2681EBF1}" srcOrd="10" destOrd="0" presId="urn:microsoft.com/office/officeart/2009/3/layout/SubStepProcess"/>
    <dgm:cxn modelId="{FE09C98F-77CF-4CF4-91C7-D9EF4F625F20}" type="presParOf" srcId="{EC51255A-76D8-4BFA-BF37-7943579291B2}" destId="{AE7CCEA4-E67C-442A-B46E-5DA16D8E7C73}" srcOrd="11" destOrd="0" presId="urn:microsoft.com/office/officeart/2009/3/layout/SubStepProcess"/>
    <dgm:cxn modelId="{CE1E4B93-DC16-425A-A8DF-773F0D3FF43C}" type="presParOf" srcId="{AE7CCEA4-E67C-442A-B46E-5DA16D8E7C73}" destId="{136C103E-358D-4372-B6D9-30D5D0BB4C88}" srcOrd="0" destOrd="0" presId="urn:microsoft.com/office/officeart/2009/3/layout/SubStepProcess"/>
    <dgm:cxn modelId="{0CBD746E-0348-4828-A790-5673AAE7B9CE}" type="presParOf" srcId="{AE7CCEA4-E67C-442A-B46E-5DA16D8E7C73}" destId="{480E86ED-AEFF-4160-9FE5-584083F68C95}" srcOrd="1" destOrd="0" presId="urn:microsoft.com/office/officeart/2009/3/layout/SubStepProcess"/>
    <dgm:cxn modelId="{3E3C85CC-C705-4FFA-AFB6-017DB97B5856}" type="presParOf" srcId="{AE7CCEA4-E67C-442A-B46E-5DA16D8E7C73}" destId="{B0E52B2B-7380-439A-9546-24BCAE306316}" srcOrd="2" destOrd="0" presId="urn:microsoft.com/office/officeart/2009/3/layout/SubStepProcess"/>
    <dgm:cxn modelId="{19DC7A1D-2106-460B-AE65-8AA023EF5632}" type="presParOf" srcId="{AE7CCEA4-E67C-442A-B46E-5DA16D8E7C73}" destId="{7F95620D-ACB9-4CF6-A559-CE36E91BC92A}" srcOrd="3" destOrd="0" presId="urn:microsoft.com/office/officeart/2009/3/layout/SubStepProcess"/>
    <dgm:cxn modelId="{6638F29F-70A9-4A9B-ADA4-EE6D371B7C45}" type="presParOf" srcId="{AE7CCEA4-E67C-442A-B46E-5DA16D8E7C73}" destId="{C4A88B1F-5A6B-430C-BDAD-9129FEBABD3A}" srcOrd="4" destOrd="0" presId="urn:microsoft.com/office/officeart/2009/3/layout/SubStepProcess"/>
    <dgm:cxn modelId="{29148A68-95CF-4E8A-B9A9-781BEAA7FC6F}" type="presParOf" srcId="{C7B81B4D-A747-481C-8012-3E34A3DDB299}" destId="{7742E2F3-092B-4120-8B7C-B8B31ADDDC7B}" srcOrd="3" destOrd="0" presId="urn:microsoft.com/office/officeart/2009/3/layout/SubStepProcess"/>
    <dgm:cxn modelId="{74E7A9CA-4F93-43E0-BCD2-539049366D3E}" type="presParOf" srcId="{C7B81B4D-A747-481C-8012-3E34A3DDB299}" destId="{FF182EA2-E69E-4E2C-81D5-EA35996BC9EB}" srcOrd="4" destOrd="0" presId="urn:microsoft.com/office/officeart/2009/3/layout/SubStepProcess"/>
    <dgm:cxn modelId="{20790484-ED51-445F-8598-BB71F251D628}" type="presParOf" srcId="{C7B81B4D-A747-481C-8012-3E34A3DDB299}" destId="{01873B14-EBEA-4871-91EE-2A42C9A52373}" srcOrd="5" destOrd="0" presId="urn:microsoft.com/office/officeart/2009/3/layout/SubStepProcess"/>
    <dgm:cxn modelId="{148CA004-C4B4-4526-BEA3-E5B5862BF1F3}" type="presParOf" srcId="{C7B81B4D-A747-481C-8012-3E34A3DDB299}" destId="{3F986B5A-5EC8-4B72-8D41-70DA26C06B81}" srcOrd="6" destOrd="0" presId="urn:microsoft.com/office/officeart/2009/3/layout/SubStepProcess"/>
    <dgm:cxn modelId="{08B58EAA-5632-4354-9599-39A5FC81457C}" type="presParOf" srcId="{3F986B5A-5EC8-4B72-8D41-70DA26C06B81}" destId="{1E00D136-618E-4C92-B982-4A51D252C55C}" srcOrd="0" destOrd="0" presId="urn:microsoft.com/office/officeart/2009/3/layout/SubStepProcess"/>
    <dgm:cxn modelId="{087A76AD-C2F3-4F92-B4D0-CDD326BEE9BB}" type="presParOf" srcId="{3F986B5A-5EC8-4B72-8D41-70DA26C06B81}" destId="{237743B5-E8F4-4634-B121-CF56D686F51D}" srcOrd="1" destOrd="0" presId="urn:microsoft.com/office/officeart/2009/3/layout/SubStepProcess"/>
    <dgm:cxn modelId="{D9649993-CAFD-43D0-890B-FBE638ACEDF2}" type="presParOf" srcId="{3F986B5A-5EC8-4B72-8D41-70DA26C06B81}" destId="{63620600-C048-4148-B8E8-C36CD9CDBC1C}" srcOrd="2" destOrd="0" presId="urn:microsoft.com/office/officeart/2009/3/layout/SubStepProcess"/>
    <dgm:cxn modelId="{A336009A-A399-4C0D-A505-D9795A275EE2}" type="presParOf" srcId="{63620600-C048-4148-B8E8-C36CD9CDBC1C}" destId="{DE808A21-AC95-49D8-A3F6-23CA091C5101}" srcOrd="0" destOrd="0" presId="urn:microsoft.com/office/officeart/2009/3/layout/SubStepProcess"/>
    <dgm:cxn modelId="{9C0435B5-03D3-4BCC-BFFB-E1F149A72F66}" type="presParOf" srcId="{63620600-C048-4148-B8E8-C36CD9CDBC1C}" destId="{237BCE96-F026-4C9A-AB73-76528AF940CC}" srcOrd="1" destOrd="0" presId="urn:microsoft.com/office/officeart/2009/3/layout/SubStepProcess"/>
    <dgm:cxn modelId="{AB90ADB7-279C-4EB6-A472-1ACEE4125C0F}" type="presParOf" srcId="{63620600-C048-4148-B8E8-C36CD9CDBC1C}" destId="{0145009A-4736-4094-9984-83445DEE2404}" srcOrd="2" destOrd="0" presId="urn:microsoft.com/office/officeart/2009/3/layout/SubStepProcess"/>
    <dgm:cxn modelId="{453DD086-17F3-48DD-BAFE-82FD8FFD6858}" type="presParOf" srcId="{63620600-C048-4148-B8E8-C36CD9CDBC1C}" destId="{F00B1E63-3FBF-4D44-A863-C31C522AAEF1}" srcOrd="3" destOrd="0" presId="urn:microsoft.com/office/officeart/2009/3/layout/SubStepProcess"/>
    <dgm:cxn modelId="{0E700D3B-44FA-4645-9604-AB79706EA210}" type="presParOf" srcId="{63620600-C048-4148-B8E8-C36CD9CDBC1C}" destId="{77E51CC0-AA1E-4FDC-93AF-2DAEF3EB8EF8}" srcOrd="4" destOrd="0" presId="urn:microsoft.com/office/officeart/2009/3/layout/SubStepProcess"/>
    <dgm:cxn modelId="{503B6737-402A-45BE-81E2-FAFAC954FAA2}" type="presParOf" srcId="{3F986B5A-5EC8-4B72-8D41-70DA26C06B81}" destId="{E335E53B-667F-497A-9A20-5EFF69FC2437}" srcOrd="3" destOrd="0" presId="urn:microsoft.com/office/officeart/2009/3/layout/SubStepProcess"/>
    <dgm:cxn modelId="{D22C494F-DEA4-4E0A-8475-A39A9A2A0945}" type="presParOf" srcId="{3F986B5A-5EC8-4B72-8D41-70DA26C06B81}" destId="{9B68A8F1-D80D-4EEE-8E97-02C05655C359}" srcOrd="4" destOrd="0" presId="urn:microsoft.com/office/officeart/2009/3/layout/SubStepProcess"/>
    <dgm:cxn modelId="{8240B3B2-4E98-4230-9C6F-3F9AF9CD7E52}" type="presParOf" srcId="{3F986B5A-5EC8-4B72-8D41-70DA26C06B81}" destId="{2357EFAE-9E68-4FF6-89DB-5FB7CD955D38}" srcOrd="5" destOrd="0" presId="urn:microsoft.com/office/officeart/2009/3/layout/SubStepProcess"/>
    <dgm:cxn modelId="{B1A91BEA-F06E-4239-A18A-16951CE470BB}" type="presParOf" srcId="{2357EFAE-9E68-4FF6-89DB-5FB7CD955D38}" destId="{1F5533F3-F6C8-4612-8105-8D3DE4BDBFC7}" srcOrd="0" destOrd="0" presId="urn:microsoft.com/office/officeart/2009/3/layout/SubStepProcess"/>
    <dgm:cxn modelId="{FF895F9B-A238-47F7-A2EE-B3D89CEEC1F5}" type="presParOf" srcId="{2357EFAE-9E68-4FF6-89DB-5FB7CD955D38}" destId="{E06078BC-8100-4211-961D-C40F1C399CB8}" srcOrd="1" destOrd="0" presId="urn:microsoft.com/office/officeart/2009/3/layout/SubStepProcess"/>
    <dgm:cxn modelId="{F7997760-DEB4-400C-BB48-EEDC6080827E}" type="presParOf" srcId="{2357EFAE-9E68-4FF6-89DB-5FB7CD955D38}" destId="{974B733B-47DE-4835-85E5-62148AE4A670}" srcOrd="2" destOrd="0" presId="urn:microsoft.com/office/officeart/2009/3/layout/SubStepProcess"/>
    <dgm:cxn modelId="{9FF879B9-B75E-4F10-9CE5-187A4A8D0481}" type="presParOf" srcId="{2357EFAE-9E68-4FF6-89DB-5FB7CD955D38}" destId="{797C6269-0D55-412F-A2ED-FFC50BA83277}" srcOrd="3" destOrd="0" presId="urn:microsoft.com/office/officeart/2009/3/layout/SubStepProcess"/>
    <dgm:cxn modelId="{BF6D0F4E-16AE-4C1B-9687-05B31C7C1C64}" type="presParOf" srcId="{2357EFAE-9E68-4FF6-89DB-5FB7CD955D38}" destId="{C5A8D69C-7841-4521-B4D4-05419854FDD4}" srcOrd="4" destOrd="0" presId="urn:microsoft.com/office/officeart/2009/3/layout/SubStepProcess"/>
    <dgm:cxn modelId="{28D2773A-25A0-4C59-B6A9-5BBD747AD60E}" type="presParOf" srcId="{C7B81B4D-A747-481C-8012-3E34A3DDB299}" destId="{F1D6281B-BB96-4929-9B51-595096B35985}" srcOrd="7" destOrd="0" presId="urn:microsoft.com/office/officeart/2009/3/layout/SubStepProcess"/>
    <dgm:cxn modelId="{E30D7920-3148-43FB-A4A9-CF7C5E25068C}" type="presParOf" srcId="{C7B81B4D-A747-481C-8012-3E34A3DDB299}" destId="{AEDD0CC6-D517-49F3-9CB3-AF6C04CA0F5C}" srcOrd="8" destOrd="0" presId="urn:microsoft.com/office/officeart/2009/3/layout/SubStepProcess"/>
    <dgm:cxn modelId="{E8F40CF1-745A-4D5E-83A2-F1598B29DDE4}" type="presParOf" srcId="{C7B81B4D-A747-481C-8012-3E34A3DDB299}" destId="{7704EC77-1994-433F-906D-10F8FF7389F6}" srcOrd="9" destOrd="0" presId="urn:microsoft.com/office/officeart/2009/3/layout/SubStepProcess"/>
    <dgm:cxn modelId="{8E944093-51CE-4B72-9B3B-C5C8D33E24DC}" type="presParOf" srcId="{C7B81B4D-A747-481C-8012-3E34A3DDB299}" destId="{02A25982-D8AF-4485-B1BA-65A2079C7211}" srcOrd="10" destOrd="0" presId="urn:microsoft.com/office/officeart/2009/3/layout/SubStepProcess"/>
    <dgm:cxn modelId="{5D1E6333-22F0-4337-A81D-2DCCFA786767}" type="presParOf" srcId="{02A25982-D8AF-4485-B1BA-65A2079C7211}" destId="{9683F75C-53DA-4CB7-9283-2AF2F038622E}" srcOrd="0" destOrd="0" presId="urn:microsoft.com/office/officeart/2009/3/layout/SubStepProcess"/>
    <dgm:cxn modelId="{BDBF3CCF-CF59-4879-B2A8-91D67717A077}" type="presParOf" srcId="{02A25982-D8AF-4485-B1BA-65A2079C7211}" destId="{9610EA0C-1545-42D7-BBB2-4A2C9033CA72}" srcOrd="1" destOrd="0" presId="urn:microsoft.com/office/officeart/2009/3/layout/SubStepProcess"/>
    <dgm:cxn modelId="{E9F9BE08-E041-4945-B932-4D2BD743EB69}" type="presParOf" srcId="{02A25982-D8AF-4485-B1BA-65A2079C7211}" destId="{8EA35E78-2FBA-4FFF-8579-DDACB2CAA758}" srcOrd="2" destOrd="0" presId="urn:microsoft.com/office/officeart/2009/3/layout/SubStepProcess"/>
    <dgm:cxn modelId="{7BBE8962-C021-42A3-AF3F-FEF112F40082}" type="presParOf" srcId="{8EA35E78-2FBA-4FFF-8579-DDACB2CAA758}" destId="{BA320AE8-5AD8-4AC8-8720-E5DB72B81083}" srcOrd="0" destOrd="0" presId="urn:microsoft.com/office/officeart/2009/3/layout/SubStepProcess"/>
    <dgm:cxn modelId="{D20546C2-FB72-4012-BF68-12DB9BD99622}" type="presParOf" srcId="{8EA35E78-2FBA-4FFF-8579-DDACB2CAA758}" destId="{202F409A-C4B5-45C2-8326-0A05499D50DD}" srcOrd="1" destOrd="0" presId="urn:microsoft.com/office/officeart/2009/3/layout/SubStepProcess"/>
    <dgm:cxn modelId="{AD37D361-AB20-4709-A075-7840637132ED}" type="presParOf" srcId="{8EA35E78-2FBA-4FFF-8579-DDACB2CAA758}" destId="{FCEC7500-FDD1-42D5-925D-E9D23EFF6EBD}" srcOrd="2" destOrd="0" presId="urn:microsoft.com/office/officeart/2009/3/layout/SubStepProcess"/>
    <dgm:cxn modelId="{87897C9D-0B43-475E-8F54-7B9E2C20728A}" type="presParOf" srcId="{8EA35E78-2FBA-4FFF-8579-DDACB2CAA758}" destId="{CD0A751C-052D-40EC-84F0-5A78F4850700}" srcOrd="3" destOrd="0" presId="urn:microsoft.com/office/officeart/2009/3/layout/SubSte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3FBE73AE-6709-45B2-9529-6DF989DAA08D}" type="doc">
      <dgm:prSet loTypeId="urn:microsoft.com/office/officeart/2005/8/layout/bList2" loCatId="list" qsTypeId="urn:microsoft.com/office/officeart/2005/8/quickstyle/simple1" qsCatId="simple" csTypeId="urn:microsoft.com/office/officeart/2005/8/colors/accent1_2" csCatId="accent1" phldr="1"/>
      <dgm:spPr/>
      <dgm:t>
        <a:bodyPr/>
        <a:lstStyle/>
        <a:p>
          <a:endParaRPr lang="zh-CN" altLang="en-US"/>
        </a:p>
      </dgm:t>
    </dgm:pt>
    <dgm:pt modelId="{30DA0421-DCFB-40D9-AC7F-FE2B3D35D860}">
      <dgm:prSet phldrT="[文本]"/>
      <dgm:spPr/>
      <dgm:t>
        <a:bodyPr/>
        <a:lstStyle/>
        <a:p>
          <a:r>
            <a:rPr lang="zh-CN" altLang="en-US" dirty="0" smtClean="0">
              <a:solidFill>
                <a:schemeClr val="tx1"/>
              </a:solidFill>
            </a:rPr>
            <a:t>入侵帐户</a:t>
          </a:r>
          <a:endParaRPr lang="zh-CN" altLang="en-US" dirty="0">
            <a:solidFill>
              <a:schemeClr val="tx1"/>
            </a:solidFill>
          </a:endParaRPr>
        </a:p>
      </dgm:t>
    </dgm:pt>
    <dgm:pt modelId="{6B1AEA68-D14C-4B8D-A779-15027B9E3F2C}" type="parTrans" cxnId="{EE25B1C0-FE86-4841-9E8E-1878CF1846E5}">
      <dgm:prSet/>
      <dgm:spPr/>
      <dgm:t>
        <a:bodyPr/>
        <a:lstStyle/>
        <a:p>
          <a:endParaRPr lang="zh-CN" altLang="en-US">
            <a:solidFill>
              <a:schemeClr val="tx1"/>
            </a:solidFill>
          </a:endParaRPr>
        </a:p>
      </dgm:t>
    </dgm:pt>
    <dgm:pt modelId="{5E8F8F17-1840-4ECB-93F4-D14B7BD752A2}" type="sibTrans" cxnId="{EE25B1C0-FE86-4841-9E8E-1878CF1846E5}">
      <dgm:prSet/>
      <dgm:spPr/>
      <dgm:t>
        <a:bodyPr/>
        <a:lstStyle/>
        <a:p>
          <a:endParaRPr lang="zh-CN" altLang="en-US">
            <a:solidFill>
              <a:schemeClr val="tx1"/>
            </a:solidFill>
          </a:endParaRPr>
        </a:p>
      </dgm:t>
    </dgm:pt>
    <dgm:pt modelId="{C407A102-8A62-491F-8F80-E0B315D5C17D}">
      <dgm:prSet phldrT="[文本]"/>
      <dgm:spPr/>
      <dgm:t>
        <a:bodyPr/>
        <a:lstStyle/>
        <a:p>
          <a:r>
            <a:rPr lang="zh-CN" altLang="en-US" dirty="0" smtClean="0">
              <a:solidFill>
                <a:schemeClr val="tx1"/>
              </a:solidFill>
            </a:rPr>
            <a:t>入侵工具</a:t>
          </a:r>
          <a:endParaRPr lang="zh-CN" altLang="en-US" dirty="0">
            <a:solidFill>
              <a:schemeClr val="tx1"/>
            </a:solidFill>
          </a:endParaRPr>
        </a:p>
      </dgm:t>
    </dgm:pt>
    <dgm:pt modelId="{3680D555-D014-467E-A53E-0ECE97FF7069}" type="parTrans" cxnId="{6D2200BD-4255-4356-AC09-0249D8190953}">
      <dgm:prSet/>
      <dgm:spPr/>
      <dgm:t>
        <a:bodyPr/>
        <a:lstStyle/>
        <a:p>
          <a:endParaRPr lang="zh-CN" altLang="en-US">
            <a:solidFill>
              <a:schemeClr val="tx1"/>
            </a:solidFill>
          </a:endParaRPr>
        </a:p>
      </dgm:t>
    </dgm:pt>
    <dgm:pt modelId="{A851EFA3-B9A1-4E02-BF5D-9094C8B8C7F6}" type="sibTrans" cxnId="{6D2200BD-4255-4356-AC09-0249D8190953}">
      <dgm:prSet/>
      <dgm:spPr/>
      <dgm:t>
        <a:bodyPr/>
        <a:lstStyle/>
        <a:p>
          <a:endParaRPr lang="zh-CN" altLang="en-US">
            <a:solidFill>
              <a:schemeClr val="tx1"/>
            </a:solidFill>
          </a:endParaRPr>
        </a:p>
      </dgm:t>
    </dgm:pt>
    <dgm:pt modelId="{4DF052D9-1A31-4B08-A231-B5D237EFF79B}">
      <dgm:prSet phldrT="[文本]"/>
      <dgm:spPr/>
      <dgm:t>
        <a:bodyPr/>
        <a:lstStyle/>
        <a:p>
          <a:r>
            <a:rPr lang="zh-CN" altLang="en-US" dirty="0" smtClean="0">
              <a:solidFill>
                <a:schemeClr val="tx1"/>
              </a:solidFill>
            </a:rPr>
            <a:t>扫描工具</a:t>
          </a:r>
          <a:endParaRPr lang="zh-CN" altLang="en-US" dirty="0">
            <a:solidFill>
              <a:schemeClr val="tx1"/>
            </a:solidFill>
          </a:endParaRPr>
        </a:p>
      </dgm:t>
    </dgm:pt>
    <dgm:pt modelId="{4D496B88-C3D9-4EA1-9F92-A26AD4A2120C}" type="parTrans" cxnId="{5F3F217F-7A5E-4C07-96B3-305E8B4419D1}">
      <dgm:prSet/>
      <dgm:spPr/>
      <dgm:t>
        <a:bodyPr/>
        <a:lstStyle/>
        <a:p>
          <a:endParaRPr lang="zh-CN" altLang="en-US">
            <a:solidFill>
              <a:schemeClr val="tx1"/>
            </a:solidFill>
          </a:endParaRPr>
        </a:p>
      </dgm:t>
    </dgm:pt>
    <dgm:pt modelId="{7A5AA366-3D2D-40DE-ACEC-51284199F958}" type="sibTrans" cxnId="{5F3F217F-7A5E-4C07-96B3-305E8B4419D1}">
      <dgm:prSet/>
      <dgm:spPr/>
      <dgm:t>
        <a:bodyPr/>
        <a:lstStyle/>
        <a:p>
          <a:endParaRPr lang="zh-CN" altLang="en-US">
            <a:solidFill>
              <a:schemeClr val="tx1"/>
            </a:solidFill>
          </a:endParaRPr>
        </a:p>
      </dgm:t>
    </dgm:pt>
    <dgm:pt modelId="{EE0EB7E1-93BD-4AC0-A868-2903B5DA4DD8}">
      <dgm:prSet phldrT="[文本]"/>
      <dgm:spPr/>
      <dgm:t>
        <a:bodyPr/>
        <a:lstStyle/>
        <a:p>
          <a:r>
            <a:rPr lang="zh-CN" altLang="en-US" dirty="0" smtClean="0">
              <a:solidFill>
                <a:schemeClr val="tx1"/>
              </a:solidFill>
            </a:rPr>
            <a:t>入侵脚本</a:t>
          </a:r>
          <a:endParaRPr lang="zh-CN" altLang="en-US" dirty="0">
            <a:solidFill>
              <a:schemeClr val="tx1"/>
            </a:solidFill>
          </a:endParaRPr>
        </a:p>
      </dgm:t>
    </dgm:pt>
    <dgm:pt modelId="{E0BFE2F1-C740-4376-A9D9-C6790D9D303A}" type="parTrans" cxnId="{80173348-35DA-4DCD-B29F-70AADAC2763B}">
      <dgm:prSet/>
      <dgm:spPr/>
      <dgm:t>
        <a:bodyPr/>
        <a:lstStyle/>
        <a:p>
          <a:endParaRPr lang="zh-CN" altLang="en-US">
            <a:solidFill>
              <a:schemeClr val="tx1"/>
            </a:solidFill>
          </a:endParaRPr>
        </a:p>
      </dgm:t>
    </dgm:pt>
    <dgm:pt modelId="{A7FEFAF9-76AB-4E47-83AE-D7A00295B72A}" type="sibTrans" cxnId="{80173348-35DA-4DCD-B29F-70AADAC2763B}">
      <dgm:prSet/>
      <dgm:spPr/>
      <dgm:t>
        <a:bodyPr/>
        <a:lstStyle/>
        <a:p>
          <a:endParaRPr lang="zh-CN" altLang="en-US">
            <a:solidFill>
              <a:schemeClr val="tx1"/>
            </a:solidFill>
          </a:endParaRPr>
        </a:p>
      </dgm:t>
    </dgm:pt>
    <dgm:pt modelId="{990C2E57-0F17-4E5A-97CB-97FCAF81D263}">
      <dgm:prSet phldrT="[文本]"/>
      <dgm:spPr/>
      <dgm:t>
        <a:bodyPr/>
        <a:lstStyle/>
        <a:p>
          <a:r>
            <a:rPr lang="zh-CN" altLang="en-US" dirty="0" smtClean="0">
              <a:solidFill>
                <a:schemeClr val="tx1"/>
              </a:solidFill>
            </a:rPr>
            <a:t>扫描脚本</a:t>
          </a:r>
          <a:endParaRPr lang="zh-CN" altLang="en-US" dirty="0">
            <a:solidFill>
              <a:schemeClr val="tx1"/>
            </a:solidFill>
          </a:endParaRPr>
        </a:p>
      </dgm:t>
    </dgm:pt>
    <dgm:pt modelId="{F136C798-389D-4411-BC12-CA0DF59837D9}" type="parTrans" cxnId="{F0C14A8D-A7D0-496D-A1E2-09AFBAFE5207}">
      <dgm:prSet/>
      <dgm:spPr/>
      <dgm:t>
        <a:bodyPr/>
        <a:lstStyle/>
        <a:p>
          <a:endParaRPr lang="zh-CN" altLang="en-US">
            <a:solidFill>
              <a:schemeClr val="tx1"/>
            </a:solidFill>
          </a:endParaRPr>
        </a:p>
      </dgm:t>
    </dgm:pt>
    <dgm:pt modelId="{F675334F-DE29-44A8-8F50-5F842F5AEDFB}" type="sibTrans" cxnId="{F0C14A8D-A7D0-496D-A1E2-09AFBAFE5207}">
      <dgm:prSet/>
      <dgm:spPr/>
      <dgm:t>
        <a:bodyPr/>
        <a:lstStyle/>
        <a:p>
          <a:endParaRPr lang="zh-CN" altLang="en-US">
            <a:solidFill>
              <a:schemeClr val="tx1"/>
            </a:solidFill>
          </a:endParaRPr>
        </a:p>
      </dgm:t>
    </dgm:pt>
    <dgm:pt modelId="{82EF3061-54B1-4B5D-95A5-4E072FF275B5}">
      <dgm:prSet phldrT="[文本]"/>
      <dgm:spPr/>
      <dgm:t>
        <a:bodyPr/>
        <a:lstStyle/>
        <a:p>
          <a:r>
            <a:rPr lang="zh-CN" altLang="en-US" dirty="0" smtClean="0">
              <a:solidFill>
                <a:schemeClr val="tx1"/>
              </a:solidFill>
            </a:rPr>
            <a:t>提权工具</a:t>
          </a:r>
          <a:endParaRPr lang="zh-CN" altLang="en-US" dirty="0">
            <a:solidFill>
              <a:schemeClr val="tx1"/>
            </a:solidFill>
          </a:endParaRPr>
        </a:p>
      </dgm:t>
    </dgm:pt>
    <dgm:pt modelId="{9BAC8E01-04CB-4BA6-900A-1140190AAD91}" type="parTrans" cxnId="{EC0FA56D-9F20-414A-A2B8-6E68F07F176B}">
      <dgm:prSet/>
      <dgm:spPr/>
      <dgm:t>
        <a:bodyPr/>
        <a:lstStyle/>
        <a:p>
          <a:endParaRPr lang="zh-CN" altLang="en-US">
            <a:solidFill>
              <a:schemeClr val="tx1"/>
            </a:solidFill>
          </a:endParaRPr>
        </a:p>
      </dgm:t>
    </dgm:pt>
    <dgm:pt modelId="{12D22232-6C3C-4907-B7D3-3207932224EF}" type="sibTrans" cxnId="{EC0FA56D-9F20-414A-A2B8-6E68F07F176B}">
      <dgm:prSet/>
      <dgm:spPr/>
      <dgm:t>
        <a:bodyPr/>
        <a:lstStyle/>
        <a:p>
          <a:endParaRPr lang="zh-CN" altLang="en-US">
            <a:solidFill>
              <a:schemeClr val="tx1"/>
            </a:solidFill>
          </a:endParaRPr>
        </a:p>
      </dgm:t>
    </dgm:pt>
    <dgm:pt modelId="{A52D3B46-C117-4FE9-97AD-F58B7631E393}">
      <dgm:prSet phldrT="[文本]"/>
      <dgm:spPr/>
      <dgm:t>
        <a:bodyPr/>
        <a:lstStyle/>
        <a:p>
          <a:r>
            <a:rPr lang="zh-CN" altLang="en-US" dirty="0" smtClean="0">
              <a:solidFill>
                <a:schemeClr val="tx1"/>
              </a:solidFill>
            </a:rPr>
            <a:t>隐藏帐户</a:t>
          </a:r>
          <a:endParaRPr lang="zh-CN" altLang="en-US" dirty="0">
            <a:solidFill>
              <a:schemeClr val="tx1"/>
            </a:solidFill>
          </a:endParaRPr>
        </a:p>
      </dgm:t>
    </dgm:pt>
    <dgm:pt modelId="{3536A35D-2503-46A4-BDDC-5A6EBCAAFC44}" type="parTrans" cxnId="{FC02C173-8676-4A8C-A555-1B215FB7622A}">
      <dgm:prSet/>
      <dgm:spPr/>
      <dgm:t>
        <a:bodyPr/>
        <a:lstStyle/>
        <a:p>
          <a:endParaRPr lang="zh-CN" altLang="en-US">
            <a:solidFill>
              <a:schemeClr val="tx1"/>
            </a:solidFill>
          </a:endParaRPr>
        </a:p>
      </dgm:t>
    </dgm:pt>
    <dgm:pt modelId="{1F4DAA5C-32E1-43B3-87D9-2C0F8F03329D}" type="sibTrans" cxnId="{FC02C173-8676-4A8C-A555-1B215FB7622A}">
      <dgm:prSet/>
      <dgm:spPr/>
      <dgm:t>
        <a:bodyPr/>
        <a:lstStyle/>
        <a:p>
          <a:endParaRPr lang="zh-CN" altLang="en-US">
            <a:solidFill>
              <a:schemeClr val="tx1"/>
            </a:solidFill>
          </a:endParaRPr>
        </a:p>
      </dgm:t>
    </dgm:pt>
    <dgm:pt modelId="{5CA51355-FF84-4937-B29A-0B9BF08E4C1B}">
      <dgm:prSet phldrT="[文本]"/>
      <dgm:spPr/>
      <dgm:t>
        <a:bodyPr/>
        <a:lstStyle/>
        <a:p>
          <a:r>
            <a:rPr lang="zh-CN" altLang="en-US" dirty="0" smtClean="0">
              <a:solidFill>
                <a:schemeClr val="tx1"/>
              </a:solidFill>
            </a:rPr>
            <a:t>破解脚本</a:t>
          </a:r>
          <a:endParaRPr lang="zh-CN" altLang="en-US" dirty="0">
            <a:solidFill>
              <a:schemeClr val="tx1"/>
            </a:solidFill>
          </a:endParaRPr>
        </a:p>
      </dgm:t>
    </dgm:pt>
    <dgm:pt modelId="{F6D978DA-7B2A-481B-8475-2AE2B6170EE2}" type="parTrans" cxnId="{214EEBFD-7AE7-440B-86F4-81805EF82EFC}">
      <dgm:prSet/>
      <dgm:spPr/>
      <dgm:t>
        <a:bodyPr/>
        <a:lstStyle/>
        <a:p>
          <a:endParaRPr lang="zh-CN" altLang="en-US">
            <a:solidFill>
              <a:schemeClr val="tx1"/>
            </a:solidFill>
          </a:endParaRPr>
        </a:p>
      </dgm:t>
    </dgm:pt>
    <dgm:pt modelId="{0E26D805-CDDF-4FEC-BFC1-B27A70B45266}" type="sibTrans" cxnId="{214EEBFD-7AE7-440B-86F4-81805EF82EFC}">
      <dgm:prSet/>
      <dgm:spPr/>
      <dgm:t>
        <a:bodyPr/>
        <a:lstStyle/>
        <a:p>
          <a:endParaRPr lang="zh-CN" altLang="en-US">
            <a:solidFill>
              <a:schemeClr val="tx1"/>
            </a:solidFill>
          </a:endParaRPr>
        </a:p>
      </dgm:t>
    </dgm:pt>
    <dgm:pt modelId="{75BD1684-9C5B-4FE8-8582-755621526FA9}">
      <dgm:prSet phldrT="[文本]"/>
      <dgm:spPr/>
      <dgm:t>
        <a:bodyPr/>
        <a:lstStyle/>
        <a:p>
          <a:r>
            <a:rPr lang="zh-CN" altLang="en-US" dirty="0" smtClean="0">
              <a:solidFill>
                <a:schemeClr val="tx1"/>
              </a:solidFill>
            </a:rPr>
            <a:t>破解工具</a:t>
          </a:r>
          <a:endParaRPr lang="en-US" altLang="zh-CN" dirty="0" smtClean="0">
            <a:solidFill>
              <a:schemeClr val="tx1"/>
            </a:solidFill>
          </a:endParaRPr>
        </a:p>
      </dgm:t>
    </dgm:pt>
    <dgm:pt modelId="{81222693-36E1-49A4-AC57-93A6303FD503}" type="parTrans" cxnId="{7F2310E6-298B-4F1D-845E-841842C24451}">
      <dgm:prSet/>
      <dgm:spPr/>
      <dgm:t>
        <a:bodyPr/>
        <a:lstStyle/>
        <a:p>
          <a:endParaRPr lang="zh-CN" altLang="en-US">
            <a:solidFill>
              <a:schemeClr val="tx1"/>
            </a:solidFill>
          </a:endParaRPr>
        </a:p>
      </dgm:t>
    </dgm:pt>
    <dgm:pt modelId="{01F21D5C-05AB-40E4-93EC-A9223773DDA3}" type="sibTrans" cxnId="{7F2310E6-298B-4F1D-845E-841842C24451}">
      <dgm:prSet/>
      <dgm:spPr/>
      <dgm:t>
        <a:bodyPr/>
        <a:lstStyle/>
        <a:p>
          <a:endParaRPr lang="zh-CN" altLang="en-US">
            <a:solidFill>
              <a:schemeClr val="tx1"/>
            </a:solidFill>
          </a:endParaRPr>
        </a:p>
      </dgm:t>
    </dgm:pt>
    <dgm:pt modelId="{E95E7F5A-2DBC-4BDC-A1F4-23A0B8468058}">
      <dgm:prSet phldrT="[文本]"/>
      <dgm:spPr/>
      <dgm:t>
        <a:bodyPr/>
        <a:lstStyle/>
        <a:p>
          <a:r>
            <a:rPr lang="zh-CN" altLang="en-US" dirty="0" smtClean="0">
              <a:solidFill>
                <a:schemeClr val="tx1"/>
              </a:solidFill>
            </a:rPr>
            <a:t>临时帐户</a:t>
          </a:r>
          <a:endParaRPr lang="zh-CN" altLang="en-US" dirty="0">
            <a:solidFill>
              <a:schemeClr val="tx1"/>
            </a:solidFill>
          </a:endParaRPr>
        </a:p>
      </dgm:t>
    </dgm:pt>
    <dgm:pt modelId="{2D14DE0E-CF46-448D-8F82-C9627A47172F}" type="parTrans" cxnId="{012C0BFE-75F1-43B2-AE2A-BDDF52DD8C58}">
      <dgm:prSet/>
      <dgm:spPr/>
      <dgm:t>
        <a:bodyPr/>
        <a:lstStyle/>
        <a:p>
          <a:endParaRPr lang="zh-CN" altLang="en-US">
            <a:solidFill>
              <a:schemeClr val="tx1"/>
            </a:solidFill>
          </a:endParaRPr>
        </a:p>
      </dgm:t>
    </dgm:pt>
    <dgm:pt modelId="{08FF5995-86B5-49FF-9CDC-C1507D244A72}" type="sibTrans" cxnId="{012C0BFE-75F1-43B2-AE2A-BDDF52DD8C58}">
      <dgm:prSet/>
      <dgm:spPr/>
      <dgm:t>
        <a:bodyPr/>
        <a:lstStyle/>
        <a:p>
          <a:endParaRPr lang="zh-CN" altLang="en-US">
            <a:solidFill>
              <a:schemeClr val="tx1"/>
            </a:solidFill>
          </a:endParaRPr>
        </a:p>
      </dgm:t>
    </dgm:pt>
    <dgm:pt modelId="{931603E1-9748-4326-8F1E-4862E74841D9}">
      <dgm:prSet phldrT="[文本]"/>
      <dgm:spPr/>
      <dgm:t>
        <a:bodyPr/>
        <a:lstStyle/>
        <a:p>
          <a:r>
            <a:rPr lang="zh-CN" altLang="en-US" dirty="0" smtClean="0">
              <a:solidFill>
                <a:schemeClr val="tx1"/>
              </a:solidFill>
            </a:rPr>
            <a:t>过程文件</a:t>
          </a:r>
          <a:endParaRPr lang="zh-CN" altLang="en-US" dirty="0">
            <a:solidFill>
              <a:schemeClr val="tx1"/>
            </a:solidFill>
          </a:endParaRPr>
        </a:p>
      </dgm:t>
    </dgm:pt>
    <dgm:pt modelId="{B77C6FE1-CB03-40AA-95FF-394724BE6420}" type="parTrans" cxnId="{B2E65D49-BB25-49C6-A184-C380660E1228}">
      <dgm:prSet/>
      <dgm:spPr/>
      <dgm:t>
        <a:bodyPr/>
        <a:lstStyle/>
        <a:p>
          <a:endParaRPr lang="zh-CN" altLang="en-US">
            <a:solidFill>
              <a:schemeClr val="tx1"/>
            </a:solidFill>
          </a:endParaRPr>
        </a:p>
      </dgm:t>
    </dgm:pt>
    <dgm:pt modelId="{F30E6B76-27A8-41A7-8A64-4116CA7DA894}" type="sibTrans" cxnId="{B2E65D49-BB25-49C6-A184-C380660E1228}">
      <dgm:prSet/>
      <dgm:spPr/>
      <dgm:t>
        <a:bodyPr/>
        <a:lstStyle/>
        <a:p>
          <a:endParaRPr lang="zh-CN" altLang="en-US">
            <a:solidFill>
              <a:schemeClr val="tx1"/>
            </a:solidFill>
          </a:endParaRPr>
        </a:p>
      </dgm:t>
    </dgm:pt>
    <dgm:pt modelId="{4CC2AFB0-D4DC-41AB-9332-4D42F9A183EA}" type="pres">
      <dgm:prSet presAssocID="{3FBE73AE-6709-45B2-9529-6DF989DAA08D}" presName="diagram" presStyleCnt="0">
        <dgm:presLayoutVars>
          <dgm:dir/>
          <dgm:animLvl val="lvl"/>
          <dgm:resizeHandles val="exact"/>
        </dgm:presLayoutVars>
      </dgm:prSet>
      <dgm:spPr/>
      <dgm:t>
        <a:bodyPr/>
        <a:lstStyle/>
        <a:p>
          <a:endParaRPr lang="zh-CN" altLang="en-US"/>
        </a:p>
      </dgm:t>
    </dgm:pt>
    <dgm:pt modelId="{478D27BD-D7E7-4104-9900-643EBFCB4F63}" type="pres">
      <dgm:prSet presAssocID="{30DA0421-DCFB-40D9-AC7F-FE2B3D35D860}" presName="compNode" presStyleCnt="0"/>
      <dgm:spPr/>
    </dgm:pt>
    <dgm:pt modelId="{0FC07A94-C4B5-457E-94C5-6E9C278ED640}" type="pres">
      <dgm:prSet presAssocID="{30DA0421-DCFB-40D9-AC7F-FE2B3D35D860}" presName="childRect" presStyleLbl="bgAcc1" presStyleIdx="0" presStyleCnt="3">
        <dgm:presLayoutVars>
          <dgm:bulletEnabled val="1"/>
        </dgm:presLayoutVars>
      </dgm:prSet>
      <dgm:spPr/>
      <dgm:t>
        <a:bodyPr/>
        <a:lstStyle/>
        <a:p>
          <a:endParaRPr lang="zh-CN" altLang="en-US"/>
        </a:p>
      </dgm:t>
    </dgm:pt>
    <dgm:pt modelId="{3B48B873-580A-4684-9E48-D6F1ACD0F45C}" type="pres">
      <dgm:prSet presAssocID="{30DA0421-DCFB-40D9-AC7F-FE2B3D35D860}" presName="parentText" presStyleLbl="node1" presStyleIdx="0" presStyleCnt="0">
        <dgm:presLayoutVars>
          <dgm:chMax val="0"/>
          <dgm:bulletEnabled val="1"/>
        </dgm:presLayoutVars>
      </dgm:prSet>
      <dgm:spPr/>
      <dgm:t>
        <a:bodyPr/>
        <a:lstStyle/>
        <a:p>
          <a:endParaRPr lang="zh-CN" altLang="en-US"/>
        </a:p>
      </dgm:t>
    </dgm:pt>
    <dgm:pt modelId="{AAF8B25E-DDC7-451B-8CB3-8CB0414F2BC8}" type="pres">
      <dgm:prSet presAssocID="{30DA0421-DCFB-40D9-AC7F-FE2B3D35D860}" presName="parentRect" presStyleLbl="alignNode1" presStyleIdx="0" presStyleCnt="3"/>
      <dgm:spPr/>
      <dgm:t>
        <a:bodyPr/>
        <a:lstStyle/>
        <a:p>
          <a:endParaRPr lang="zh-CN" altLang="en-US"/>
        </a:p>
      </dgm:t>
    </dgm:pt>
    <dgm:pt modelId="{11F3FBA5-DCF9-49C0-A6E4-EC12B9FAB2AD}" type="pres">
      <dgm:prSet presAssocID="{30DA0421-DCFB-40D9-AC7F-FE2B3D35D860}" presName="adorn" presStyleLbl="fgAccFollowNode1" presStyleIdx="0" presStyleCnt="3"/>
      <dgm:spPr/>
    </dgm:pt>
    <dgm:pt modelId="{5150BA17-2B26-412B-A766-E3CD08D943E5}" type="pres">
      <dgm:prSet presAssocID="{5E8F8F17-1840-4ECB-93F4-D14B7BD752A2}" presName="sibTrans" presStyleLbl="sibTrans2D1" presStyleIdx="0" presStyleCnt="0"/>
      <dgm:spPr/>
      <dgm:t>
        <a:bodyPr/>
        <a:lstStyle/>
        <a:p>
          <a:endParaRPr lang="zh-CN" altLang="en-US"/>
        </a:p>
      </dgm:t>
    </dgm:pt>
    <dgm:pt modelId="{7BF94167-ADF8-4025-8F61-F6363E43E045}" type="pres">
      <dgm:prSet presAssocID="{C407A102-8A62-491F-8F80-E0B315D5C17D}" presName="compNode" presStyleCnt="0"/>
      <dgm:spPr/>
    </dgm:pt>
    <dgm:pt modelId="{3F0F0EE4-5391-4C81-9247-00E04BA14AC6}" type="pres">
      <dgm:prSet presAssocID="{C407A102-8A62-491F-8F80-E0B315D5C17D}" presName="childRect" presStyleLbl="bgAcc1" presStyleIdx="1" presStyleCnt="3">
        <dgm:presLayoutVars>
          <dgm:bulletEnabled val="1"/>
        </dgm:presLayoutVars>
      </dgm:prSet>
      <dgm:spPr/>
      <dgm:t>
        <a:bodyPr/>
        <a:lstStyle/>
        <a:p>
          <a:endParaRPr lang="zh-CN" altLang="en-US"/>
        </a:p>
      </dgm:t>
    </dgm:pt>
    <dgm:pt modelId="{60126757-BBCB-42A0-A729-D1107F447414}" type="pres">
      <dgm:prSet presAssocID="{C407A102-8A62-491F-8F80-E0B315D5C17D}" presName="parentText" presStyleLbl="node1" presStyleIdx="0" presStyleCnt="0">
        <dgm:presLayoutVars>
          <dgm:chMax val="0"/>
          <dgm:bulletEnabled val="1"/>
        </dgm:presLayoutVars>
      </dgm:prSet>
      <dgm:spPr/>
      <dgm:t>
        <a:bodyPr/>
        <a:lstStyle/>
        <a:p>
          <a:endParaRPr lang="zh-CN" altLang="en-US"/>
        </a:p>
      </dgm:t>
    </dgm:pt>
    <dgm:pt modelId="{2D7CD8F4-E1A9-4522-B753-FF50B0A6D470}" type="pres">
      <dgm:prSet presAssocID="{C407A102-8A62-491F-8F80-E0B315D5C17D}" presName="parentRect" presStyleLbl="alignNode1" presStyleIdx="1" presStyleCnt="3"/>
      <dgm:spPr/>
      <dgm:t>
        <a:bodyPr/>
        <a:lstStyle/>
        <a:p>
          <a:endParaRPr lang="zh-CN" altLang="en-US"/>
        </a:p>
      </dgm:t>
    </dgm:pt>
    <dgm:pt modelId="{3CB6FA45-E002-4238-8AE4-AB1CF76F1BD9}" type="pres">
      <dgm:prSet presAssocID="{C407A102-8A62-491F-8F80-E0B315D5C17D}" presName="adorn" presStyleLbl="fgAccFollowNode1" presStyleIdx="1" presStyleCnt="3"/>
      <dgm:spPr/>
    </dgm:pt>
    <dgm:pt modelId="{BA299E80-2BC1-4720-9A35-2992E2E85E10}" type="pres">
      <dgm:prSet presAssocID="{A851EFA3-B9A1-4E02-BF5D-9094C8B8C7F6}" presName="sibTrans" presStyleLbl="sibTrans2D1" presStyleIdx="0" presStyleCnt="0"/>
      <dgm:spPr/>
      <dgm:t>
        <a:bodyPr/>
        <a:lstStyle/>
        <a:p>
          <a:endParaRPr lang="zh-CN" altLang="en-US"/>
        </a:p>
      </dgm:t>
    </dgm:pt>
    <dgm:pt modelId="{D1678578-244C-48F8-AA06-7D2B75C58950}" type="pres">
      <dgm:prSet presAssocID="{EE0EB7E1-93BD-4AC0-A868-2903B5DA4DD8}" presName="compNode" presStyleCnt="0"/>
      <dgm:spPr/>
    </dgm:pt>
    <dgm:pt modelId="{2AF6B6DA-1211-4A63-8689-08A4890CDEE4}" type="pres">
      <dgm:prSet presAssocID="{EE0EB7E1-93BD-4AC0-A868-2903B5DA4DD8}" presName="childRect" presStyleLbl="bgAcc1" presStyleIdx="2" presStyleCnt="3">
        <dgm:presLayoutVars>
          <dgm:bulletEnabled val="1"/>
        </dgm:presLayoutVars>
      </dgm:prSet>
      <dgm:spPr/>
      <dgm:t>
        <a:bodyPr/>
        <a:lstStyle/>
        <a:p>
          <a:endParaRPr lang="zh-CN" altLang="en-US"/>
        </a:p>
      </dgm:t>
    </dgm:pt>
    <dgm:pt modelId="{095B4741-7D37-49E0-BDDC-79573FAB06A1}" type="pres">
      <dgm:prSet presAssocID="{EE0EB7E1-93BD-4AC0-A868-2903B5DA4DD8}" presName="parentText" presStyleLbl="node1" presStyleIdx="0" presStyleCnt="0">
        <dgm:presLayoutVars>
          <dgm:chMax val="0"/>
          <dgm:bulletEnabled val="1"/>
        </dgm:presLayoutVars>
      </dgm:prSet>
      <dgm:spPr/>
      <dgm:t>
        <a:bodyPr/>
        <a:lstStyle/>
        <a:p>
          <a:endParaRPr lang="zh-CN" altLang="en-US"/>
        </a:p>
      </dgm:t>
    </dgm:pt>
    <dgm:pt modelId="{14DFF2C3-2C5E-47D4-AA7C-2F8C10EC36E3}" type="pres">
      <dgm:prSet presAssocID="{EE0EB7E1-93BD-4AC0-A868-2903B5DA4DD8}" presName="parentRect" presStyleLbl="alignNode1" presStyleIdx="2" presStyleCnt="3"/>
      <dgm:spPr/>
      <dgm:t>
        <a:bodyPr/>
        <a:lstStyle/>
        <a:p>
          <a:endParaRPr lang="zh-CN" altLang="en-US"/>
        </a:p>
      </dgm:t>
    </dgm:pt>
    <dgm:pt modelId="{E1B2609B-1622-4EDE-888B-A2A98D516D2A}" type="pres">
      <dgm:prSet presAssocID="{EE0EB7E1-93BD-4AC0-A868-2903B5DA4DD8}" presName="adorn" presStyleLbl="fgAccFollowNode1" presStyleIdx="2" presStyleCnt="3"/>
      <dgm:spPr/>
    </dgm:pt>
  </dgm:ptLst>
  <dgm:cxnLst>
    <dgm:cxn modelId="{0017649B-FC00-4696-BD88-1A629C049750}" type="presOf" srcId="{C407A102-8A62-491F-8F80-E0B315D5C17D}" destId="{60126757-BBCB-42A0-A729-D1107F447414}" srcOrd="0" destOrd="0" presId="urn:microsoft.com/office/officeart/2005/8/layout/bList2"/>
    <dgm:cxn modelId="{E7AD1BEE-CE8B-4F60-99C8-AC002071CDA1}" type="presOf" srcId="{30DA0421-DCFB-40D9-AC7F-FE2B3D35D860}" destId="{AAF8B25E-DDC7-451B-8CB3-8CB0414F2BC8}" srcOrd="1" destOrd="0" presId="urn:microsoft.com/office/officeart/2005/8/layout/bList2"/>
    <dgm:cxn modelId="{1BFE8072-6ECC-47DF-A207-DF6E65241110}" type="presOf" srcId="{4DF052D9-1A31-4B08-A231-B5D237EFF79B}" destId="{3F0F0EE4-5391-4C81-9247-00E04BA14AC6}" srcOrd="0" destOrd="0" presId="urn:microsoft.com/office/officeart/2005/8/layout/bList2"/>
    <dgm:cxn modelId="{AAF4A090-0027-4FD9-893B-6B980CB7EA11}" type="presOf" srcId="{A851EFA3-B9A1-4E02-BF5D-9094C8B8C7F6}" destId="{BA299E80-2BC1-4720-9A35-2992E2E85E10}" srcOrd="0" destOrd="0" presId="urn:microsoft.com/office/officeart/2005/8/layout/bList2"/>
    <dgm:cxn modelId="{647B6D31-04D2-4FAD-9B5D-95C78E8CC02C}" type="presOf" srcId="{A52D3B46-C117-4FE9-97AD-F58B7631E393}" destId="{0FC07A94-C4B5-457E-94C5-6E9C278ED640}" srcOrd="0" destOrd="1" presId="urn:microsoft.com/office/officeart/2005/8/layout/bList2"/>
    <dgm:cxn modelId="{7F2310E6-298B-4F1D-845E-841842C24451}" srcId="{C407A102-8A62-491F-8F80-E0B315D5C17D}" destId="{75BD1684-9C5B-4FE8-8582-755621526FA9}" srcOrd="1" destOrd="0" parTransId="{81222693-36E1-49A4-AC57-93A6303FD503}" sibTransId="{01F21D5C-05AB-40E4-93EC-A9223773DDA3}"/>
    <dgm:cxn modelId="{6BC23E8B-4AFB-44FE-A651-B19CAFE0781A}" type="presOf" srcId="{EE0EB7E1-93BD-4AC0-A868-2903B5DA4DD8}" destId="{095B4741-7D37-49E0-BDDC-79573FAB06A1}" srcOrd="0" destOrd="0" presId="urn:microsoft.com/office/officeart/2005/8/layout/bList2"/>
    <dgm:cxn modelId="{D3EB7E24-799A-4ACE-8416-1D5FD9D3FA64}" type="presOf" srcId="{5E8F8F17-1840-4ECB-93F4-D14B7BD752A2}" destId="{5150BA17-2B26-412B-A766-E3CD08D943E5}" srcOrd="0" destOrd="0" presId="urn:microsoft.com/office/officeart/2005/8/layout/bList2"/>
    <dgm:cxn modelId="{43F2C8AE-5068-40F2-9C6E-F25BCDB89D55}" type="presOf" srcId="{931603E1-9748-4326-8F1E-4862E74841D9}" destId="{2AF6B6DA-1211-4A63-8689-08A4890CDEE4}" srcOrd="0" destOrd="2" presId="urn:microsoft.com/office/officeart/2005/8/layout/bList2"/>
    <dgm:cxn modelId="{F64FD7FB-D14D-4911-A5D4-67AF5B54912A}" type="presOf" srcId="{5CA51355-FF84-4937-B29A-0B9BF08E4C1B}" destId="{2AF6B6DA-1211-4A63-8689-08A4890CDEE4}" srcOrd="0" destOrd="1" presId="urn:microsoft.com/office/officeart/2005/8/layout/bList2"/>
    <dgm:cxn modelId="{214EEBFD-7AE7-440B-86F4-81805EF82EFC}" srcId="{EE0EB7E1-93BD-4AC0-A868-2903B5DA4DD8}" destId="{5CA51355-FF84-4937-B29A-0B9BF08E4C1B}" srcOrd="1" destOrd="0" parTransId="{F6D978DA-7B2A-481B-8475-2AE2B6170EE2}" sibTransId="{0E26D805-CDDF-4FEC-BFC1-B27A70B45266}"/>
    <dgm:cxn modelId="{FC02C173-8676-4A8C-A555-1B215FB7622A}" srcId="{30DA0421-DCFB-40D9-AC7F-FE2B3D35D860}" destId="{A52D3B46-C117-4FE9-97AD-F58B7631E393}" srcOrd="1" destOrd="0" parTransId="{3536A35D-2503-46A4-BDDC-5A6EBCAAFC44}" sibTransId="{1F4DAA5C-32E1-43B3-87D9-2C0F8F03329D}"/>
    <dgm:cxn modelId="{A30B8C1B-1D67-46A5-9D51-6D793D8E0174}" type="presOf" srcId="{82EF3061-54B1-4B5D-95A5-4E072FF275B5}" destId="{3F0F0EE4-5391-4C81-9247-00E04BA14AC6}" srcOrd="0" destOrd="2" presId="urn:microsoft.com/office/officeart/2005/8/layout/bList2"/>
    <dgm:cxn modelId="{6D2200BD-4255-4356-AC09-0249D8190953}" srcId="{3FBE73AE-6709-45B2-9529-6DF989DAA08D}" destId="{C407A102-8A62-491F-8F80-E0B315D5C17D}" srcOrd="1" destOrd="0" parTransId="{3680D555-D014-467E-A53E-0ECE97FF7069}" sibTransId="{A851EFA3-B9A1-4E02-BF5D-9094C8B8C7F6}"/>
    <dgm:cxn modelId="{48DC0712-629D-4058-8776-E01620B39F96}" type="presOf" srcId="{990C2E57-0F17-4E5A-97CB-97FCAF81D263}" destId="{2AF6B6DA-1211-4A63-8689-08A4890CDEE4}" srcOrd="0" destOrd="0" presId="urn:microsoft.com/office/officeart/2005/8/layout/bList2"/>
    <dgm:cxn modelId="{ADA5A977-EDBF-408C-8608-FCAA98459DBE}" type="presOf" srcId="{3FBE73AE-6709-45B2-9529-6DF989DAA08D}" destId="{4CC2AFB0-D4DC-41AB-9332-4D42F9A183EA}" srcOrd="0" destOrd="0" presId="urn:microsoft.com/office/officeart/2005/8/layout/bList2"/>
    <dgm:cxn modelId="{80173348-35DA-4DCD-B29F-70AADAC2763B}" srcId="{3FBE73AE-6709-45B2-9529-6DF989DAA08D}" destId="{EE0EB7E1-93BD-4AC0-A868-2903B5DA4DD8}" srcOrd="2" destOrd="0" parTransId="{E0BFE2F1-C740-4376-A9D9-C6790D9D303A}" sibTransId="{A7FEFAF9-76AB-4E47-83AE-D7A00295B72A}"/>
    <dgm:cxn modelId="{5F3F217F-7A5E-4C07-96B3-305E8B4419D1}" srcId="{C407A102-8A62-491F-8F80-E0B315D5C17D}" destId="{4DF052D9-1A31-4B08-A231-B5D237EFF79B}" srcOrd="0" destOrd="0" parTransId="{4D496B88-C3D9-4EA1-9F92-A26AD4A2120C}" sibTransId="{7A5AA366-3D2D-40DE-ACEC-51284199F958}"/>
    <dgm:cxn modelId="{BA789C87-FE53-4196-BDA7-01DE364B961A}" type="presOf" srcId="{C407A102-8A62-491F-8F80-E0B315D5C17D}" destId="{2D7CD8F4-E1A9-4522-B753-FF50B0A6D470}" srcOrd="1" destOrd="0" presId="urn:microsoft.com/office/officeart/2005/8/layout/bList2"/>
    <dgm:cxn modelId="{046B23EB-1C52-4A93-91C6-5E6B5D9448FE}" type="presOf" srcId="{30DA0421-DCFB-40D9-AC7F-FE2B3D35D860}" destId="{3B48B873-580A-4684-9E48-D6F1ACD0F45C}" srcOrd="0" destOrd="0" presId="urn:microsoft.com/office/officeart/2005/8/layout/bList2"/>
    <dgm:cxn modelId="{0ADB6523-FDC3-4B83-8A3A-249D149B2EC7}" type="presOf" srcId="{75BD1684-9C5B-4FE8-8582-755621526FA9}" destId="{3F0F0EE4-5391-4C81-9247-00E04BA14AC6}" srcOrd="0" destOrd="1" presId="urn:microsoft.com/office/officeart/2005/8/layout/bList2"/>
    <dgm:cxn modelId="{012C0BFE-75F1-43B2-AE2A-BDDF52DD8C58}" srcId="{30DA0421-DCFB-40D9-AC7F-FE2B3D35D860}" destId="{E95E7F5A-2DBC-4BDC-A1F4-23A0B8468058}" srcOrd="0" destOrd="0" parTransId="{2D14DE0E-CF46-448D-8F82-C9627A47172F}" sibTransId="{08FF5995-86B5-49FF-9CDC-C1507D244A72}"/>
    <dgm:cxn modelId="{9CE8AC45-935D-4206-9E90-A024CE1E646B}" type="presOf" srcId="{EE0EB7E1-93BD-4AC0-A868-2903B5DA4DD8}" destId="{14DFF2C3-2C5E-47D4-AA7C-2F8C10EC36E3}" srcOrd="1" destOrd="0" presId="urn:microsoft.com/office/officeart/2005/8/layout/bList2"/>
    <dgm:cxn modelId="{B2E65D49-BB25-49C6-A184-C380660E1228}" srcId="{EE0EB7E1-93BD-4AC0-A868-2903B5DA4DD8}" destId="{931603E1-9748-4326-8F1E-4862E74841D9}" srcOrd="2" destOrd="0" parTransId="{B77C6FE1-CB03-40AA-95FF-394724BE6420}" sibTransId="{F30E6B76-27A8-41A7-8A64-4116CA7DA894}"/>
    <dgm:cxn modelId="{239A659B-F1DE-4388-8F72-2F43DEEDD3A8}" type="presOf" srcId="{E95E7F5A-2DBC-4BDC-A1F4-23A0B8468058}" destId="{0FC07A94-C4B5-457E-94C5-6E9C278ED640}" srcOrd="0" destOrd="0" presId="urn:microsoft.com/office/officeart/2005/8/layout/bList2"/>
    <dgm:cxn modelId="{EC0FA56D-9F20-414A-A2B8-6E68F07F176B}" srcId="{C407A102-8A62-491F-8F80-E0B315D5C17D}" destId="{82EF3061-54B1-4B5D-95A5-4E072FF275B5}" srcOrd="2" destOrd="0" parTransId="{9BAC8E01-04CB-4BA6-900A-1140190AAD91}" sibTransId="{12D22232-6C3C-4907-B7D3-3207932224EF}"/>
    <dgm:cxn modelId="{EE25B1C0-FE86-4841-9E8E-1878CF1846E5}" srcId="{3FBE73AE-6709-45B2-9529-6DF989DAA08D}" destId="{30DA0421-DCFB-40D9-AC7F-FE2B3D35D860}" srcOrd="0" destOrd="0" parTransId="{6B1AEA68-D14C-4B8D-A779-15027B9E3F2C}" sibTransId="{5E8F8F17-1840-4ECB-93F4-D14B7BD752A2}"/>
    <dgm:cxn modelId="{F0C14A8D-A7D0-496D-A1E2-09AFBAFE5207}" srcId="{EE0EB7E1-93BD-4AC0-A868-2903B5DA4DD8}" destId="{990C2E57-0F17-4E5A-97CB-97FCAF81D263}" srcOrd="0" destOrd="0" parTransId="{F136C798-389D-4411-BC12-CA0DF59837D9}" sibTransId="{F675334F-DE29-44A8-8F50-5F842F5AEDFB}"/>
    <dgm:cxn modelId="{D2C99896-4317-4525-8DB8-02DFD251110D}" type="presParOf" srcId="{4CC2AFB0-D4DC-41AB-9332-4D42F9A183EA}" destId="{478D27BD-D7E7-4104-9900-643EBFCB4F63}" srcOrd="0" destOrd="0" presId="urn:microsoft.com/office/officeart/2005/8/layout/bList2"/>
    <dgm:cxn modelId="{B85D637D-A283-4B4A-A073-36625F396A2F}" type="presParOf" srcId="{478D27BD-D7E7-4104-9900-643EBFCB4F63}" destId="{0FC07A94-C4B5-457E-94C5-6E9C278ED640}" srcOrd="0" destOrd="0" presId="urn:microsoft.com/office/officeart/2005/8/layout/bList2"/>
    <dgm:cxn modelId="{FA5148EB-0E0A-45D6-BEA2-9245AED43B64}" type="presParOf" srcId="{478D27BD-D7E7-4104-9900-643EBFCB4F63}" destId="{3B48B873-580A-4684-9E48-D6F1ACD0F45C}" srcOrd="1" destOrd="0" presId="urn:microsoft.com/office/officeart/2005/8/layout/bList2"/>
    <dgm:cxn modelId="{BBDEF6AA-47F4-4C4F-89DC-A7B8285F241F}" type="presParOf" srcId="{478D27BD-D7E7-4104-9900-643EBFCB4F63}" destId="{AAF8B25E-DDC7-451B-8CB3-8CB0414F2BC8}" srcOrd="2" destOrd="0" presId="urn:microsoft.com/office/officeart/2005/8/layout/bList2"/>
    <dgm:cxn modelId="{5FEA83F3-7574-45D1-ADC1-9CA8096804BC}" type="presParOf" srcId="{478D27BD-D7E7-4104-9900-643EBFCB4F63}" destId="{11F3FBA5-DCF9-49C0-A6E4-EC12B9FAB2AD}" srcOrd="3" destOrd="0" presId="urn:microsoft.com/office/officeart/2005/8/layout/bList2"/>
    <dgm:cxn modelId="{69FD1CAC-7332-40E5-BDAC-5D29978F34D8}" type="presParOf" srcId="{4CC2AFB0-D4DC-41AB-9332-4D42F9A183EA}" destId="{5150BA17-2B26-412B-A766-E3CD08D943E5}" srcOrd="1" destOrd="0" presId="urn:microsoft.com/office/officeart/2005/8/layout/bList2"/>
    <dgm:cxn modelId="{22E22B4E-FEF8-4CFA-A835-34191352D071}" type="presParOf" srcId="{4CC2AFB0-D4DC-41AB-9332-4D42F9A183EA}" destId="{7BF94167-ADF8-4025-8F61-F6363E43E045}" srcOrd="2" destOrd="0" presId="urn:microsoft.com/office/officeart/2005/8/layout/bList2"/>
    <dgm:cxn modelId="{E4A93930-46B3-4911-A594-AD1FEBC97F5E}" type="presParOf" srcId="{7BF94167-ADF8-4025-8F61-F6363E43E045}" destId="{3F0F0EE4-5391-4C81-9247-00E04BA14AC6}" srcOrd="0" destOrd="0" presId="urn:microsoft.com/office/officeart/2005/8/layout/bList2"/>
    <dgm:cxn modelId="{D75AB835-BC94-4B76-A35D-4F9992ADE7FF}" type="presParOf" srcId="{7BF94167-ADF8-4025-8F61-F6363E43E045}" destId="{60126757-BBCB-42A0-A729-D1107F447414}" srcOrd="1" destOrd="0" presId="urn:microsoft.com/office/officeart/2005/8/layout/bList2"/>
    <dgm:cxn modelId="{48F0DE09-4208-44FC-AE8B-E1A36B505B3C}" type="presParOf" srcId="{7BF94167-ADF8-4025-8F61-F6363E43E045}" destId="{2D7CD8F4-E1A9-4522-B753-FF50B0A6D470}" srcOrd="2" destOrd="0" presId="urn:microsoft.com/office/officeart/2005/8/layout/bList2"/>
    <dgm:cxn modelId="{8FF53AB8-E182-463F-A4F6-81C2182A71A9}" type="presParOf" srcId="{7BF94167-ADF8-4025-8F61-F6363E43E045}" destId="{3CB6FA45-E002-4238-8AE4-AB1CF76F1BD9}" srcOrd="3" destOrd="0" presId="urn:microsoft.com/office/officeart/2005/8/layout/bList2"/>
    <dgm:cxn modelId="{C7DC8A13-AA7B-406B-9345-BB9B48C341FC}" type="presParOf" srcId="{4CC2AFB0-D4DC-41AB-9332-4D42F9A183EA}" destId="{BA299E80-2BC1-4720-9A35-2992E2E85E10}" srcOrd="3" destOrd="0" presId="urn:microsoft.com/office/officeart/2005/8/layout/bList2"/>
    <dgm:cxn modelId="{D102783F-FB15-4D6F-A36D-1CDEF5681CBD}" type="presParOf" srcId="{4CC2AFB0-D4DC-41AB-9332-4D42F9A183EA}" destId="{D1678578-244C-48F8-AA06-7D2B75C58950}" srcOrd="4" destOrd="0" presId="urn:microsoft.com/office/officeart/2005/8/layout/bList2"/>
    <dgm:cxn modelId="{06D25CCF-BB91-41FD-A875-2D155AACF671}" type="presParOf" srcId="{D1678578-244C-48F8-AA06-7D2B75C58950}" destId="{2AF6B6DA-1211-4A63-8689-08A4890CDEE4}" srcOrd="0" destOrd="0" presId="urn:microsoft.com/office/officeart/2005/8/layout/bList2"/>
    <dgm:cxn modelId="{2E2D5A32-CB53-4519-8CBF-634A04B0058D}" type="presParOf" srcId="{D1678578-244C-48F8-AA06-7D2B75C58950}" destId="{095B4741-7D37-49E0-BDDC-79573FAB06A1}" srcOrd="1" destOrd="0" presId="urn:microsoft.com/office/officeart/2005/8/layout/bList2"/>
    <dgm:cxn modelId="{8F6783D5-78D4-480A-8243-9B708EEECA64}" type="presParOf" srcId="{D1678578-244C-48F8-AA06-7D2B75C58950}" destId="{14DFF2C3-2C5E-47D4-AA7C-2F8C10EC36E3}" srcOrd="2" destOrd="0" presId="urn:microsoft.com/office/officeart/2005/8/layout/bList2"/>
    <dgm:cxn modelId="{093B3645-7506-4B5D-A37E-0BBAC8E36BD2}" type="presParOf" srcId="{D1678578-244C-48F8-AA06-7D2B75C58950}" destId="{E1B2609B-1622-4EDE-888B-A2A98D516D2A}"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C694771C-2196-4F49-A1B8-A605B991C28E}"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zh-CN" altLang="en-US"/>
        </a:p>
      </dgm:t>
    </dgm:pt>
    <dgm:pt modelId="{BD3CEE8D-0971-4DF4-9007-FDF873406208}">
      <dgm:prSet phldrT="[文本]"/>
      <dgm:spPr/>
      <dgm:t>
        <a:bodyPr/>
        <a:lstStyle/>
        <a:p>
          <a:r>
            <a:rPr lang="zh-CN" altLang="en-US" dirty="0" smtClean="0">
              <a:solidFill>
                <a:schemeClr val="tx1"/>
              </a:solidFill>
            </a:rPr>
            <a:t>渗透测试平台</a:t>
          </a:r>
          <a:endParaRPr lang="zh-CN" altLang="en-US" dirty="0">
            <a:solidFill>
              <a:schemeClr val="tx1"/>
            </a:solidFill>
          </a:endParaRPr>
        </a:p>
      </dgm:t>
    </dgm:pt>
    <dgm:pt modelId="{0CA264EB-6ABD-48BC-B64D-4DFC04BE355B}" type="parTrans" cxnId="{877F83C1-59C3-4D2C-9177-9B231156903D}">
      <dgm:prSet/>
      <dgm:spPr/>
      <dgm:t>
        <a:bodyPr/>
        <a:lstStyle/>
        <a:p>
          <a:endParaRPr lang="zh-CN" altLang="en-US">
            <a:solidFill>
              <a:schemeClr val="tx1"/>
            </a:solidFill>
          </a:endParaRPr>
        </a:p>
      </dgm:t>
    </dgm:pt>
    <dgm:pt modelId="{A193620C-1466-4A2F-9D06-D732CE8685DB}" type="sibTrans" cxnId="{877F83C1-59C3-4D2C-9177-9B231156903D}">
      <dgm:prSet/>
      <dgm:spPr/>
      <dgm:t>
        <a:bodyPr/>
        <a:lstStyle/>
        <a:p>
          <a:endParaRPr lang="zh-CN" altLang="en-US">
            <a:solidFill>
              <a:schemeClr val="tx1"/>
            </a:solidFill>
          </a:endParaRPr>
        </a:p>
      </dgm:t>
    </dgm:pt>
    <dgm:pt modelId="{F4F56925-6218-451A-901A-14296850C14C}">
      <dgm:prSet/>
      <dgm:spPr/>
      <dgm:t>
        <a:bodyPr/>
        <a:lstStyle/>
        <a:p>
          <a:r>
            <a:rPr lang="zh-CN" altLang="en-US" smtClean="0">
              <a:solidFill>
                <a:schemeClr val="tx1"/>
              </a:solidFill>
            </a:rPr>
            <a:t>注入工具</a:t>
          </a:r>
          <a:endParaRPr lang="en-US" altLang="zh-CN" dirty="0" smtClean="0">
            <a:solidFill>
              <a:schemeClr val="tx1"/>
            </a:solidFill>
          </a:endParaRPr>
        </a:p>
      </dgm:t>
    </dgm:pt>
    <dgm:pt modelId="{F50B4654-6236-4F49-BED2-7D85C57CF47D}" type="parTrans" cxnId="{41F34538-6D99-4869-B70B-62C497702A81}">
      <dgm:prSet/>
      <dgm:spPr/>
      <dgm:t>
        <a:bodyPr/>
        <a:lstStyle/>
        <a:p>
          <a:endParaRPr lang="zh-CN" altLang="en-US">
            <a:solidFill>
              <a:schemeClr val="tx1"/>
            </a:solidFill>
          </a:endParaRPr>
        </a:p>
      </dgm:t>
    </dgm:pt>
    <dgm:pt modelId="{C747CE74-8DDD-416F-AA01-E0FFA2F6324C}" type="sibTrans" cxnId="{41F34538-6D99-4869-B70B-62C497702A81}">
      <dgm:prSet/>
      <dgm:spPr/>
      <dgm:t>
        <a:bodyPr/>
        <a:lstStyle/>
        <a:p>
          <a:endParaRPr lang="zh-CN" altLang="en-US">
            <a:solidFill>
              <a:schemeClr val="tx1"/>
            </a:solidFill>
          </a:endParaRPr>
        </a:p>
      </dgm:t>
    </dgm:pt>
    <dgm:pt modelId="{4687E014-FB39-4D66-AE21-B548A5AF41DE}">
      <dgm:prSet/>
      <dgm:spPr/>
      <dgm:t>
        <a:bodyPr/>
        <a:lstStyle/>
        <a:p>
          <a:r>
            <a:rPr lang="zh-CN" altLang="en-US" smtClean="0">
              <a:solidFill>
                <a:schemeClr val="tx1"/>
              </a:solidFill>
            </a:rPr>
            <a:t>密码攻防工具</a:t>
          </a:r>
          <a:endParaRPr lang="en-US" altLang="zh-CN" dirty="0" smtClean="0">
            <a:solidFill>
              <a:schemeClr val="tx1"/>
            </a:solidFill>
          </a:endParaRPr>
        </a:p>
      </dgm:t>
    </dgm:pt>
    <dgm:pt modelId="{49B8BDAE-22D0-4456-A7F4-E000AE49BD0D}" type="parTrans" cxnId="{A82D20C8-79EC-4A92-8711-6FD74D4A6B67}">
      <dgm:prSet/>
      <dgm:spPr/>
      <dgm:t>
        <a:bodyPr/>
        <a:lstStyle/>
        <a:p>
          <a:endParaRPr lang="zh-CN" altLang="en-US">
            <a:solidFill>
              <a:schemeClr val="tx1"/>
            </a:solidFill>
          </a:endParaRPr>
        </a:p>
      </dgm:t>
    </dgm:pt>
    <dgm:pt modelId="{380A1B50-3188-40E9-BBBF-9DBD193C68AB}" type="sibTrans" cxnId="{A82D20C8-79EC-4A92-8711-6FD74D4A6B67}">
      <dgm:prSet/>
      <dgm:spPr/>
      <dgm:t>
        <a:bodyPr/>
        <a:lstStyle/>
        <a:p>
          <a:endParaRPr lang="zh-CN" altLang="en-US">
            <a:solidFill>
              <a:schemeClr val="tx1"/>
            </a:solidFill>
          </a:endParaRPr>
        </a:p>
      </dgm:t>
    </dgm:pt>
    <dgm:pt modelId="{A127D839-8AAE-4AFD-8792-BC9C8E4F850B}">
      <dgm:prSet/>
      <dgm:spPr/>
      <dgm:t>
        <a:bodyPr/>
        <a:lstStyle/>
        <a:p>
          <a:r>
            <a:rPr lang="zh-CN" altLang="en-US" smtClean="0">
              <a:solidFill>
                <a:schemeClr val="tx1"/>
              </a:solidFill>
            </a:rPr>
            <a:t>病毒攻防工具</a:t>
          </a:r>
          <a:endParaRPr lang="en-US" altLang="zh-CN" dirty="0" smtClean="0">
            <a:solidFill>
              <a:schemeClr val="tx1"/>
            </a:solidFill>
          </a:endParaRPr>
        </a:p>
      </dgm:t>
    </dgm:pt>
    <dgm:pt modelId="{0E1CC197-9549-4FE8-9E03-B26543A07DAB}" type="parTrans" cxnId="{CE1C67D4-B05C-4D4F-8606-DCE01A3EE7EE}">
      <dgm:prSet/>
      <dgm:spPr/>
      <dgm:t>
        <a:bodyPr/>
        <a:lstStyle/>
        <a:p>
          <a:endParaRPr lang="zh-CN" altLang="en-US">
            <a:solidFill>
              <a:schemeClr val="tx1"/>
            </a:solidFill>
          </a:endParaRPr>
        </a:p>
      </dgm:t>
    </dgm:pt>
    <dgm:pt modelId="{5BB36C70-8F13-4173-B739-AEAED215270A}" type="sibTrans" cxnId="{CE1C67D4-B05C-4D4F-8606-DCE01A3EE7EE}">
      <dgm:prSet/>
      <dgm:spPr/>
      <dgm:t>
        <a:bodyPr/>
        <a:lstStyle/>
        <a:p>
          <a:endParaRPr lang="zh-CN" altLang="en-US">
            <a:solidFill>
              <a:schemeClr val="tx1"/>
            </a:solidFill>
          </a:endParaRPr>
        </a:p>
      </dgm:t>
    </dgm:pt>
    <dgm:pt modelId="{ACE8FDF5-2BC5-4988-9166-547550BE70E1}">
      <dgm:prSet/>
      <dgm:spPr/>
      <dgm:t>
        <a:bodyPr/>
        <a:lstStyle/>
        <a:p>
          <a:r>
            <a:rPr lang="zh-CN" altLang="en-US" smtClean="0">
              <a:solidFill>
                <a:schemeClr val="tx1"/>
              </a:solidFill>
            </a:rPr>
            <a:t>木马攻防工具</a:t>
          </a:r>
          <a:endParaRPr lang="en-US" altLang="zh-CN" dirty="0" smtClean="0">
            <a:solidFill>
              <a:schemeClr val="tx1"/>
            </a:solidFill>
          </a:endParaRPr>
        </a:p>
      </dgm:t>
    </dgm:pt>
    <dgm:pt modelId="{96BA02D5-47AD-4126-8763-1BAC8B10FC07}" type="parTrans" cxnId="{E4946641-1EF1-4DEE-99B9-210BAC3D8BD9}">
      <dgm:prSet/>
      <dgm:spPr/>
      <dgm:t>
        <a:bodyPr/>
        <a:lstStyle/>
        <a:p>
          <a:endParaRPr lang="zh-CN" altLang="en-US">
            <a:solidFill>
              <a:schemeClr val="tx1"/>
            </a:solidFill>
          </a:endParaRPr>
        </a:p>
      </dgm:t>
    </dgm:pt>
    <dgm:pt modelId="{D17964B6-AE56-491D-A284-0F758DBE244F}" type="sibTrans" cxnId="{E4946641-1EF1-4DEE-99B9-210BAC3D8BD9}">
      <dgm:prSet/>
      <dgm:spPr/>
      <dgm:t>
        <a:bodyPr/>
        <a:lstStyle/>
        <a:p>
          <a:endParaRPr lang="zh-CN" altLang="en-US">
            <a:solidFill>
              <a:schemeClr val="tx1"/>
            </a:solidFill>
          </a:endParaRPr>
        </a:p>
      </dgm:t>
    </dgm:pt>
    <dgm:pt modelId="{F09F71ED-DED8-4C77-8A97-C09FE7F55E84}">
      <dgm:prSet/>
      <dgm:spPr/>
      <dgm:t>
        <a:bodyPr/>
        <a:lstStyle/>
        <a:p>
          <a:r>
            <a:rPr lang="zh-CN" altLang="en-US" smtClean="0">
              <a:solidFill>
                <a:schemeClr val="tx1"/>
              </a:solidFill>
            </a:rPr>
            <a:t>黑客入侵检测工具</a:t>
          </a:r>
          <a:endParaRPr lang="en-US" altLang="zh-CN" dirty="0" smtClean="0">
            <a:solidFill>
              <a:schemeClr val="tx1"/>
            </a:solidFill>
          </a:endParaRPr>
        </a:p>
      </dgm:t>
    </dgm:pt>
    <dgm:pt modelId="{2DB4C02B-F7B2-480C-B2C9-584132CFBCA9}" type="parTrans" cxnId="{ECDFFAE8-CC13-424F-A665-51EB25BEF0E1}">
      <dgm:prSet/>
      <dgm:spPr/>
      <dgm:t>
        <a:bodyPr/>
        <a:lstStyle/>
        <a:p>
          <a:endParaRPr lang="zh-CN" altLang="en-US">
            <a:solidFill>
              <a:schemeClr val="tx1"/>
            </a:solidFill>
          </a:endParaRPr>
        </a:p>
      </dgm:t>
    </dgm:pt>
    <dgm:pt modelId="{DDA46D73-8E3E-4B82-B86A-D14FB36FF392}" type="sibTrans" cxnId="{ECDFFAE8-CC13-424F-A665-51EB25BEF0E1}">
      <dgm:prSet/>
      <dgm:spPr/>
      <dgm:t>
        <a:bodyPr/>
        <a:lstStyle/>
        <a:p>
          <a:endParaRPr lang="zh-CN" altLang="en-US">
            <a:solidFill>
              <a:schemeClr val="tx1"/>
            </a:solidFill>
          </a:endParaRPr>
        </a:p>
      </dgm:t>
    </dgm:pt>
    <dgm:pt modelId="{2115C32C-B9F3-467D-A788-C020111F49F8}">
      <dgm:prSet/>
      <dgm:spPr/>
      <dgm:t>
        <a:bodyPr/>
        <a:lstStyle/>
        <a:p>
          <a:r>
            <a:rPr lang="zh-CN" altLang="en-US" smtClean="0">
              <a:solidFill>
                <a:schemeClr val="tx1"/>
              </a:solidFill>
            </a:rPr>
            <a:t>清理入侵痕迹工具</a:t>
          </a:r>
          <a:endParaRPr lang="en-US" altLang="zh-CN" dirty="0" smtClean="0">
            <a:solidFill>
              <a:schemeClr val="tx1"/>
            </a:solidFill>
          </a:endParaRPr>
        </a:p>
      </dgm:t>
    </dgm:pt>
    <dgm:pt modelId="{00A13D83-DD3B-42BC-A919-9FC5DA949D3C}" type="parTrans" cxnId="{D2615C6A-92DF-4339-B00F-70A6299E895C}">
      <dgm:prSet/>
      <dgm:spPr/>
      <dgm:t>
        <a:bodyPr/>
        <a:lstStyle/>
        <a:p>
          <a:endParaRPr lang="zh-CN" altLang="en-US">
            <a:solidFill>
              <a:schemeClr val="tx1"/>
            </a:solidFill>
          </a:endParaRPr>
        </a:p>
      </dgm:t>
    </dgm:pt>
    <dgm:pt modelId="{20913C76-1ABA-4C48-83D6-96128D0B7C77}" type="sibTrans" cxnId="{D2615C6A-92DF-4339-B00F-70A6299E895C}">
      <dgm:prSet/>
      <dgm:spPr/>
      <dgm:t>
        <a:bodyPr/>
        <a:lstStyle/>
        <a:p>
          <a:endParaRPr lang="zh-CN" altLang="en-US">
            <a:solidFill>
              <a:schemeClr val="tx1"/>
            </a:solidFill>
          </a:endParaRPr>
        </a:p>
      </dgm:t>
    </dgm:pt>
    <dgm:pt modelId="{20EBF2BE-3792-4C43-9E97-ED8B83CC1093}">
      <dgm:prSet/>
      <dgm:spPr/>
      <dgm:t>
        <a:bodyPr/>
        <a:lstStyle/>
        <a:p>
          <a:r>
            <a:rPr lang="zh-CN" altLang="en-US" smtClean="0">
              <a:solidFill>
                <a:schemeClr val="tx1"/>
              </a:solidFill>
            </a:rPr>
            <a:t>网络代理与追踪工具</a:t>
          </a:r>
          <a:endParaRPr lang="en-US" altLang="zh-CN" dirty="0" smtClean="0">
            <a:solidFill>
              <a:schemeClr val="tx1"/>
            </a:solidFill>
          </a:endParaRPr>
        </a:p>
      </dgm:t>
    </dgm:pt>
    <dgm:pt modelId="{C9F52BFF-B60B-446A-8B2A-D1E369CEE1B2}" type="parTrans" cxnId="{19C33A50-9CE5-4E3E-8031-8D31E01B0546}">
      <dgm:prSet/>
      <dgm:spPr/>
      <dgm:t>
        <a:bodyPr/>
        <a:lstStyle/>
        <a:p>
          <a:endParaRPr lang="zh-CN" altLang="en-US">
            <a:solidFill>
              <a:schemeClr val="tx1"/>
            </a:solidFill>
          </a:endParaRPr>
        </a:p>
      </dgm:t>
    </dgm:pt>
    <dgm:pt modelId="{642EFED5-7398-4101-BC49-B2EFC7995AEA}" type="sibTrans" cxnId="{19C33A50-9CE5-4E3E-8031-8D31E01B0546}">
      <dgm:prSet/>
      <dgm:spPr/>
      <dgm:t>
        <a:bodyPr/>
        <a:lstStyle/>
        <a:p>
          <a:endParaRPr lang="zh-CN" altLang="en-US">
            <a:solidFill>
              <a:schemeClr val="tx1"/>
            </a:solidFill>
          </a:endParaRPr>
        </a:p>
      </dgm:t>
    </dgm:pt>
    <dgm:pt modelId="{547B8E5E-D2E6-4B92-AF25-E12E47C9E13A}">
      <dgm:prSet/>
      <dgm:spPr/>
      <dgm:t>
        <a:bodyPr/>
        <a:lstStyle/>
        <a:p>
          <a:r>
            <a:rPr lang="zh-CN" altLang="en-US" smtClean="0">
              <a:solidFill>
                <a:schemeClr val="tx1"/>
              </a:solidFill>
            </a:rPr>
            <a:t>局域网黑客工具</a:t>
          </a:r>
          <a:endParaRPr lang="en-US" altLang="zh-CN" dirty="0" smtClean="0">
            <a:solidFill>
              <a:schemeClr val="tx1"/>
            </a:solidFill>
          </a:endParaRPr>
        </a:p>
      </dgm:t>
    </dgm:pt>
    <dgm:pt modelId="{11AED16E-842E-4499-B394-377BFA22DA0F}" type="parTrans" cxnId="{258F34FA-0D8F-446D-8B6C-D72B05F29FF9}">
      <dgm:prSet/>
      <dgm:spPr/>
      <dgm:t>
        <a:bodyPr/>
        <a:lstStyle/>
        <a:p>
          <a:endParaRPr lang="zh-CN" altLang="en-US">
            <a:solidFill>
              <a:schemeClr val="tx1"/>
            </a:solidFill>
          </a:endParaRPr>
        </a:p>
      </dgm:t>
    </dgm:pt>
    <dgm:pt modelId="{221E58B9-8F75-4CB2-BCF6-743B4A30EF11}" type="sibTrans" cxnId="{258F34FA-0D8F-446D-8B6C-D72B05F29FF9}">
      <dgm:prSet/>
      <dgm:spPr/>
      <dgm:t>
        <a:bodyPr/>
        <a:lstStyle/>
        <a:p>
          <a:endParaRPr lang="zh-CN" altLang="en-US">
            <a:solidFill>
              <a:schemeClr val="tx1"/>
            </a:solidFill>
          </a:endParaRPr>
        </a:p>
      </dgm:t>
    </dgm:pt>
    <dgm:pt modelId="{4BFF1AD7-5502-4D25-B040-4B906FC0E3D8}">
      <dgm:prSet/>
      <dgm:spPr/>
      <dgm:t>
        <a:bodyPr/>
        <a:lstStyle/>
        <a:p>
          <a:r>
            <a:rPr lang="zh-CN" altLang="en-US" smtClean="0">
              <a:solidFill>
                <a:schemeClr val="tx1"/>
              </a:solidFill>
            </a:rPr>
            <a:t>远程控制工具</a:t>
          </a:r>
          <a:endParaRPr lang="zh-CN" altLang="en-US" dirty="0">
            <a:solidFill>
              <a:schemeClr val="tx1"/>
            </a:solidFill>
          </a:endParaRPr>
        </a:p>
      </dgm:t>
    </dgm:pt>
    <dgm:pt modelId="{E813C632-015E-4983-B5A0-EF6F6A3FBA5F}" type="parTrans" cxnId="{A47C2A51-96B7-46EF-836C-BBA724175F8C}">
      <dgm:prSet/>
      <dgm:spPr/>
      <dgm:t>
        <a:bodyPr/>
        <a:lstStyle/>
        <a:p>
          <a:endParaRPr lang="zh-CN" altLang="en-US">
            <a:solidFill>
              <a:schemeClr val="tx1"/>
            </a:solidFill>
          </a:endParaRPr>
        </a:p>
      </dgm:t>
    </dgm:pt>
    <dgm:pt modelId="{0F9CB55F-4F05-4B04-8737-5DF7AD0111BD}" type="sibTrans" cxnId="{A47C2A51-96B7-46EF-836C-BBA724175F8C}">
      <dgm:prSet/>
      <dgm:spPr/>
      <dgm:t>
        <a:bodyPr/>
        <a:lstStyle/>
        <a:p>
          <a:endParaRPr lang="zh-CN" altLang="en-US">
            <a:solidFill>
              <a:schemeClr val="tx1"/>
            </a:solidFill>
          </a:endParaRPr>
        </a:p>
      </dgm:t>
    </dgm:pt>
    <dgm:pt modelId="{BBACAF06-A50E-489F-A19C-77705BD885E0}">
      <dgm:prSet phldrT="[文本]"/>
      <dgm:spPr/>
      <dgm:t>
        <a:bodyPr/>
        <a:lstStyle/>
        <a:p>
          <a:r>
            <a:rPr lang="zh-CN" altLang="en-US" smtClean="0">
              <a:solidFill>
                <a:schemeClr val="tx1"/>
              </a:solidFill>
            </a:rPr>
            <a:t>嗅探工具</a:t>
          </a:r>
          <a:endParaRPr lang="zh-CN" altLang="en-US">
            <a:solidFill>
              <a:schemeClr val="tx1"/>
            </a:solidFill>
          </a:endParaRPr>
        </a:p>
      </dgm:t>
    </dgm:pt>
    <dgm:pt modelId="{078B052E-755E-47E3-A578-BAF09B604319}" type="parTrans" cxnId="{4D93A45E-B473-4746-BCCB-24A9A313531C}">
      <dgm:prSet/>
      <dgm:spPr/>
      <dgm:t>
        <a:bodyPr/>
        <a:lstStyle/>
        <a:p>
          <a:endParaRPr lang="zh-CN" altLang="en-US">
            <a:solidFill>
              <a:schemeClr val="tx1"/>
            </a:solidFill>
          </a:endParaRPr>
        </a:p>
      </dgm:t>
    </dgm:pt>
    <dgm:pt modelId="{64828F4F-7AF5-4F4E-BF02-A159167160BA}" type="sibTrans" cxnId="{4D93A45E-B473-4746-BCCB-24A9A313531C}">
      <dgm:prSet/>
      <dgm:spPr/>
      <dgm:t>
        <a:bodyPr/>
        <a:lstStyle/>
        <a:p>
          <a:endParaRPr lang="zh-CN" altLang="en-US">
            <a:solidFill>
              <a:schemeClr val="tx1"/>
            </a:solidFill>
          </a:endParaRPr>
        </a:p>
      </dgm:t>
    </dgm:pt>
    <dgm:pt modelId="{65EB90DF-11B3-46CE-8589-2B9F0B26BA21}" type="pres">
      <dgm:prSet presAssocID="{C694771C-2196-4F49-A1B8-A605B991C28E}" presName="Name0" presStyleCnt="0">
        <dgm:presLayoutVars>
          <dgm:dir/>
          <dgm:resizeHandles val="exact"/>
        </dgm:presLayoutVars>
      </dgm:prSet>
      <dgm:spPr/>
      <dgm:t>
        <a:bodyPr/>
        <a:lstStyle/>
        <a:p>
          <a:endParaRPr lang="zh-CN" altLang="en-US"/>
        </a:p>
      </dgm:t>
    </dgm:pt>
    <dgm:pt modelId="{FD0F4692-4CA4-40E1-AA15-C4C618A5E692}" type="pres">
      <dgm:prSet presAssocID="{BD3CEE8D-0971-4DF4-9007-FDF873406208}" presName="node" presStyleLbl="node1" presStyleIdx="0" presStyleCnt="11">
        <dgm:presLayoutVars>
          <dgm:bulletEnabled val="1"/>
        </dgm:presLayoutVars>
      </dgm:prSet>
      <dgm:spPr/>
      <dgm:t>
        <a:bodyPr/>
        <a:lstStyle/>
        <a:p>
          <a:endParaRPr lang="zh-CN" altLang="en-US"/>
        </a:p>
      </dgm:t>
    </dgm:pt>
    <dgm:pt modelId="{769328C8-E747-49C5-A5C1-5EB2DB1D073E}" type="pres">
      <dgm:prSet presAssocID="{A193620C-1466-4A2F-9D06-D732CE8685DB}" presName="sibTrans" presStyleCnt="0"/>
      <dgm:spPr/>
    </dgm:pt>
    <dgm:pt modelId="{3E31222C-7403-46A1-ACB7-63FE3EEB2EC9}" type="pres">
      <dgm:prSet presAssocID="{BBACAF06-A50E-489F-A19C-77705BD885E0}" presName="node" presStyleLbl="node1" presStyleIdx="1" presStyleCnt="11">
        <dgm:presLayoutVars>
          <dgm:bulletEnabled val="1"/>
        </dgm:presLayoutVars>
      </dgm:prSet>
      <dgm:spPr/>
      <dgm:t>
        <a:bodyPr/>
        <a:lstStyle/>
        <a:p>
          <a:endParaRPr lang="zh-CN" altLang="en-US"/>
        </a:p>
      </dgm:t>
    </dgm:pt>
    <dgm:pt modelId="{B0098912-3F27-4F51-AB4F-F9CC783BB4EA}" type="pres">
      <dgm:prSet presAssocID="{64828F4F-7AF5-4F4E-BF02-A159167160BA}" presName="sibTrans" presStyleCnt="0"/>
      <dgm:spPr/>
    </dgm:pt>
    <dgm:pt modelId="{50C7FA6F-CACC-4A6F-BDA9-EE71C7DABCEF}" type="pres">
      <dgm:prSet presAssocID="{F4F56925-6218-451A-901A-14296850C14C}" presName="node" presStyleLbl="node1" presStyleIdx="2" presStyleCnt="11">
        <dgm:presLayoutVars>
          <dgm:bulletEnabled val="1"/>
        </dgm:presLayoutVars>
      </dgm:prSet>
      <dgm:spPr/>
      <dgm:t>
        <a:bodyPr/>
        <a:lstStyle/>
        <a:p>
          <a:endParaRPr lang="zh-CN" altLang="en-US"/>
        </a:p>
      </dgm:t>
    </dgm:pt>
    <dgm:pt modelId="{6D83B52C-28E8-47AD-9C92-E87285A912B4}" type="pres">
      <dgm:prSet presAssocID="{C747CE74-8DDD-416F-AA01-E0FFA2F6324C}" presName="sibTrans" presStyleCnt="0"/>
      <dgm:spPr/>
    </dgm:pt>
    <dgm:pt modelId="{386B1CC0-4A66-4DF8-976A-6255EBE58FCA}" type="pres">
      <dgm:prSet presAssocID="{4687E014-FB39-4D66-AE21-B548A5AF41DE}" presName="node" presStyleLbl="node1" presStyleIdx="3" presStyleCnt="11">
        <dgm:presLayoutVars>
          <dgm:bulletEnabled val="1"/>
        </dgm:presLayoutVars>
      </dgm:prSet>
      <dgm:spPr/>
      <dgm:t>
        <a:bodyPr/>
        <a:lstStyle/>
        <a:p>
          <a:endParaRPr lang="zh-CN" altLang="en-US"/>
        </a:p>
      </dgm:t>
    </dgm:pt>
    <dgm:pt modelId="{BCA855DF-C155-48CD-A6F0-99E10276332B}" type="pres">
      <dgm:prSet presAssocID="{380A1B50-3188-40E9-BBBF-9DBD193C68AB}" presName="sibTrans" presStyleCnt="0"/>
      <dgm:spPr/>
    </dgm:pt>
    <dgm:pt modelId="{9F410123-016A-4A95-A889-AFBB84DDC867}" type="pres">
      <dgm:prSet presAssocID="{A127D839-8AAE-4AFD-8792-BC9C8E4F850B}" presName="node" presStyleLbl="node1" presStyleIdx="4" presStyleCnt="11">
        <dgm:presLayoutVars>
          <dgm:bulletEnabled val="1"/>
        </dgm:presLayoutVars>
      </dgm:prSet>
      <dgm:spPr/>
      <dgm:t>
        <a:bodyPr/>
        <a:lstStyle/>
        <a:p>
          <a:endParaRPr lang="zh-CN" altLang="en-US"/>
        </a:p>
      </dgm:t>
    </dgm:pt>
    <dgm:pt modelId="{54220B20-7954-40F8-9F74-502B8FEE552C}" type="pres">
      <dgm:prSet presAssocID="{5BB36C70-8F13-4173-B739-AEAED215270A}" presName="sibTrans" presStyleCnt="0"/>
      <dgm:spPr/>
    </dgm:pt>
    <dgm:pt modelId="{BF917862-C110-46B3-806D-A0E8C3A45294}" type="pres">
      <dgm:prSet presAssocID="{ACE8FDF5-2BC5-4988-9166-547550BE70E1}" presName="node" presStyleLbl="node1" presStyleIdx="5" presStyleCnt="11">
        <dgm:presLayoutVars>
          <dgm:bulletEnabled val="1"/>
        </dgm:presLayoutVars>
      </dgm:prSet>
      <dgm:spPr/>
      <dgm:t>
        <a:bodyPr/>
        <a:lstStyle/>
        <a:p>
          <a:endParaRPr lang="zh-CN" altLang="en-US"/>
        </a:p>
      </dgm:t>
    </dgm:pt>
    <dgm:pt modelId="{880D2916-5809-4C22-AF6C-9A02CADCD9D5}" type="pres">
      <dgm:prSet presAssocID="{D17964B6-AE56-491D-A284-0F758DBE244F}" presName="sibTrans" presStyleCnt="0"/>
      <dgm:spPr/>
    </dgm:pt>
    <dgm:pt modelId="{3E5BB7F2-BA5C-4CC4-87E4-9EE9C660EDAC}" type="pres">
      <dgm:prSet presAssocID="{F09F71ED-DED8-4C77-8A97-C09FE7F55E84}" presName="node" presStyleLbl="node1" presStyleIdx="6" presStyleCnt="11">
        <dgm:presLayoutVars>
          <dgm:bulletEnabled val="1"/>
        </dgm:presLayoutVars>
      </dgm:prSet>
      <dgm:spPr/>
      <dgm:t>
        <a:bodyPr/>
        <a:lstStyle/>
        <a:p>
          <a:endParaRPr lang="zh-CN" altLang="en-US"/>
        </a:p>
      </dgm:t>
    </dgm:pt>
    <dgm:pt modelId="{5CA2873E-C0A2-46F7-A834-80D8E85B2702}" type="pres">
      <dgm:prSet presAssocID="{DDA46D73-8E3E-4B82-B86A-D14FB36FF392}" presName="sibTrans" presStyleCnt="0"/>
      <dgm:spPr/>
    </dgm:pt>
    <dgm:pt modelId="{17CB0361-89E5-4F20-A8C3-AC4C2D03F528}" type="pres">
      <dgm:prSet presAssocID="{2115C32C-B9F3-467D-A788-C020111F49F8}" presName="node" presStyleLbl="node1" presStyleIdx="7" presStyleCnt="11">
        <dgm:presLayoutVars>
          <dgm:bulletEnabled val="1"/>
        </dgm:presLayoutVars>
      </dgm:prSet>
      <dgm:spPr/>
      <dgm:t>
        <a:bodyPr/>
        <a:lstStyle/>
        <a:p>
          <a:endParaRPr lang="zh-CN" altLang="en-US"/>
        </a:p>
      </dgm:t>
    </dgm:pt>
    <dgm:pt modelId="{95D6BF31-DE68-4FEB-B415-FA5E7A18082B}" type="pres">
      <dgm:prSet presAssocID="{20913C76-1ABA-4C48-83D6-96128D0B7C77}" presName="sibTrans" presStyleCnt="0"/>
      <dgm:spPr/>
    </dgm:pt>
    <dgm:pt modelId="{A2561509-776B-4A24-AEEA-2AF2F0251DFE}" type="pres">
      <dgm:prSet presAssocID="{20EBF2BE-3792-4C43-9E97-ED8B83CC1093}" presName="node" presStyleLbl="node1" presStyleIdx="8" presStyleCnt="11">
        <dgm:presLayoutVars>
          <dgm:bulletEnabled val="1"/>
        </dgm:presLayoutVars>
      </dgm:prSet>
      <dgm:spPr/>
      <dgm:t>
        <a:bodyPr/>
        <a:lstStyle/>
        <a:p>
          <a:endParaRPr lang="zh-CN" altLang="en-US"/>
        </a:p>
      </dgm:t>
    </dgm:pt>
    <dgm:pt modelId="{7D836E6F-AADC-4318-97D0-75A1A37AE233}" type="pres">
      <dgm:prSet presAssocID="{642EFED5-7398-4101-BC49-B2EFC7995AEA}" presName="sibTrans" presStyleCnt="0"/>
      <dgm:spPr/>
    </dgm:pt>
    <dgm:pt modelId="{5D38615F-DF2D-4B6D-A395-D8231A020C48}" type="pres">
      <dgm:prSet presAssocID="{547B8E5E-D2E6-4B92-AF25-E12E47C9E13A}" presName="node" presStyleLbl="node1" presStyleIdx="9" presStyleCnt="11">
        <dgm:presLayoutVars>
          <dgm:bulletEnabled val="1"/>
        </dgm:presLayoutVars>
      </dgm:prSet>
      <dgm:spPr/>
      <dgm:t>
        <a:bodyPr/>
        <a:lstStyle/>
        <a:p>
          <a:endParaRPr lang="zh-CN" altLang="en-US"/>
        </a:p>
      </dgm:t>
    </dgm:pt>
    <dgm:pt modelId="{423D1774-89D9-48BB-B5D2-C40CA45C0EA5}" type="pres">
      <dgm:prSet presAssocID="{221E58B9-8F75-4CB2-BCF6-743B4A30EF11}" presName="sibTrans" presStyleCnt="0"/>
      <dgm:spPr/>
    </dgm:pt>
    <dgm:pt modelId="{15240CCB-74D4-4788-B645-271E69569A3A}" type="pres">
      <dgm:prSet presAssocID="{4BFF1AD7-5502-4D25-B040-4B906FC0E3D8}" presName="node" presStyleLbl="node1" presStyleIdx="10" presStyleCnt="11">
        <dgm:presLayoutVars>
          <dgm:bulletEnabled val="1"/>
        </dgm:presLayoutVars>
      </dgm:prSet>
      <dgm:spPr/>
      <dgm:t>
        <a:bodyPr/>
        <a:lstStyle/>
        <a:p>
          <a:endParaRPr lang="zh-CN" altLang="en-US"/>
        </a:p>
      </dgm:t>
    </dgm:pt>
  </dgm:ptLst>
  <dgm:cxnLst>
    <dgm:cxn modelId="{060096A0-AB9E-4A65-8FF1-CC2433F5FA47}" type="presOf" srcId="{C694771C-2196-4F49-A1B8-A605B991C28E}" destId="{65EB90DF-11B3-46CE-8589-2B9F0B26BA21}" srcOrd="0" destOrd="0" presId="urn:microsoft.com/office/officeart/2005/8/layout/hList6"/>
    <dgm:cxn modelId="{F78BF9C1-9B47-459D-89B9-A4E1622CEB1A}" type="presOf" srcId="{547B8E5E-D2E6-4B92-AF25-E12E47C9E13A}" destId="{5D38615F-DF2D-4B6D-A395-D8231A020C48}" srcOrd="0" destOrd="0" presId="urn:microsoft.com/office/officeart/2005/8/layout/hList6"/>
    <dgm:cxn modelId="{E4946641-1EF1-4DEE-99B9-210BAC3D8BD9}" srcId="{C694771C-2196-4F49-A1B8-A605B991C28E}" destId="{ACE8FDF5-2BC5-4988-9166-547550BE70E1}" srcOrd="5" destOrd="0" parTransId="{96BA02D5-47AD-4126-8763-1BAC8B10FC07}" sibTransId="{D17964B6-AE56-491D-A284-0F758DBE244F}"/>
    <dgm:cxn modelId="{EA063841-975C-40B4-8412-21F335EEEEE6}" type="presOf" srcId="{2115C32C-B9F3-467D-A788-C020111F49F8}" destId="{17CB0361-89E5-4F20-A8C3-AC4C2D03F528}" srcOrd="0" destOrd="0" presId="urn:microsoft.com/office/officeart/2005/8/layout/hList6"/>
    <dgm:cxn modelId="{258F34FA-0D8F-446D-8B6C-D72B05F29FF9}" srcId="{C694771C-2196-4F49-A1B8-A605B991C28E}" destId="{547B8E5E-D2E6-4B92-AF25-E12E47C9E13A}" srcOrd="9" destOrd="0" parTransId="{11AED16E-842E-4499-B394-377BFA22DA0F}" sibTransId="{221E58B9-8F75-4CB2-BCF6-743B4A30EF11}"/>
    <dgm:cxn modelId="{A82D20C8-79EC-4A92-8711-6FD74D4A6B67}" srcId="{C694771C-2196-4F49-A1B8-A605B991C28E}" destId="{4687E014-FB39-4D66-AE21-B548A5AF41DE}" srcOrd="3" destOrd="0" parTransId="{49B8BDAE-22D0-4456-A7F4-E000AE49BD0D}" sibTransId="{380A1B50-3188-40E9-BBBF-9DBD193C68AB}"/>
    <dgm:cxn modelId="{F5B6523F-D1CB-4D4F-8350-8D1E88F28AAB}" type="presOf" srcId="{F4F56925-6218-451A-901A-14296850C14C}" destId="{50C7FA6F-CACC-4A6F-BDA9-EE71C7DABCEF}" srcOrd="0" destOrd="0" presId="urn:microsoft.com/office/officeart/2005/8/layout/hList6"/>
    <dgm:cxn modelId="{6665BADF-B6CA-4D2B-80DD-3DFD134AD716}" type="presOf" srcId="{F09F71ED-DED8-4C77-8A97-C09FE7F55E84}" destId="{3E5BB7F2-BA5C-4CC4-87E4-9EE9C660EDAC}" srcOrd="0" destOrd="0" presId="urn:microsoft.com/office/officeart/2005/8/layout/hList6"/>
    <dgm:cxn modelId="{2D9297D8-F372-4F41-8410-48CE175DDD86}" type="presOf" srcId="{4BFF1AD7-5502-4D25-B040-4B906FC0E3D8}" destId="{15240CCB-74D4-4788-B645-271E69569A3A}" srcOrd="0" destOrd="0" presId="urn:microsoft.com/office/officeart/2005/8/layout/hList6"/>
    <dgm:cxn modelId="{0C6980C0-6353-4A44-B7E1-65940904B1D6}" type="presOf" srcId="{20EBF2BE-3792-4C43-9E97-ED8B83CC1093}" destId="{A2561509-776B-4A24-AEEA-2AF2F0251DFE}" srcOrd="0" destOrd="0" presId="urn:microsoft.com/office/officeart/2005/8/layout/hList6"/>
    <dgm:cxn modelId="{5852D4C8-5C56-4299-93EA-85D047F5FEAB}" type="presOf" srcId="{BBACAF06-A50E-489F-A19C-77705BD885E0}" destId="{3E31222C-7403-46A1-ACB7-63FE3EEB2EC9}" srcOrd="0" destOrd="0" presId="urn:microsoft.com/office/officeart/2005/8/layout/hList6"/>
    <dgm:cxn modelId="{5FC7A078-201D-441C-9328-5E56BF087018}" type="presOf" srcId="{A127D839-8AAE-4AFD-8792-BC9C8E4F850B}" destId="{9F410123-016A-4A95-A889-AFBB84DDC867}" srcOrd="0" destOrd="0" presId="urn:microsoft.com/office/officeart/2005/8/layout/hList6"/>
    <dgm:cxn modelId="{877F83C1-59C3-4D2C-9177-9B231156903D}" srcId="{C694771C-2196-4F49-A1B8-A605B991C28E}" destId="{BD3CEE8D-0971-4DF4-9007-FDF873406208}" srcOrd="0" destOrd="0" parTransId="{0CA264EB-6ABD-48BC-B64D-4DFC04BE355B}" sibTransId="{A193620C-1466-4A2F-9D06-D732CE8685DB}"/>
    <dgm:cxn modelId="{4D93A45E-B473-4746-BCCB-24A9A313531C}" srcId="{C694771C-2196-4F49-A1B8-A605B991C28E}" destId="{BBACAF06-A50E-489F-A19C-77705BD885E0}" srcOrd="1" destOrd="0" parTransId="{078B052E-755E-47E3-A578-BAF09B604319}" sibTransId="{64828F4F-7AF5-4F4E-BF02-A159167160BA}"/>
    <dgm:cxn modelId="{A47C2A51-96B7-46EF-836C-BBA724175F8C}" srcId="{C694771C-2196-4F49-A1B8-A605B991C28E}" destId="{4BFF1AD7-5502-4D25-B040-4B906FC0E3D8}" srcOrd="10" destOrd="0" parTransId="{E813C632-015E-4983-B5A0-EF6F6A3FBA5F}" sibTransId="{0F9CB55F-4F05-4B04-8737-5DF7AD0111BD}"/>
    <dgm:cxn modelId="{CE1C67D4-B05C-4D4F-8606-DCE01A3EE7EE}" srcId="{C694771C-2196-4F49-A1B8-A605B991C28E}" destId="{A127D839-8AAE-4AFD-8792-BC9C8E4F850B}" srcOrd="4" destOrd="0" parTransId="{0E1CC197-9549-4FE8-9E03-B26543A07DAB}" sibTransId="{5BB36C70-8F13-4173-B739-AEAED215270A}"/>
    <dgm:cxn modelId="{D2615C6A-92DF-4339-B00F-70A6299E895C}" srcId="{C694771C-2196-4F49-A1B8-A605B991C28E}" destId="{2115C32C-B9F3-467D-A788-C020111F49F8}" srcOrd="7" destOrd="0" parTransId="{00A13D83-DD3B-42BC-A919-9FC5DA949D3C}" sibTransId="{20913C76-1ABA-4C48-83D6-96128D0B7C77}"/>
    <dgm:cxn modelId="{ECDFFAE8-CC13-424F-A665-51EB25BEF0E1}" srcId="{C694771C-2196-4F49-A1B8-A605B991C28E}" destId="{F09F71ED-DED8-4C77-8A97-C09FE7F55E84}" srcOrd="6" destOrd="0" parTransId="{2DB4C02B-F7B2-480C-B2C9-584132CFBCA9}" sibTransId="{DDA46D73-8E3E-4B82-B86A-D14FB36FF392}"/>
    <dgm:cxn modelId="{54F546B5-DE73-4138-9ED7-D7456C5ECE35}" type="presOf" srcId="{ACE8FDF5-2BC5-4988-9166-547550BE70E1}" destId="{BF917862-C110-46B3-806D-A0E8C3A45294}" srcOrd="0" destOrd="0" presId="urn:microsoft.com/office/officeart/2005/8/layout/hList6"/>
    <dgm:cxn modelId="{70807361-04F1-4956-9516-CE5AD60909A0}" type="presOf" srcId="{BD3CEE8D-0971-4DF4-9007-FDF873406208}" destId="{FD0F4692-4CA4-40E1-AA15-C4C618A5E692}" srcOrd="0" destOrd="0" presId="urn:microsoft.com/office/officeart/2005/8/layout/hList6"/>
    <dgm:cxn modelId="{19C33A50-9CE5-4E3E-8031-8D31E01B0546}" srcId="{C694771C-2196-4F49-A1B8-A605B991C28E}" destId="{20EBF2BE-3792-4C43-9E97-ED8B83CC1093}" srcOrd="8" destOrd="0" parTransId="{C9F52BFF-B60B-446A-8B2A-D1E369CEE1B2}" sibTransId="{642EFED5-7398-4101-BC49-B2EFC7995AEA}"/>
    <dgm:cxn modelId="{66ADEEE0-B6DA-49EF-BF84-0178969D61C6}" type="presOf" srcId="{4687E014-FB39-4D66-AE21-B548A5AF41DE}" destId="{386B1CC0-4A66-4DF8-976A-6255EBE58FCA}" srcOrd="0" destOrd="0" presId="urn:microsoft.com/office/officeart/2005/8/layout/hList6"/>
    <dgm:cxn modelId="{41F34538-6D99-4869-B70B-62C497702A81}" srcId="{C694771C-2196-4F49-A1B8-A605B991C28E}" destId="{F4F56925-6218-451A-901A-14296850C14C}" srcOrd="2" destOrd="0" parTransId="{F50B4654-6236-4F49-BED2-7D85C57CF47D}" sibTransId="{C747CE74-8DDD-416F-AA01-E0FFA2F6324C}"/>
    <dgm:cxn modelId="{5FBBCFE0-0D49-4872-9191-D23226393AAC}" type="presParOf" srcId="{65EB90DF-11B3-46CE-8589-2B9F0B26BA21}" destId="{FD0F4692-4CA4-40E1-AA15-C4C618A5E692}" srcOrd="0" destOrd="0" presId="urn:microsoft.com/office/officeart/2005/8/layout/hList6"/>
    <dgm:cxn modelId="{66268B5E-D9F3-4AE6-A334-DC290F5D5D75}" type="presParOf" srcId="{65EB90DF-11B3-46CE-8589-2B9F0B26BA21}" destId="{769328C8-E747-49C5-A5C1-5EB2DB1D073E}" srcOrd="1" destOrd="0" presId="urn:microsoft.com/office/officeart/2005/8/layout/hList6"/>
    <dgm:cxn modelId="{E4F21AE3-A837-4E02-8A1A-A7A34B573319}" type="presParOf" srcId="{65EB90DF-11B3-46CE-8589-2B9F0B26BA21}" destId="{3E31222C-7403-46A1-ACB7-63FE3EEB2EC9}" srcOrd="2" destOrd="0" presId="urn:microsoft.com/office/officeart/2005/8/layout/hList6"/>
    <dgm:cxn modelId="{B13DBF10-19DF-4742-AE6C-5275C366770F}" type="presParOf" srcId="{65EB90DF-11B3-46CE-8589-2B9F0B26BA21}" destId="{B0098912-3F27-4F51-AB4F-F9CC783BB4EA}" srcOrd="3" destOrd="0" presId="urn:microsoft.com/office/officeart/2005/8/layout/hList6"/>
    <dgm:cxn modelId="{D4972723-95AD-436A-8C9F-0B084B8C2F48}" type="presParOf" srcId="{65EB90DF-11B3-46CE-8589-2B9F0B26BA21}" destId="{50C7FA6F-CACC-4A6F-BDA9-EE71C7DABCEF}" srcOrd="4" destOrd="0" presId="urn:microsoft.com/office/officeart/2005/8/layout/hList6"/>
    <dgm:cxn modelId="{058D2666-2FB4-400D-BC9A-0BFD607A587C}" type="presParOf" srcId="{65EB90DF-11B3-46CE-8589-2B9F0B26BA21}" destId="{6D83B52C-28E8-47AD-9C92-E87285A912B4}" srcOrd="5" destOrd="0" presId="urn:microsoft.com/office/officeart/2005/8/layout/hList6"/>
    <dgm:cxn modelId="{7B340BE4-ED19-4563-A766-4C6DF15469E3}" type="presParOf" srcId="{65EB90DF-11B3-46CE-8589-2B9F0B26BA21}" destId="{386B1CC0-4A66-4DF8-976A-6255EBE58FCA}" srcOrd="6" destOrd="0" presId="urn:microsoft.com/office/officeart/2005/8/layout/hList6"/>
    <dgm:cxn modelId="{64D2421A-53E4-4CF4-940A-3D53888A5B4D}" type="presParOf" srcId="{65EB90DF-11B3-46CE-8589-2B9F0B26BA21}" destId="{BCA855DF-C155-48CD-A6F0-99E10276332B}" srcOrd="7" destOrd="0" presId="urn:microsoft.com/office/officeart/2005/8/layout/hList6"/>
    <dgm:cxn modelId="{395825BB-41B5-4E04-8FBD-699261D52D5A}" type="presParOf" srcId="{65EB90DF-11B3-46CE-8589-2B9F0B26BA21}" destId="{9F410123-016A-4A95-A889-AFBB84DDC867}" srcOrd="8" destOrd="0" presId="urn:microsoft.com/office/officeart/2005/8/layout/hList6"/>
    <dgm:cxn modelId="{A702E81D-56BC-4239-B0A6-3E494F202659}" type="presParOf" srcId="{65EB90DF-11B3-46CE-8589-2B9F0B26BA21}" destId="{54220B20-7954-40F8-9F74-502B8FEE552C}" srcOrd="9" destOrd="0" presId="urn:microsoft.com/office/officeart/2005/8/layout/hList6"/>
    <dgm:cxn modelId="{20984DC4-04C8-4EB9-9226-98EFF7F67106}" type="presParOf" srcId="{65EB90DF-11B3-46CE-8589-2B9F0B26BA21}" destId="{BF917862-C110-46B3-806D-A0E8C3A45294}" srcOrd="10" destOrd="0" presId="urn:microsoft.com/office/officeart/2005/8/layout/hList6"/>
    <dgm:cxn modelId="{ED0941D1-E741-41E2-BB79-1EE219AF9C7B}" type="presParOf" srcId="{65EB90DF-11B3-46CE-8589-2B9F0B26BA21}" destId="{880D2916-5809-4C22-AF6C-9A02CADCD9D5}" srcOrd="11" destOrd="0" presId="urn:microsoft.com/office/officeart/2005/8/layout/hList6"/>
    <dgm:cxn modelId="{B0AF7CED-4F72-483A-BB9D-162755C8CCDD}" type="presParOf" srcId="{65EB90DF-11B3-46CE-8589-2B9F0B26BA21}" destId="{3E5BB7F2-BA5C-4CC4-87E4-9EE9C660EDAC}" srcOrd="12" destOrd="0" presId="urn:microsoft.com/office/officeart/2005/8/layout/hList6"/>
    <dgm:cxn modelId="{03C5E45C-4885-428A-8F76-A8DBD9196DF4}" type="presParOf" srcId="{65EB90DF-11B3-46CE-8589-2B9F0B26BA21}" destId="{5CA2873E-C0A2-46F7-A834-80D8E85B2702}" srcOrd="13" destOrd="0" presId="urn:microsoft.com/office/officeart/2005/8/layout/hList6"/>
    <dgm:cxn modelId="{D279F045-7B2B-45E3-ABE0-873891BD1384}" type="presParOf" srcId="{65EB90DF-11B3-46CE-8589-2B9F0B26BA21}" destId="{17CB0361-89E5-4F20-A8C3-AC4C2D03F528}" srcOrd="14" destOrd="0" presId="urn:microsoft.com/office/officeart/2005/8/layout/hList6"/>
    <dgm:cxn modelId="{2F2DE699-B984-4C6C-BDDD-B35344EB6CBC}" type="presParOf" srcId="{65EB90DF-11B3-46CE-8589-2B9F0B26BA21}" destId="{95D6BF31-DE68-4FEB-B415-FA5E7A18082B}" srcOrd="15" destOrd="0" presId="urn:microsoft.com/office/officeart/2005/8/layout/hList6"/>
    <dgm:cxn modelId="{E1C5D4DC-AF83-4D7E-AA30-C8EC03F7A696}" type="presParOf" srcId="{65EB90DF-11B3-46CE-8589-2B9F0B26BA21}" destId="{A2561509-776B-4A24-AEEA-2AF2F0251DFE}" srcOrd="16" destOrd="0" presId="urn:microsoft.com/office/officeart/2005/8/layout/hList6"/>
    <dgm:cxn modelId="{263D5686-DC1A-4E92-972D-3C9D0BCC3245}" type="presParOf" srcId="{65EB90DF-11B3-46CE-8589-2B9F0B26BA21}" destId="{7D836E6F-AADC-4318-97D0-75A1A37AE233}" srcOrd="17" destOrd="0" presId="urn:microsoft.com/office/officeart/2005/8/layout/hList6"/>
    <dgm:cxn modelId="{EE755E68-B141-4A4F-9EDD-12BFDEB4F79A}" type="presParOf" srcId="{65EB90DF-11B3-46CE-8589-2B9F0B26BA21}" destId="{5D38615F-DF2D-4B6D-A395-D8231A020C48}" srcOrd="18" destOrd="0" presId="urn:microsoft.com/office/officeart/2005/8/layout/hList6"/>
    <dgm:cxn modelId="{EE7E2A6C-BD4D-4603-AC54-D84ED624B7F9}" type="presParOf" srcId="{65EB90DF-11B3-46CE-8589-2B9F0B26BA21}" destId="{423D1774-89D9-48BB-B5D2-C40CA45C0EA5}" srcOrd="19" destOrd="0" presId="urn:microsoft.com/office/officeart/2005/8/layout/hList6"/>
    <dgm:cxn modelId="{4EDE39DD-766D-49F1-88DB-B614ADC0A211}" type="presParOf" srcId="{65EB90DF-11B3-46CE-8589-2B9F0B26BA21}" destId="{15240CCB-74D4-4788-B645-271E69569A3A}" srcOrd="20"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247B5481-5678-4E1F-A4BC-C870DCC5FC00}" type="doc">
      <dgm:prSet loTypeId="urn:microsoft.com/office/officeart/2005/8/layout/hProcess6" loCatId="process" qsTypeId="urn:microsoft.com/office/officeart/2005/8/quickstyle/3d1" qsCatId="3D" csTypeId="urn:microsoft.com/office/officeart/2005/8/colors/accent1_2" csCatId="accent1" phldr="1"/>
      <dgm:spPr/>
      <dgm:t>
        <a:bodyPr/>
        <a:lstStyle/>
        <a:p>
          <a:endParaRPr lang="zh-CN" altLang="en-US"/>
        </a:p>
      </dgm:t>
    </dgm:pt>
    <dgm:pt modelId="{115267F7-1643-49C6-B20F-89396F9D1DE4}">
      <dgm:prSet phldrT="[文本]"/>
      <dgm:spPr/>
      <dgm:t>
        <a:bodyPr/>
        <a:lstStyle/>
        <a:p>
          <a:r>
            <a:rPr lang="zh-CN" altLang="en-US" dirty="0" smtClean="0">
              <a:solidFill>
                <a:schemeClr val="tx1"/>
              </a:solidFill>
            </a:rPr>
            <a:t>模拟行为轨迹是渗透测试的重要过程</a:t>
          </a:r>
          <a:endParaRPr lang="zh-CN" altLang="en-US" dirty="0">
            <a:solidFill>
              <a:schemeClr val="tx1"/>
            </a:solidFill>
          </a:endParaRPr>
        </a:p>
      </dgm:t>
    </dgm:pt>
    <dgm:pt modelId="{F138A192-D0CC-4B19-96A9-550140DC0578}" type="parTrans" cxnId="{DBC57770-3566-410E-B9C4-AC2226AA6D86}">
      <dgm:prSet/>
      <dgm:spPr/>
      <dgm:t>
        <a:bodyPr/>
        <a:lstStyle/>
        <a:p>
          <a:endParaRPr lang="zh-CN" altLang="en-US">
            <a:solidFill>
              <a:schemeClr val="tx1"/>
            </a:solidFill>
          </a:endParaRPr>
        </a:p>
      </dgm:t>
    </dgm:pt>
    <dgm:pt modelId="{E09DDBD8-A314-4A94-8EFD-67FFFA1C5085}" type="sibTrans" cxnId="{DBC57770-3566-410E-B9C4-AC2226AA6D86}">
      <dgm:prSet/>
      <dgm:spPr/>
      <dgm:t>
        <a:bodyPr/>
        <a:lstStyle/>
        <a:p>
          <a:endParaRPr lang="zh-CN" altLang="en-US">
            <a:solidFill>
              <a:schemeClr val="tx1"/>
            </a:solidFill>
          </a:endParaRPr>
        </a:p>
      </dgm:t>
    </dgm:pt>
    <dgm:pt modelId="{74DF2C1A-CF11-4E92-AE3C-ADB254EA29D0}">
      <dgm:prSet phldrT="[文本]"/>
      <dgm:spPr/>
      <dgm:t>
        <a:bodyPr/>
        <a:lstStyle/>
        <a:p>
          <a:r>
            <a:rPr lang="zh-CN" altLang="en-US" dirty="0" smtClean="0">
              <a:solidFill>
                <a:schemeClr val="tx1"/>
              </a:solidFill>
            </a:rPr>
            <a:t>获得精准的风险防范措施</a:t>
          </a:r>
          <a:endParaRPr lang="zh-CN" altLang="en-US" dirty="0">
            <a:solidFill>
              <a:schemeClr val="tx1"/>
            </a:solidFill>
          </a:endParaRPr>
        </a:p>
      </dgm:t>
    </dgm:pt>
    <dgm:pt modelId="{7526AA66-4E2F-47E8-B385-1249CA7B3EF1}" type="parTrans" cxnId="{FA56246B-2171-478A-B8CD-825B0547E8B0}">
      <dgm:prSet/>
      <dgm:spPr/>
      <dgm:t>
        <a:bodyPr/>
        <a:lstStyle/>
        <a:p>
          <a:endParaRPr lang="zh-CN" altLang="en-US">
            <a:solidFill>
              <a:schemeClr val="tx1"/>
            </a:solidFill>
          </a:endParaRPr>
        </a:p>
      </dgm:t>
    </dgm:pt>
    <dgm:pt modelId="{E713DAA6-2900-4C96-B42A-00FFC2D76AF4}" type="sibTrans" cxnId="{FA56246B-2171-478A-B8CD-825B0547E8B0}">
      <dgm:prSet/>
      <dgm:spPr/>
      <dgm:t>
        <a:bodyPr/>
        <a:lstStyle/>
        <a:p>
          <a:endParaRPr lang="zh-CN" altLang="en-US">
            <a:solidFill>
              <a:schemeClr val="tx1"/>
            </a:solidFill>
          </a:endParaRPr>
        </a:p>
      </dgm:t>
    </dgm:pt>
    <dgm:pt modelId="{D33287A6-8A8B-4F44-810C-11F9D58D54DA}">
      <dgm:prSet phldrT="[文本]"/>
      <dgm:spPr/>
      <dgm:t>
        <a:bodyPr/>
        <a:lstStyle/>
        <a:p>
          <a:r>
            <a:rPr lang="zh-CN" altLang="en-US" dirty="0" smtClean="0">
              <a:solidFill>
                <a:schemeClr val="tx1"/>
              </a:solidFill>
            </a:rPr>
            <a:t>为什么要重点了解黑客入侵的行为轨迹？</a:t>
          </a:r>
          <a:endParaRPr lang="zh-CN" altLang="en-US" dirty="0">
            <a:solidFill>
              <a:schemeClr val="tx1"/>
            </a:solidFill>
          </a:endParaRPr>
        </a:p>
      </dgm:t>
    </dgm:pt>
    <dgm:pt modelId="{A10154A6-3CB3-4E7E-B6BB-DD79E22D694B}" type="parTrans" cxnId="{61F2556C-1C46-43AE-937A-5175852B0060}">
      <dgm:prSet/>
      <dgm:spPr/>
      <dgm:t>
        <a:bodyPr/>
        <a:lstStyle/>
        <a:p>
          <a:endParaRPr lang="zh-CN" altLang="en-US">
            <a:solidFill>
              <a:schemeClr val="tx1"/>
            </a:solidFill>
          </a:endParaRPr>
        </a:p>
      </dgm:t>
    </dgm:pt>
    <dgm:pt modelId="{9EF6597F-8AA3-4149-ACE1-3489CF87DC3C}" type="sibTrans" cxnId="{61F2556C-1C46-43AE-937A-5175852B0060}">
      <dgm:prSet/>
      <dgm:spPr/>
      <dgm:t>
        <a:bodyPr/>
        <a:lstStyle/>
        <a:p>
          <a:endParaRPr lang="zh-CN" altLang="en-US">
            <a:solidFill>
              <a:schemeClr val="tx1"/>
            </a:solidFill>
          </a:endParaRPr>
        </a:p>
      </dgm:t>
    </dgm:pt>
    <dgm:pt modelId="{6BC41E46-ED01-419C-947E-527969E3B5E5}">
      <dgm:prSet phldrT="[文本]"/>
      <dgm:spPr/>
      <dgm:t>
        <a:bodyPr/>
        <a:lstStyle/>
        <a:p>
          <a:r>
            <a:rPr lang="zh-CN" altLang="en-US" dirty="0" smtClean="0">
              <a:solidFill>
                <a:schemeClr val="tx1"/>
              </a:solidFill>
            </a:rPr>
            <a:t>知己知彼防御不盲目</a:t>
          </a:r>
          <a:endParaRPr lang="zh-CN" altLang="en-US" dirty="0">
            <a:solidFill>
              <a:schemeClr val="tx1"/>
            </a:solidFill>
          </a:endParaRPr>
        </a:p>
      </dgm:t>
    </dgm:pt>
    <dgm:pt modelId="{B2E53DBA-66D3-42D6-8AA8-58C2DEC3CE1C}" type="parTrans" cxnId="{FB0329AE-7A53-4B69-8076-3F6212D45A3D}">
      <dgm:prSet/>
      <dgm:spPr/>
      <dgm:t>
        <a:bodyPr/>
        <a:lstStyle/>
        <a:p>
          <a:endParaRPr lang="zh-CN" altLang="en-US">
            <a:solidFill>
              <a:schemeClr val="tx1"/>
            </a:solidFill>
          </a:endParaRPr>
        </a:p>
      </dgm:t>
    </dgm:pt>
    <dgm:pt modelId="{E13CD2ED-C44E-4603-87CD-A072525DEC04}" type="sibTrans" cxnId="{FB0329AE-7A53-4B69-8076-3F6212D45A3D}">
      <dgm:prSet/>
      <dgm:spPr/>
      <dgm:t>
        <a:bodyPr/>
        <a:lstStyle/>
        <a:p>
          <a:endParaRPr lang="zh-CN" altLang="en-US">
            <a:solidFill>
              <a:schemeClr val="tx1"/>
            </a:solidFill>
          </a:endParaRPr>
        </a:p>
      </dgm:t>
    </dgm:pt>
    <dgm:pt modelId="{CB868C84-F490-4D6D-B6BB-816232B64CD7}">
      <dgm:prSet phldrT="[文本]"/>
      <dgm:spPr/>
      <dgm:t>
        <a:bodyPr/>
        <a:lstStyle/>
        <a:p>
          <a:r>
            <a:rPr lang="zh-CN" altLang="en-US" dirty="0" smtClean="0">
              <a:solidFill>
                <a:schemeClr val="tx1"/>
              </a:solidFill>
            </a:rPr>
            <a:t>黑客入侵风险是评估目标</a:t>
          </a:r>
          <a:endParaRPr lang="zh-CN" altLang="en-US" dirty="0">
            <a:solidFill>
              <a:schemeClr val="tx1"/>
            </a:solidFill>
          </a:endParaRPr>
        </a:p>
      </dgm:t>
    </dgm:pt>
    <dgm:pt modelId="{0F264D02-6C8D-4904-8A50-2580A2120E30}" type="parTrans" cxnId="{85C419D4-6320-49E6-A1D7-A494BB6A3F78}">
      <dgm:prSet/>
      <dgm:spPr/>
      <dgm:t>
        <a:bodyPr/>
        <a:lstStyle/>
        <a:p>
          <a:endParaRPr lang="zh-CN" altLang="en-US">
            <a:solidFill>
              <a:schemeClr val="tx1"/>
            </a:solidFill>
          </a:endParaRPr>
        </a:p>
      </dgm:t>
    </dgm:pt>
    <dgm:pt modelId="{B46194CD-7B22-454C-8FFD-75EC021DAC41}" type="sibTrans" cxnId="{85C419D4-6320-49E6-A1D7-A494BB6A3F78}">
      <dgm:prSet/>
      <dgm:spPr/>
      <dgm:t>
        <a:bodyPr/>
        <a:lstStyle/>
        <a:p>
          <a:endParaRPr lang="zh-CN" altLang="en-US">
            <a:solidFill>
              <a:schemeClr val="tx1"/>
            </a:solidFill>
          </a:endParaRPr>
        </a:p>
      </dgm:t>
    </dgm:pt>
    <dgm:pt modelId="{CE72893B-FDE4-4DD8-AF93-AFD5A6468885}" type="pres">
      <dgm:prSet presAssocID="{247B5481-5678-4E1F-A4BC-C870DCC5FC00}" presName="theList" presStyleCnt="0">
        <dgm:presLayoutVars>
          <dgm:dir/>
          <dgm:animLvl val="lvl"/>
          <dgm:resizeHandles val="exact"/>
        </dgm:presLayoutVars>
      </dgm:prSet>
      <dgm:spPr/>
      <dgm:t>
        <a:bodyPr/>
        <a:lstStyle/>
        <a:p>
          <a:endParaRPr lang="zh-CN" altLang="en-US"/>
        </a:p>
      </dgm:t>
    </dgm:pt>
    <dgm:pt modelId="{D94827CE-CD10-458E-A97F-6172495F656D}" type="pres">
      <dgm:prSet presAssocID="{D33287A6-8A8B-4F44-810C-11F9D58D54DA}" presName="compNode" presStyleCnt="0"/>
      <dgm:spPr/>
    </dgm:pt>
    <dgm:pt modelId="{7D2A7A05-8D4D-474D-A73F-E0E3C2BE92A3}" type="pres">
      <dgm:prSet presAssocID="{D33287A6-8A8B-4F44-810C-11F9D58D54DA}" presName="noGeometry" presStyleCnt="0"/>
      <dgm:spPr/>
    </dgm:pt>
    <dgm:pt modelId="{B786BF47-6CF4-4CF1-99B3-E2D0EB9A6A18}" type="pres">
      <dgm:prSet presAssocID="{D33287A6-8A8B-4F44-810C-11F9D58D54DA}" presName="childTextVisible" presStyleLbl="bgAccFollowNode1" presStyleIdx="0" presStyleCnt="1" custScaleX="105196">
        <dgm:presLayoutVars>
          <dgm:bulletEnabled val="1"/>
        </dgm:presLayoutVars>
      </dgm:prSet>
      <dgm:spPr/>
      <dgm:t>
        <a:bodyPr/>
        <a:lstStyle/>
        <a:p>
          <a:endParaRPr lang="zh-CN" altLang="en-US"/>
        </a:p>
      </dgm:t>
    </dgm:pt>
    <dgm:pt modelId="{C30476EC-61A4-4E0B-9D34-9E6EB9CC2869}" type="pres">
      <dgm:prSet presAssocID="{D33287A6-8A8B-4F44-810C-11F9D58D54DA}" presName="childTextHidden" presStyleLbl="bgAccFollowNode1" presStyleIdx="0" presStyleCnt="1"/>
      <dgm:spPr/>
      <dgm:t>
        <a:bodyPr/>
        <a:lstStyle/>
        <a:p>
          <a:endParaRPr lang="zh-CN" altLang="en-US"/>
        </a:p>
      </dgm:t>
    </dgm:pt>
    <dgm:pt modelId="{B095E0D9-56E7-479B-9490-39387A6FC0C5}" type="pres">
      <dgm:prSet presAssocID="{D33287A6-8A8B-4F44-810C-11F9D58D54DA}" presName="parentText" presStyleLbl="node1" presStyleIdx="0" presStyleCnt="1">
        <dgm:presLayoutVars>
          <dgm:chMax val="1"/>
          <dgm:bulletEnabled val="1"/>
        </dgm:presLayoutVars>
      </dgm:prSet>
      <dgm:spPr/>
      <dgm:t>
        <a:bodyPr/>
        <a:lstStyle/>
        <a:p>
          <a:endParaRPr lang="zh-CN" altLang="en-US"/>
        </a:p>
      </dgm:t>
    </dgm:pt>
  </dgm:ptLst>
  <dgm:cxnLst>
    <dgm:cxn modelId="{61F2556C-1C46-43AE-937A-5175852B0060}" srcId="{247B5481-5678-4E1F-A4BC-C870DCC5FC00}" destId="{D33287A6-8A8B-4F44-810C-11F9D58D54DA}" srcOrd="0" destOrd="0" parTransId="{A10154A6-3CB3-4E7E-B6BB-DD79E22D694B}" sibTransId="{9EF6597F-8AA3-4149-ACE1-3489CF87DC3C}"/>
    <dgm:cxn modelId="{4E757F9C-74B4-4C13-BA83-10D3D308B3D7}" type="presOf" srcId="{74DF2C1A-CF11-4E92-AE3C-ADB254EA29D0}" destId="{B786BF47-6CF4-4CF1-99B3-E2D0EB9A6A18}" srcOrd="0" destOrd="2" presId="urn:microsoft.com/office/officeart/2005/8/layout/hProcess6"/>
    <dgm:cxn modelId="{FAA619BB-0E46-403E-AD61-F403FFEBEE03}" type="presOf" srcId="{6BC41E46-ED01-419C-947E-527969E3B5E5}" destId="{C30476EC-61A4-4E0B-9D34-9E6EB9CC2869}" srcOrd="1" destOrd="3" presId="urn:microsoft.com/office/officeart/2005/8/layout/hProcess6"/>
    <dgm:cxn modelId="{F1C07194-15C1-45C5-BE33-5BA55820E4C8}" type="presOf" srcId="{74DF2C1A-CF11-4E92-AE3C-ADB254EA29D0}" destId="{C30476EC-61A4-4E0B-9D34-9E6EB9CC2869}" srcOrd="1" destOrd="2" presId="urn:microsoft.com/office/officeart/2005/8/layout/hProcess6"/>
    <dgm:cxn modelId="{481420B7-08C3-4CD1-85BC-21D531799D58}" type="presOf" srcId="{6BC41E46-ED01-419C-947E-527969E3B5E5}" destId="{B786BF47-6CF4-4CF1-99B3-E2D0EB9A6A18}" srcOrd="0" destOrd="3" presId="urn:microsoft.com/office/officeart/2005/8/layout/hProcess6"/>
    <dgm:cxn modelId="{85C419D4-6320-49E6-A1D7-A494BB6A3F78}" srcId="{D33287A6-8A8B-4F44-810C-11F9D58D54DA}" destId="{CB868C84-F490-4D6D-B6BB-816232B64CD7}" srcOrd="0" destOrd="0" parTransId="{0F264D02-6C8D-4904-8A50-2580A2120E30}" sibTransId="{B46194CD-7B22-454C-8FFD-75EC021DAC41}"/>
    <dgm:cxn modelId="{FA56246B-2171-478A-B8CD-825B0547E8B0}" srcId="{D33287A6-8A8B-4F44-810C-11F9D58D54DA}" destId="{74DF2C1A-CF11-4E92-AE3C-ADB254EA29D0}" srcOrd="2" destOrd="0" parTransId="{7526AA66-4E2F-47E8-B385-1249CA7B3EF1}" sibTransId="{E713DAA6-2900-4C96-B42A-00FFC2D76AF4}"/>
    <dgm:cxn modelId="{9F6CE10F-A408-4B87-AD2F-E17682402794}" type="presOf" srcId="{115267F7-1643-49C6-B20F-89396F9D1DE4}" destId="{B786BF47-6CF4-4CF1-99B3-E2D0EB9A6A18}" srcOrd="0" destOrd="1" presId="urn:microsoft.com/office/officeart/2005/8/layout/hProcess6"/>
    <dgm:cxn modelId="{DBC57770-3566-410E-B9C4-AC2226AA6D86}" srcId="{D33287A6-8A8B-4F44-810C-11F9D58D54DA}" destId="{115267F7-1643-49C6-B20F-89396F9D1DE4}" srcOrd="1" destOrd="0" parTransId="{F138A192-D0CC-4B19-96A9-550140DC0578}" sibTransId="{E09DDBD8-A314-4A94-8EFD-67FFFA1C5085}"/>
    <dgm:cxn modelId="{FB0329AE-7A53-4B69-8076-3F6212D45A3D}" srcId="{D33287A6-8A8B-4F44-810C-11F9D58D54DA}" destId="{6BC41E46-ED01-419C-947E-527969E3B5E5}" srcOrd="3" destOrd="0" parTransId="{B2E53DBA-66D3-42D6-8AA8-58C2DEC3CE1C}" sibTransId="{E13CD2ED-C44E-4603-87CD-A072525DEC04}"/>
    <dgm:cxn modelId="{D530FDF8-617B-4B28-B630-ED6C364C97F9}" type="presOf" srcId="{115267F7-1643-49C6-B20F-89396F9D1DE4}" destId="{C30476EC-61A4-4E0B-9D34-9E6EB9CC2869}" srcOrd="1" destOrd="1" presId="urn:microsoft.com/office/officeart/2005/8/layout/hProcess6"/>
    <dgm:cxn modelId="{AE6F1755-2847-471C-ADEA-B7F91B74C330}" type="presOf" srcId="{CB868C84-F490-4D6D-B6BB-816232B64CD7}" destId="{C30476EC-61A4-4E0B-9D34-9E6EB9CC2869}" srcOrd="1" destOrd="0" presId="urn:microsoft.com/office/officeart/2005/8/layout/hProcess6"/>
    <dgm:cxn modelId="{FEB9CB91-53F2-4C2F-8CAC-6AC41507B3EE}" type="presOf" srcId="{D33287A6-8A8B-4F44-810C-11F9D58D54DA}" destId="{B095E0D9-56E7-479B-9490-39387A6FC0C5}" srcOrd="0" destOrd="0" presId="urn:microsoft.com/office/officeart/2005/8/layout/hProcess6"/>
    <dgm:cxn modelId="{207210AC-D279-49BE-97E1-2374B3D55F3E}" type="presOf" srcId="{CB868C84-F490-4D6D-B6BB-816232B64CD7}" destId="{B786BF47-6CF4-4CF1-99B3-E2D0EB9A6A18}" srcOrd="0" destOrd="0" presId="urn:microsoft.com/office/officeart/2005/8/layout/hProcess6"/>
    <dgm:cxn modelId="{2E0A2766-59D6-4F4B-89F8-09B7A432C153}" type="presOf" srcId="{247B5481-5678-4E1F-A4BC-C870DCC5FC00}" destId="{CE72893B-FDE4-4DD8-AF93-AFD5A6468885}" srcOrd="0" destOrd="0" presId="urn:microsoft.com/office/officeart/2005/8/layout/hProcess6"/>
    <dgm:cxn modelId="{C6C5913B-79D8-4E71-B83B-5A824E51956A}" type="presParOf" srcId="{CE72893B-FDE4-4DD8-AF93-AFD5A6468885}" destId="{D94827CE-CD10-458E-A97F-6172495F656D}" srcOrd="0" destOrd="0" presId="urn:microsoft.com/office/officeart/2005/8/layout/hProcess6"/>
    <dgm:cxn modelId="{F2F5B0DC-BD0C-4FB4-AB79-8D93F1C6A0DE}" type="presParOf" srcId="{D94827CE-CD10-458E-A97F-6172495F656D}" destId="{7D2A7A05-8D4D-474D-A73F-E0E3C2BE92A3}" srcOrd="0" destOrd="0" presId="urn:microsoft.com/office/officeart/2005/8/layout/hProcess6"/>
    <dgm:cxn modelId="{8AC0A61F-1475-4850-96C7-3979AB99F26D}" type="presParOf" srcId="{D94827CE-CD10-458E-A97F-6172495F656D}" destId="{B786BF47-6CF4-4CF1-99B3-E2D0EB9A6A18}" srcOrd="1" destOrd="0" presId="urn:microsoft.com/office/officeart/2005/8/layout/hProcess6"/>
    <dgm:cxn modelId="{AF4F8603-B827-4DEB-9D5E-3F4073544D40}" type="presParOf" srcId="{D94827CE-CD10-458E-A97F-6172495F656D}" destId="{C30476EC-61A4-4E0B-9D34-9E6EB9CC2869}" srcOrd="2" destOrd="0" presId="urn:microsoft.com/office/officeart/2005/8/layout/hProcess6"/>
    <dgm:cxn modelId="{7FBDDE36-2A6A-45B2-812B-681F85A6AD39}" type="presParOf" srcId="{D94827CE-CD10-458E-A97F-6172495F656D}" destId="{B095E0D9-56E7-479B-9490-39387A6FC0C5}"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8283D147-7FB5-4743-B830-5C9104459F20}"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zh-CN" altLang="en-US"/>
        </a:p>
      </dgm:t>
    </dgm:pt>
    <dgm:pt modelId="{A31F34B5-96C1-4E3D-816A-F47747DD2059}">
      <dgm:prSet phldrT="[文本]"/>
      <dgm:spPr/>
      <dgm:t>
        <a:bodyPr/>
        <a:lstStyle/>
        <a:p>
          <a:r>
            <a:rPr lang="zh-CN" altLang="en-US" dirty="0" smtClean="0"/>
            <a:t>基本概念</a:t>
          </a:r>
          <a:endParaRPr lang="zh-CN" altLang="en-US" dirty="0"/>
        </a:p>
      </dgm:t>
    </dgm:pt>
    <dgm:pt modelId="{9EA32CE1-D8A2-4E8B-81C7-8F10438D1832}" type="parTrans" cxnId="{2A193F92-CC71-4638-B52A-855229CA5623}">
      <dgm:prSet/>
      <dgm:spPr/>
      <dgm:t>
        <a:bodyPr/>
        <a:lstStyle/>
        <a:p>
          <a:endParaRPr lang="zh-CN" altLang="en-US"/>
        </a:p>
      </dgm:t>
    </dgm:pt>
    <dgm:pt modelId="{EF346513-9E64-4D9A-8CFE-A946E1E59948}" type="sibTrans" cxnId="{2A193F92-CC71-4638-B52A-855229CA5623}">
      <dgm:prSet/>
      <dgm:spPr/>
      <dgm:t>
        <a:bodyPr/>
        <a:lstStyle/>
        <a:p>
          <a:endParaRPr lang="zh-CN" altLang="en-US"/>
        </a:p>
      </dgm:t>
    </dgm:pt>
    <dgm:pt modelId="{FBB8BA5C-F9FF-43BA-B78A-6518222E5799}">
      <dgm:prSet phldrT="[文本]"/>
      <dgm:spPr/>
      <dgm:t>
        <a:bodyPr/>
        <a:lstStyle/>
        <a:p>
          <a:r>
            <a:rPr lang="zh-CN" altLang="en-US" dirty="0" smtClean="0"/>
            <a:t>执行标准</a:t>
          </a:r>
          <a:endParaRPr lang="zh-CN" altLang="en-US" dirty="0"/>
        </a:p>
      </dgm:t>
    </dgm:pt>
    <dgm:pt modelId="{AAF54C44-CE71-4335-9600-2AC4B663B336}" type="parTrans" cxnId="{05C76C78-DF03-440E-A293-FCC8F27BA524}">
      <dgm:prSet/>
      <dgm:spPr/>
      <dgm:t>
        <a:bodyPr/>
        <a:lstStyle/>
        <a:p>
          <a:endParaRPr lang="zh-CN" altLang="en-US"/>
        </a:p>
      </dgm:t>
    </dgm:pt>
    <dgm:pt modelId="{2BF958ED-7922-4CD3-8A52-787D697CE255}" type="sibTrans" cxnId="{05C76C78-DF03-440E-A293-FCC8F27BA524}">
      <dgm:prSet/>
      <dgm:spPr/>
      <dgm:t>
        <a:bodyPr/>
        <a:lstStyle/>
        <a:p>
          <a:endParaRPr lang="zh-CN" altLang="en-US"/>
        </a:p>
      </dgm:t>
    </dgm:pt>
    <dgm:pt modelId="{AA25BE08-D6AF-4CFF-AB84-A4D423E7ADF4}">
      <dgm:prSet phldrT="[文本]"/>
      <dgm:spPr/>
      <dgm:t>
        <a:bodyPr/>
        <a:lstStyle/>
        <a:p>
          <a:r>
            <a:rPr lang="zh-CN" altLang="en-US" dirty="0" smtClean="0"/>
            <a:t>行为轨迹</a:t>
          </a:r>
          <a:endParaRPr lang="zh-CN" altLang="en-US" dirty="0"/>
        </a:p>
      </dgm:t>
    </dgm:pt>
    <dgm:pt modelId="{B405BA85-D3B2-4D49-8197-A85223D8BE57}" type="parTrans" cxnId="{30572E9E-A97E-409D-B1CF-73233EE79658}">
      <dgm:prSet/>
      <dgm:spPr/>
      <dgm:t>
        <a:bodyPr/>
        <a:lstStyle/>
        <a:p>
          <a:endParaRPr lang="zh-CN" altLang="en-US"/>
        </a:p>
      </dgm:t>
    </dgm:pt>
    <dgm:pt modelId="{099E032A-8D16-4615-85C9-7688EE98D15F}" type="sibTrans" cxnId="{30572E9E-A97E-409D-B1CF-73233EE79658}">
      <dgm:prSet/>
      <dgm:spPr/>
      <dgm:t>
        <a:bodyPr/>
        <a:lstStyle/>
        <a:p>
          <a:endParaRPr lang="zh-CN" altLang="en-US"/>
        </a:p>
      </dgm:t>
    </dgm:pt>
    <dgm:pt modelId="{223902B9-C41C-4CA3-8D01-5B0BDFC4F67B}" type="pres">
      <dgm:prSet presAssocID="{8283D147-7FB5-4743-B830-5C9104459F20}" presName="rootnode" presStyleCnt="0">
        <dgm:presLayoutVars>
          <dgm:chMax/>
          <dgm:chPref/>
          <dgm:dir/>
          <dgm:animLvl val="lvl"/>
        </dgm:presLayoutVars>
      </dgm:prSet>
      <dgm:spPr/>
      <dgm:t>
        <a:bodyPr/>
        <a:lstStyle/>
        <a:p>
          <a:endParaRPr lang="zh-CN" altLang="en-US"/>
        </a:p>
      </dgm:t>
    </dgm:pt>
    <dgm:pt modelId="{5BFA1F0B-AB05-4D95-B01C-1E2CDEF92491}" type="pres">
      <dgm:prSet presAssocID="{A31F34B5-96C1-4E3D-816A-F47747DD2059}" presName="composite" presStyleCnt="0"/>
      <dgm:spPr/>
    </dgm:pt>
    <dgm:pt modelId="{8CE485A3-ADB8-4477-BB2A-FE8C9741B4C0}" type="pres">
      <dgm:prSet presAssocID="{A31F34B5-96C1-4E3D-816A-F47747DD2059}" presName="LShape" presStyleLbl="alignNode1" presStyleIdx="0" presStyleCnt="5"/>
      <dgm:spPr/>
    </dgm:pt>
    <dgm:pt modelId="{3FA00C96-56DA-48A3-A9C2-A3BD97D5EC26}" type="pres">
      <dgm:prSet presAssocID="{A31F34B5-96C1-4E3D-816A-F47747DD2059}" presName="ParentText" presStyleLbl="revTx" presStyleIdx="0" presStyleCnt="3">
        <dgm:presLayoutVars>
          <dgm:chMax val="0"/>
          <dgm:chPref val="0"/>
          <dgm:bulletEnabled val="1"/>
        </dgm:presLayoutVars>
      </dgm:prSet>
      <dgm:spPr/>
      <dgm:t>
        <a:bodyPr/>
        <a:lstStyle/>
        <a:p>
          <a:endParaRPr lang="zh-CN" altLang="en-US"/>
        </a:p>
      </dgm:t>
    </dgm:pt>
    <dgm:pt modelId="{08594277-1F78-453C-85A7-7801FC1C8DF3}" type="pres">
      <dgm:prSet presAssocID="{A31F34B5-96C1-4E3D-816A-F47747DD2059}" presName="Triangle" presStyleLbl="alignNode1" presStyleIdx="1" presStyleCnt="5"/>
      <dgm:spPr/>
    </dgm:pt>
    <dgm:pt modelId="{A9A068A8-47B9-46C0-BEA7-E21CF5002B83}" type="pres">
      <dgm:prSet presAssocID="{EF346513-9E64-4D9A-8CFE-A946E1E59948}" presName="sibTrans" presStyleCnt="0"/>
      <dgm:spPr/>
    </dgm:pt>
    <dgm:pt modelId="{DDD309AA-D589-47AE-A99D-C129FE7BE863}" type="pres">
      <dgm:prSet presAssocID="{EF346513-9E64-4D9A-8CFE-A946E1E59948}" presName="space" presStyleCnt="0"/>
      <dgm:spPr/>
    </dgm:pt>
    <dgm:pt modelId="{D9FFD5B5-33CC-4A83-9ED3-EFA319376DE0}" type="pres">
      <dgm:prSet presAssocID="{FBB8BA5C-F9FF-43BA-B78A-6518222E5799}" presName="composite" presStyleCnt="0"/>
      <dgm:spPr/>
    </dgm:pt>
    <dgm:pt modelId="{889AC036-2352-47AC-849C-CF35CFF4D217}" type="pres">
      <dgm:prSet presAssocID="{FBB8BA5C-F9FF-43BA-B78A-6518222E5799}" presName="LShape" presStyleLbl="alignNode1" presStyleIdx="2" presStyleCnt="5"/>
      <dgm:spPr/>
    </dgm:pt>
    <dgm:pt modelId="{8306DB82-4BF7-4A90-99C7-D156B7FF749D}" type="pres">
      <dgm:prSet presAssocID="{FBB8BA5C-F9FF-43BA-B78A-6518222E5799}" presName="ParentText" presStyleLbl="revTx" presStyleIdx="1" presStyleCnt="3">
        <dgm:presLayoutVars>
          <dgm:chMax val="0"/>
          <dgm:chPref val="0"/>
          <dgm:bulletEnabled val="1"/>
        </dgm:presLayoutVars>
      </dgm:prSet>
      <dgm:spPr/>
      <dgm:t>
        <a:bodyPr/>
        <a:lstStyle/>
        <a:p>
          <a:endParaRPr lang="zh-CN" altLang="en-US"/>
        </a:p>
      </dgm:t>
    </dgm:pt>
    <dgm:pt modelId="{65FD7970-AB3B-4A5A-B182-A33020053364}" type="pres">
      <dgm:prSet presAssocID="{FBB8BA5C-F9FF-43BA-B78A-6518222E5799}" presName="Triangle" presStyleLbl="alignNode1" presStyleIdx="3" presStyleCnt="5"/>
      <dgm:spPr/>
    </dgm:pt>
    <dgm:pt modelId="{3EC0A5BB-D763-4214-A4E2-54834351C49D}" type="pres">
      <dgm:prSet presAssocID="{2BF958ED-7922-4CD3-8A52-787D697CE255}" presName="sibTrans" presStyleCnt="0"/>
      <dgm:spPr/>
    </dgm:pt>
    <dgm:pt modelId="{9E9A4B5D-71B3-43B2-83BB-863969F929CE}" type="pres">
      <dgm:prSet presAssocID="{2BF958ED-7922-4CD3-8A52-787D697CE255}" presName="space" presStyleCnt="0"/>
      <dgm:spPr/>
    </dgm:pt>
    <dgm:pt modelId="{AC54A60F-C5A3-4360-8287-E4E2783515F8}" type="pres">
      <dgm:prSet presAssocID="{AA25BE08-D6AF-4CFF-AB84-A4D423E7ADF4}" presName="composite" presStyleCnt="0"/>
      <dgm:spPr/>
    </dgm:pt>
    <dgm:pt modelId="{47E37AAE-C98A-4E36-B675-36076296FDB2}" type="pres">
      <dgm:prSet presAssocID="{AA25BE08-D6AF-4CFF-AB84-A4D423E7ADF4}" presName="LShape" presStyleLbl="alignNode1" presStyleIdx="4" presStyleCnt="5"/>
      <dgm:spPr/>
    </dgm:pt>
    <dgm:pt modelId="{6018DD6B-6C51-47FF-951D-5CCE0DA91F58}" type="pres">
      <dgm:prSet presAssocID="{AA25BE08-D6AF-4CFF-AB84-A4D423E7ADF4}" presName="ParentText" presStyleLbl="revTx" presStyleIdx="2" presStyleCnt="3">
        <dgm:presLayoutVars>
          <dgm:chMax val="0"/>
          <dgm:chPref val="0"/>
          <dgm:bulletEnabled val="1"/>
        </dgm:presLayoutVars>
      </dgm:prSet>
      <dgm:spPr/>
      <dgm:t>
        <a:bodyPr/>
        <a:lstStyle/>
        <a:p>
          <a:endParaRPr lang="zh-CN" altLang="en-US"/>
        </a:p>
      </dgm:t>
    </dgm:pt>
  </dgm:ptLst>
  <dgm:cxnLst>
    <dgm:cxn modelId="{F6447FBC-21B4-41F3-A7B7-51946B06E5A5}" type="presOf" srcId="{FBB8BA5C-F9FF-43BA-B78A-6518222E5799}" destId="{8306DB82-4BF7-4A90-99C7-D156B7FF749D}" srcOrd="0" destOrd="0" presId="urn:microsoft.com/office/officeart/2009/3/layout/StepUpProcess"/>
    <dgm:cxn modelId="{B76D8135-35BB-4E04-8937-3E3C393714E2}" type="presOf" srcId="{8283D147-7FB5-4743-B830-5C9104459F20}" destId="{223902B9-C41C-4CA3-8D01-5B0BDFC4F67B}" srcOrd="0" destOrd="0" presId="urn:microsoft.com/office/officeart/2009/3/layout/StepUpProcess"/>
    <dgm:cxn modelId="{05C76C78-DF03-440E-A293-FCC8F27BA524}" srcId="{8283D147-7FB5-4743-B830-5C9104459F20}" destId="{FBB8BA5C-F9FF-43BA-B78A-6518222E5799}" srcOrd="1" destOrd="0" parTransId="{AAF54C44-CE71-4335-9600-2AC4B663B336}" sibTransId="{2BF958ED-7922-4CD3-8A52-787D697CE255}"/>
    <dgm:cxn modelId="{59D509CF-ABCC-4B49-BD8C-20A955D940F0}" type="presOf" srcId="{AA25BE08-D6AF-4CFF-AB84-A4D423E7ADF4}" destId="{6018DD6B-6C51-47FF-951D-5CCE0DA91F58}" srcOrd="0" destOrd="0" presId="urn:microsoft.com/office/officeart/2009/3/layout/StepUpProcess"/>
    <dgm:cxn modelId="{30572E9E-A97E-409D-B1CF-73233EE79658}" srcId="{8283D147-7FB5-4743-B830-5C9104459F20}" destId="{AA25BE08-D6AF-4CFF-AB84-A4D423E7ADF4}" srcOrd="2" destOrd="0" parTransId="{B405BA85-D3B2-4D49-8197-A85223D8BE57}" sibTransId="{099E032A-8D16-4615-85C9-7688EE98D15F}"/>
    <dgm:cxn modelId="{E8AF6D4E-8198-49FC-96B7-DCEF22970D66}" type="presOf" srcId="{A31F34B5-96C1-4E3D-816A-F47747DD2059}" destId="{3FA00C96-56DA-48A3-A9C2-A3BD97D5EC26}" srcOrd="0" destOrd="0" presId="urn:microsoft.com/office/officeart/2009/3/layout/StepUpProcess"/>
    <dgm:cxn modelId="{2A193F92-CC71-4638-B52A-855229CA5623}" srcId="{8283D147-7FB5-4743-B830-5C9104459F20}" destId="{A31F34B5-96C1-4E3D-816A-F47747DD2059}" srcOrd="0" destOrd="0" parTransId="{9EA32CE1-D8A2-4E8B-81C7-8F10438D1832}" sibTransId="{EF346513-9E64-4D9A-8CFE-A946E1E59948}"/>
    <dgm:cxn modelId="{1C7A50BE-3381-4FE0-A374-7C5173175197}" type="presParOf" srcId="{223902B9-C41C-4CA3-8D01-5B0BDFC4F67B}" destId="{5BFA1F0B-AB05-4D95-B01C-1E2CDEF92491}" srcOrd="0" destOrd="0" presId="urn:microsoft.com/office/officeart/2009/3/layout/StepUpProcess"/>
    <dgm:cxn modelId="{84773B6D-8A1D-49DC-A342-44EDD33488FF}" type="presParOf" srcId="{5BFA1F0B-AB05-4D95-B01C-1E2CDEF92491}" destId="{8CE485A3-ADB8-4477-BB2A-FE8C9741B4C0}" srcOrd="0" destOrd="0" presId="urn:microsoft.com/office/officeart/2009/3/layout/StepUpProcess"/>
    <dgm:cxn modelId="{76AF1AD0-C172-45A7-9089-C04E42E2B5B1}" type="presParOf" srcId="{5BFA1F0B-AB05-4D95-B01C-1E2CDEF92491}" destId="{3FA00C96-56DA-48A3-A9C2-A3BD97D5EC26}" srcOrd="1" destOrd="0" presId="urn:microsoft.com/office/officeart/2009/3/layout/StepUpProcess"/>
    <dgm:cxn modelId="{BF182576-675E-4A47-9061-F03B88734656}" type="presParOf" srcId="{5BFA1F0B-AB05-4D95-B01C-1E2CDEF92491}" destId="{08594277-1F78-453C-85A7-7801FC1C8DF3}" srcOrd="2" destOrd="0" presId="urn:microsoft.com/office/officeart/2009/3/layout/StepUpProcess"/>
    <dgm:cxn modelId="{326AB276-DF0F-4C13-8D38-518631F688C2}" type="presParOf" srcId="{223902B9-C41C-4CA3-8D01-5B0BDFC4F67B}" destId="{A9A068A8-47B9-46C0-BEA7-E21CF5002B83}" srcOrd="1" destOrd="0" presId="urn:microsoft.com/office/officeart/2009/3/layout/StepUpProcess"/>
    <dgm:cxn modelId="{EAC6403D-365A-4FD4-B909-5F4582C9A5B9}" type="presParOf" srcId="{A9A068A8-47B9-46C0-BEA7-E21CF5002B83}" destId="{DDD309AA-D589-47AE-A99D-C129FE7BE863}" srcOrd="0" destOrd="0" presId="urn:microsoft.com/office/officeart/2009/3/layout/StepUpProcess"/>
    <dgm:cxn modelId="{C08B42DB-9059-4F16-96CD-EBE7EFF8524D}" type="presParOf" srcId="{223902B9-C41C-4CA3-8D01-5B0BDFC4F67B}" destId="{D9FFD5B5-33CC-4A83-9ED3-EFA319376DE0}" srcOrd="2" destOrd="0" presId="urn:microsoft.com/office/officeart/2009/3/layout/StepUpProcess"/>
    <dgm:cxn modelId="{0D440922-512F-4F70-AF87-55581EF36FCE}" type="presParOf" srcId="{D9FFD5B5-33CC-4A83-9ED3-EFA319376DE0}" destId="{889AC036-2352-47AC-849C-CF35CFF4D217}" srcOrd="0" destOrd="0" presId="urn:microsoft.com/office/officeart/2009/3/layout/StepUpProcess"/>
    <dgm:cxn modelId="{51FE79C8-54B6-4E10-A9CF-D20268EEA228}" type="presParOf" srcId="{D9FFD5B5-33CC-4A83-9ED3-EFA319376DE0}" destId="{8306DB82-4BF7-4A90-99C7-D156B7FF749D}" srcOrd="1" destOrd="0" presId="urn:microsoft.com/office/officeart/2009/3/layout/StepUpProcess"/>
    <dgm:cxn modelId="{2821E650-E11E-48D2-8377-5D676C6C6A5C}" type="presParOf" srcId="{D9FFD5B5-33CC-4A83-9ED3-EFA319376DE0}" destId="{65FD7970-AB3B-4A5A-B182-A33020053364}" srcOrd="2" destOrd="0" presId="urn:microsoft.com/office/officeart/2009/3/layout/StepUpProcess"/>
    <dgm:cxn modelId="{87F7BB8D-64F2-45CF-A6D5-9BB6A9B7427B}" type="presParOf" srcId="{223902B9-C41C-4CA3-8D01-5B0BDFC4F67B}" destId="{3EC0A5BB-D763-4214-A4E2-54834351C49D}" srcOrd="3" destOrd="0" presId="urn:microsoft.com/office/officeart/2009/3/layout/StepUpProcess"/>
    <dgm:cxn modelId="{440F7E88-72A7-4E20-B103-6257E60D89F3}" type="presParOf" srcId="{3EC0A5BB-D763-4214-A4E2-54834351C49D}" destId="{9E9A4B5D-71B3-43B2-83BB-863969F929CE}" srcOrd="0" destOrd="0" presId="urn:microsoft.com/office/officeart/2009/3/layout/StepUpProcess"/>
    <dgm:cxn modelId="{4896772B-3B30-4019-944D-358170E23812}" type="presParOf" srcId="{223902B9-C41C-4CA3-8D01-5B0BDFC4F67B}" destId="{AC54A60F-C5A3-4360-8287-E4E2783515F8}" srcOrd="4" destOrd="0" presId="urn:microsoft.com/office/officeart/2009/3/layout/StepUpProcess"/>
    <dgm:cxn modelId="{0BF50736-1207-4ACD-AB14-71E4FC1B34FD}" type="presParOf" srcId="{AC54A60F-C5A3-4360-8287-E4E2783515F8}" destId="{47E37AAE-C98A-4E36-B675-36076296FDB2}" srcOrd="0" destOrd="0" presId="urn:microsoft.com/office/officeart/2009/3/layout/StepUpProcess"/>
    <dgm:cxn modelId="{659393E5-3847-49A1-AAB5-277CB5AE7CD4}" type="presParOf" srcId="{AC54A60F-C5A3-4360-8287-E4E2783515F8}" destId="{6018DD6B-6C51-47FF-951D-5CCE0DA91F58}"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F5686C3C-C354-4CD8-A5BE-B3C98D101899}" type="doc">
      <dgm:prSet loTypeId="urn:microsoft.com/office/officeart/2005/8/layout/target1" loCatId="relationship" qsTypeId="urn:microsoft.com/office/officeart/2005/8/quickstyle/simple1" qsCatId="simple" csTypeId="urn:microsoft.com/office/officeart/2005/8/colors/accent1_2" csCatId="accent1" phldr="1"/>
      <dgm:spPr/>
    </dgm:pt>
    <dgm:pt modelId="{5DA01C0C-ABF3-4D8D-A657-1D4C98F93F8F}">
      <dgm:prSet phldrT="[文本]"/>
      <dgm:spPr/>
      <dgm:t>
        <a:bodyPr/>
        <a:lstStyle/>
        <a:p>
          <a:r>
            <a:rPr lang="zh-CN" altLang="en-US" dirty="0" smtClean="0"/>
            <a:t>安全漏洞</a:t>
          </a:r>
          <a:endParaRPr lang="zh-CN" altLang="en-US" dirty="0"/>
        </a:p>
      </dgm:t>
    </dgm:pt>
    <dgm:pt modelId="{2118B76F-B188-48A2-9735-FB7344461164}" type="parTrans" cxnId="{42A8AAA3-D8A2-45D8-A4F2-55CF03AD5913}">
      <dgm:prSet/>
      <dgm:spPr/>
      <dgm:t>
        <a:bodyPr/>
        <a:lstStyle/>
        <a:p>
          <a:endParaRPr lang="zh-CN" altLang="en-US"/>
        </a:p>
      </dgm:t>
    </dgm:pt>
    <dgm:pt modelId="{0AEA0BC7-49BF-4AC2-886C-C3637E75207A}" type="sibTrans" cxnId="{42A8AAA3-D8A2-45D8-A4F2-55CF03AD5913}">
      <dgm:prSet/>
      <dgm:spPr/>
      <dgm:t>
        <a:bodyPr/>
        <a:lstStyle/>
        <a:p>
          <a:endParaRPr lang="zh-CN" altLang="en-US"/>
        </a:p>
      </dgm:t>
    </dgm:pt>
    <dgm:pt modelId="{AB0356EF-5447-4BD7-A61F-5E9964FE8229}">
      <dgm:prSet phldrT="[文本]"/>
      <dgm:spPr/>
      <dgm:t>
        <a:bodyPr/>
        <a:lstStyle/>
        <a:p>
          <a:r>
            <a:rPr lang="zh-CN" altLang="en-US" dirty="0" smtClean="0"/>
            <a:t>黑客入侵</a:t>
          </a:r>
          <a:endParaRPr lang="zh-CN" altLang="en-US" dirty="0"/>
        </a:p>
      </dgm:t>
    </dgm:pt>
    <dgm:pt modelId="{6113B339-C6E2-47B7-A006-0CF2B92CEFC7}" type="parTrans" cxnId="{1005A99A-A7CA-4A01-A4AA-4AE128888339}">
      <dgm:prSet/>
      <dgm:spPr/>
      <dgm:t>
        <a:bodyPr/>
        <a:lstStyle/>
        <a:p>
          <a:endParaRPr lang="zh-CN" altLang="en-US"/>
        </a:p>
      </dgm:t>
    </dgm:pt>
    <dgm:pt modelId="{0A183B14-454F-42F2-ADDA-3A1F463EA4B3}" type="sibTrans" cxnId="{1005A99A-A7CA-4A01-A4AA-4AE128888339}">
      <dgm:prSet/>
      <dgm:spPr/>
      <dgm:t>
        <a:bodyPr/>
        <a:lstStyle/>
        <a:p>
          <a:endParaRPr lang="zh-CN" altLang="en-US"/>
        </a:p>
      </dgm:t>
    </dgm:pt>
    <dgm:pt modelId="{A0EE5F83-FD28-44EA-AFCD-49FD3EDF88EB}">
      <dgm:prSet phldrT="[文本]"/>
      <dgm:spPr/>
      <dgm:t>
        <a:bodyPr/>
        <a:lstStyle/>
        <a:p>
          <a:r>
            <a:rPr lang="zh-CN" altLang="en-US" dirty="0" smtClean="0"/>
            <a:t>渗透测试</a:t>
          </a:r>
          <a:endParaRPr lang="zh-CN" altLang="en-US" dirty="0"/>
        </a:p>
      </dgm:t>
    </dgm:pt>
    <dgm:pt modelId="{1830CC18-6A07-403F-A79C-C5899BF2F1A4}" type="parTrans" cxnId="{ACE3A9FE-C5AB-4C6E-AD9B-54F39F4BF55D}">
      <dgm:prSet/>
      <dgm:spPr/>
      <dgm:t>
        <a:bodyPr/>
        <a:lstStyle/>
        <a:p>
          <a:endParaRPr lang="zh-CN" altLang="en-US"/>
        </a:p>
      </dgm:t>
    </dgm:pt>
    <dgm:pt modelId="{5AC17534-A4C8-4478-9F02-B1C4239E17F8}" type="sibTrans" cxnId="{ACE3A9FE-C5AB-4C6E-AD9B-54F39F4BF55D}">
      <dgm:prSet/>
      <dgm:spPr/>
      <dgm:t>
        <a:bodyPr/>
        <a:lstStyle/>
        <a:p>
          <a:endParaRPr lang="zh-CN" altLang="en-US"/>
        </a:p>
      </dgm:t>
    </dgm:pt>
    <dgm:pt modelId="{89C3908F-39D8-4AA1-8386-9ED3E5039DB7}" type="pres">
      <dgm:prSet presAssocID="{F5686C3C-C354-4CD8-A5BE-B3C98D101899}" presName="composite" presStyleCnt="0">
        <dgm:presLayoutVars>
          <dgm:chMax val="5"/>
          <dgm:dir/>
          <dgm:resizeHandles val="exact"/>
        </dgm:presLayoutVars>
      </dgm:prSet>
      <dgm:spPr/>
    </dgm:pt>
    <dgm:pt modelId="{6E089E9E-6491-443D-9514-7FD192476728}" type="pres">
      <dgm:prSet presAssocID="{5DA01C0C-ABF3-4D8D-A657-1D4C98F93F8F}" presName="circle1" presStyleLbl="lnNode1" presStyleIdx="0" presStyleCnt="3"/>
      <dgm:spPr/>
    </dgm:pt>
    <dgm:pt modelId="{D916C198-9888-4A76-94B2-947A7462813D}" type="pres">
      <dgm:prSet presAssocID="{5DA01C0C-ABF3-4D8D-A657-1D4C98F93F8F}" presName="text1" presStyleLbl="revTx" presStyleIdx="0" presStyleCnt="3" custScaleX="116232">
        <dgm:presLayoutVars>
          <dgm:bulletEnabled val="1"/>
        </dgm:presLayoutVars>
      </dgm:prSet>
      <dgm:spPr/>
      <dgm:t>
        <a:bodyPr/>
        <a:lstStyle/>
        <a:p>
          <a:endParaRPr lang="zh-CN" altLang="en-US"/>
        </a:p>
      </dgm:t>
    </dgm:pt>
    <dgm:pt modelId="{D3F20355-40D3-4D15-B26B-E66FF96BCFC2}" type="pres">
      <dgm:prSet presAssocID="{5DA01C0C-ABF3-4D8D-A657-1D4C98F93F8F}" presName="line1" presStyleLbl="callout" presStyleIdx="0" presStyleCnt="6"/>
      <dgm:spPr/>
    </dgm:pt>
    <dgm:pt modelId="{FB23E7A9-62AC-4652-83E9-F3358839D0B4}" type="pres">
      <dgm:prSet presAssocID="{5DA01C0C-ABF3-4D8D-A657-1D4C98F93F8F}" presName="d1" presStyleLbl="callout" presStyleIdx="1" presStyleCnt="6"/>
      <dgm:spPr/>
    </dgm:pt>
    <dgm:pt modelId="{961C4771-2D30-4EC2-9194-C12C2546F994}" type="pres">
      <dgm:prSet presAssocID="{AB0356EF-5447-4BD7-A61F-5E9964FE8229}" presName="circle2" presStyleLbl="lnNode1" presStyleIdx="1" presStyleCnt="3"/>
      <dgm:spPr/>
    </dgm:pt>
    <dgm:pt modelId="{6AE9BD93-B445-4FC5-A406-BD1A861B1128}" type="pres">
      <dgm:prSet presAssocID="{AB0356EF-5447-4BD7-A61F-5E9964FE8229}" presName="text2" presStyleLbl="revTx" presStyleIdx="1" presStyleCnt="3" custScaleX="116232">
        <dgm:presLayoutVars>
          <dgm:bulletEnabled val="1"/>
        </dgm:presLayoutVars>
      </dgm:prSet>
      <dgm:spPr/>
      <dgm:t>
        <a:bodyPr/>
        <a:lstStyle/>
        <a:p>
          <a:endParaRPr lang="zh-CN" altLang="en-US"/>
        </a:p>
      </dgm:t>
    </dgm:pt>
    <dgm:pt modelId="{3F626D32-A356-401E-A15B-DEA1676A28D4}" type="pres">
      <dgm:prSet presAssocID="{AB0356EF-5447-4BD7-A61F-5E9964FE8229}" presName="line2" presStyleLbl="callout" presStyleIdx="2" presStyleCnt="6"/>
      <dgm:spPr/>
    </dgm:pt>
    <dgm:pt modelId="{13B4E82F-64AD-4761-A5A9-652DD892D6EC}" type="pres">
      <dgm:prSet presAssocID="{AB0356EF-5447-4BD7-A61F-5E9964FE8229}" presName="d2" presStyleLbl="callout" presStyleIdx="3" presStyleCnt="6"/>
      <dgm:spPr/>
    </dgm:pt>
    <dgm:pt modelId="{3B9A0865-576C-48F5-AE3D-A3294807C6B6}" type="pres">
      <dgm:prSet presAssocID="{A0EE5F83-FD28-44EA-AFCD-49FD3EDF88EB}" presName="circle3" presStyleLbl="lnNode1" presStyleIdx="2" presStyleCnt="3"/>
      <dgm:spPr/>
    </dgm:pt>
    <dgm:pt modelId="{233372D7-148A-4160-8E38-48D4B5E057F7}" type="pres">
      <dgm:prSet presAssocID="{A0EE5F83-FD28-44EA-AFCD-49FD3EDF88EB}" presName="text3" presStyleLbl="revTx" presStyleIdx="2" presStyleCnt="3" custScaleX="116232">
        <dgm:presLayoutVars>
          <dgm:bulletEnabled val="1"/>
        </dgm:presLayoutVars>
      </dgm:prSet>
      <dgm:spPr/>
      <dgm:t>
        <a:bodyPr/>
        <a:lstStyle/>
        <a:p>
          <a:endParaRPr lang="zh-CN" altLang="en-US"/>
        </a:p>
      </dgm:t>
    </dgm:pt>
    <dgm:pt modelId="{87D61ADE-4C94-4448-9C84-80E7247B183C}" type="pres">
      <dgm:prSet presAssocID="{A0EE5F83-FD28-44EA-AFCD-49FD3EDF88EB}" presName="line3" presStyleLbl="callout" presStyleIdx="4" presStyleCnt="6"/>
      <dgm:spPr/>
    </dgm:pt>
    <dgm:pt modelId="{70BB8BD7-0075-4EF9-8DCA-F26816BE55B7}" type="pres">
      <dgm:prSet presAssocID="{A0EE5F83-FD28-44EA-AFCD-49FD3EDF88EB}" presName="d3" presStyleLbl="callout" presStyleIdx="5" presStyleCnt="6"/>
      <dgm:spPr/>
    </dgm:pt>
  </dgm:ptLst>
  <dgm:cxnLst>
    <dgm:cxn modelId="{8FB49B56-4229-41E7-AD55-63E78663C883}" type="presOf" srcId="{A0EE5F83-FD28-44EA-AFCD-49FD3EDF88EB}" destId="{233372D7-148A-4160-8E38-48D4B5E057F7}" srcOrd="0" destOrd="0" presId="urn:microsoft.com/office/officeart/2005/8/layout/target1"/>
    <dgm:cxn modelId="{4830DAE1-CF8E-48F1-9A1D-A7DB9B9D5BE5}" type="presOf" srcId="{5DA01C0C-ABF3-4D8D-A657-1D4C98F93F8F}" destId="{D916C198-9888-4A76-94B2-947A7462813D}" srcOrd="0" destOrd="0" presId="urn:microsoft.com/office/officeart/2005/8/layout/target1"/>
    <dgm:cxn modelId="{0FBB9C17-9830-463F-8E90-6E1A2B1CA253}" type="presOf" srcId="{F5686C3C-C354-4CD8-A5BE-B3C98D101899}" destId="{89C3908F-39D8-4AA1-8386-9ED3E5039DB7}" srcOrd="0" destOrd="0" presId="urn:microsoft.com/office/officeart/2005/8/layout/target1"/>
    <dgm:cxn modelId="{1005A99A-A7CA-4A01-A4AA-4AE128888339}" srcId="{F5686C3C-C354-4CD8-A5BE-B3C98D101899}" destId="{AB0356EF-5447-4BD7-A61F-5E9964FE8229}" srcOrd="1" destOrd="0" parTransId="{6113B339-C6E2-47B7-A006-0CF2B92CEFC7}" sibTransId="{0A183B14-454F-42F2-ADDA-3A1F463EA4B3}"/>
    <dgm:cxn modelId="{42A8AAA3-D8A2-45D8-A4F2-55CF03AD5913}" srcId="{F5686C3C-C354-4CD8-A5BE-B3C98D101899}" destId="{5DA01C0C-ABF3-4D8D-A657-1D4C98F93F8F}" srcOrd="0" destOrd="0" parTransId="{2118B76F-B188-48A2-9735-FB7344461164}" sibTransId="{0AEA0BC7-49BF-4AC2-886C-C3637E75207A}"/>
    <dgm:cxn modelId="{3A92DF61-D9B2-432F-B886-CE2256030C81}" type="presOf" srcId="{AB0356EF-5447-4BD7-A61F-5E9964FE8229}" destId="{6AE9BD93-B445-4FC5-A406-BD1A861B1128}" srcOrd="0" destOrd="0" presId="urn:microsoft.com/office/officeart/2005/8/layout/target1"/>
    <dgm:cxn modelId="{ACE3A9FE-C5AB-4C6E-AD9B-54F39F4BF55D}" srcId="{F5686C3C-C354-4CD8-A5BE-B3C98D101899}" destId="{A0EE5F83-FD28-44EA-AFCD-49FD3EDF88EB}" srcOrd="2" destOrd="0" parTransId="{1830CC18-6A07-403F-A79C-C5899BF2F1A4}" sibTransId="{5AC17534-A4C8-4478-9F02-B1C4239E17F8}"/>
    <dgm:cxn modelId="{843635E2-BF70-49F2-B202-F9086688CD01}" type="presParOf" srcId="{89C3908F-39D8-4AA1-8386-9ED3E5039DB7}" destId="{6E089E9E-6491-443D-9514-7FD192476728}" srcOrd="0" destOrd="0" presId="urn:microsoft.com/office/officeart/2005/8/layout/target1"/>
    <dgm:cxn modelId="{99C70B94-1881-4946-AA68-805C5B5915D3}" type="presParOf" srcId="{89C3908F-39D8-4AA1-8386-9ED3E5039DB7}" destId="{D916C198-9888-4A76-94B2-947A7462813D}" srcOrd="1" destOrd="0" presId="urn:microsoft.com/office/officeart/2005/8/layout/target1"/>
    <dgm:cxn modelId="{CA93A39A-21EF-4D27-BC69-BA73FC7100AD}" type="presParOf" srcId="{89C3908F-39D8-4AA1-8386-9ED3E5039DB7}" destId="{D3F20355-40D3-4D15-B26B-E66FF96BCFC2}" srcOrd="2" destOrd="0" presId="urn:microsoft.com/office/officeart/2005/8/layout/target1"/>
    <dgm:cxn modelId="{0AC96CB6-C55C-43DD-9D47-B14E92567B9A}" type="presParOf" srcId="{89C3908F-39D8-4AA1-8386-9ED3E5039DB7}" destId="{FB23E7A9-62AC-4652-83E9-F3358839D0B4}" srcOrd="3" destOrd="0" presId="urn:microsoft.com/office/officeart/2005/8/layout/target1"/>
    <dgm:cxn modelId="{480F7006-E629-4B91-AE28-7CA6BF34C00D}" type="presParOf" srcId="{89C3908F-39D8-4AA1-8386-9ED3E5039DB7}" destId="{961C4771-2D30-4EC2-9194-C12C2546F994}" srcOrd="4" destOrd="0" presId="urn:microsoft.com/office/officeart/2005/8/layout/target1"/>
    <dgm:cxn modelId="{4A1C3708-C2FE-47BD-B498-8BD148F5CB37}" type="presParOf" srcId="{89C3908F-39D8-4AA1-8386-9ED3E5039DB7}" destId="{6AE9BD93-B445-4FC5-A406-BD1A861B1128}" srcOrd="5" destOrd="0" presId="urn:microsoft.com/office/officeart/2005/8/layout/target1"/>
    <dgm:cxn modelId="{FE84A11C-4E94-4F60-BD04-A5C248EF6E1F}" type="presParOf" srcId="{89C3908F-39D8-4AA1-8386-9ED3E5039DB7}" destId="{3F626D32-A356-401E-A15B-DEA1676A28D4}" srcOrd="6" destOrd="0" presId="urn:microsoft.com/office/officeart/2005/8/layout/target1"/>
    <dgm:cxn modelId="{F7BD06E1-38B0-42D6-9A0E-D2132032AD8A}" type="presParOf" srcId="{89C3908F-39D8-4AA1-8386-9ED3E5039DB7}" destId="{13B4E82F-64AD-4761-A5A9-652DD892D6EC}" srcOrd="7" destOrd="0" presId="urn:microsoft.com/office/officeart/2005/8/layout/target1"/>
    <dgm:cxn modelId="{7A8435C0-D28E-41CB-8BB3-72043901C562}" type="presParOf" srcId="{89C3908F-39D8-4AA1-8386-9ED3E5039DB7}" destId="{3B9A0865-576C-48F5-AE3D-A3294807C6B6}" srcOrd="8" destOrd="0" presId="urn:microsoft.com/office/officeart/2005/8/layout/target1"/>
    <dgm:cxn modelId="{4A26AE06-C04C-4EF0-9FBD-4FE5EBEF2AA9}" type="presParOf" srcId="{89C3908F-39D8-4AA1-8386-9ED3E5039DB7}" destId="{233372D7-148A-4160-8E38-48D4B5E057F7}" srcOrd="9" destOrd="0" presId="urn:microsoft.com/office/officeart/2005/8/layout/target1"/>
    <dgm:cxn modelId="{10D76FF4-AA51-4016-8FC0-629F0BE44587}" type="presParOf" srcId="{89C3908F-39D8-4AA1-8386-9ED3E5039DB7}" destId="{87D61ADE-4C94-4448-9C84-80E7247B183C}" srcOrd="10" destOrd="0" presId="urn:microsoft.com/office/officeart/2005/8/layout/target1"/>
    <dgm:cxn modelId="{17B16CD9-487F-43D2-A1ED-0645748078D8}" type="presParOf" srcId="{89C3908F-39D8-4AA1-8386-9ED3E5039DB7}" destId="{70BB8BD7-0075-4EF9-8DCA-F26816BE55B7}" srcOrd="11" destOrd="0" presId="urn:microsoft.com/office/officeart/2005/8/layout/targe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8E3F925E-59BF-423C-8960-04EE98E5C72C}"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zh-CN" altLang="en-US"/>
        </a:p>
      </dgm:t>
    </dgm:pt>
    <dgm:pt modelId="{D4B4B312-5878-4746-8F10-728F2BDD1D7C}">
      <dgm:prSet phldrT="[文本]"/>
      <dgm:spPr/>
      <dgm:t>
        <a:bodyPr/>
        <a:lstStyle/>
        <a:p>
          <a:r>
            <a:rPr lang="zh-CN" altLang="en-US" dirty="0" smtClean="0"/>
            <a:t>渗透测试执行标准</a:t>
          </a:r>
          <a:endParaRPr lang="zh-CN" altLang="en-US" dirty="0"/>
        </a:p>
      </dgm:t>
    </dgm:pt>
    <dgm:pt modelId="{23858F22-9524-48E6-B9EA-137D8DCC9F6C}" type="parTrans" cxnId="{0FEB4DA9-3601-4C66-AE33-E44F6687C69F}">
      <dgm:prSet/>
      <dgm:spPr/>
      <dgm:t>
        <a:bodyPr/>
        <a:lstStyle/>
        <a:p>
          <a:endParaRPr lang="zh-CN" altLang="en-US"/>
        </a:p>
      </dgm:t>
    </dgm:pt>
    <dgm:pt modelId="{92EE2E13-B3C7-4D33-B6E9-97C0558B4D6A}" type="sibTrans" cxnId="{0FEB4DA9-3601-4C66-AE33-E44F6687C69F}">
      <dgm:prSet/>
      <dgm:spPr/>
      <dgm:t>
        <a:bodyPr/>
        <a:lstStyle/>
        <a:p>
          <a:endParaRPr lang="zh-CN" altLang="en-US"/>
        </a:p>
      </dgm:t>
    </dgm:pt>
    <dgm:pt modelId="{F5B8A583-C5AA-4DB8-84F4-5AFB93C4AB43}">
      <dgm:prSet phldrT="[文本]"/>
      <dgm:spPr/>
      <dgm:t>
        <a:bodyPr/>
        <a:lstStyle/>
        <a:p>
          <a:r>
            <a:rPr lang="zh-CN" altLang="en-US" dirty="0" smtClean="0"/>
            <a:t>前期交互阶段</a:t>
          </a:r>
          <a:endParaRPr lang="zh-CN" altLang="en-US" dirty="0"/>
        </a:p>
      </dgm:t>
    </dgm:pt>
    <dgm:pt modelId="{499E56BA-CE75-4445-B7AE-3A778F0FF143}" type="parTrans" cxnId="{2A8F1B5A-2DE8-4601-B759-A7FA820CA476}">
      <dgm:prSet/>
      <dgm:spPr/>
      <dgm:t>
        <a:bodyPr/>
        <a:lstStyle/>
        <a:p>
          <a:endParaRPr lang="zh-CN" altLang="en-US"/>
        </a:p>
      </dgm:t>
    </dgm:pt>
    <dgm:pt modelId="{B4C1FFD3-B652-432F-8F8B-63445E912C71}" type="sibTrans" cxnId="{2A8F1B5A-2DE8-4601-B759-A7FA820CA476}">
      <dgm:prSet/>
      <dgm:spPr/>
      <dgm:t>
        <a:bodyPr/>
        <a:lstStyle/>
        <a:p>
          <a:endParaRPr lang="zh-CN" altLang="en-US"/>
        </a:p>
      </dgm:t>
    </dgm:pt>
    <dgm:pt modelId="{FAE8A8A0-7C55-47AB-B760-D87ACC5E3FA5}">
      <dgm:prSet phldrT="[文本]"/>
      <dgm:spPr/>
      <dgm:t>
        <a:bodyPr/>
        <a:lstStyle/>
        <a:p>
          <a:r>
            <a:rPr lang="zh-CN" altLang="en-US" dirty="0" smtClean="0"/>
            <a:t>情报搜集阶段</a:t>
          </a:r>
          <a:endParaRPr lang="zh-CN" altLang="en-US" dirty="0"/>
        </a:p>
      </dgm:t>
    </dgm:pt>
    <dgm:pt modelId="{0356D3BB-9599-4E0F-B597-3B1D4045B4CF}" type="parTrans" cxnId="{CAB8ECA8-D936-4C0A-B4C0-7A9C1F180E9A}">
      <dgm:prSet/>
      <dgm:spPr/>
      <dgm:t>
        <a:bodyPr/>
        <a:lstStyle/>
        <a:p>
          <a:endParaRPr lang="zh-CN" altLang="en-US"/>
        </a:p>
      </dgm:t>
    </dgm:pt>
    <dgm:pt modelId="{F82DF28C-C770-4B88-94B2-BA286EC566F3}" type="sibTrans" cxnId="{CAB8ECA8-D936-4C0A-B4C0-7A9C1F180E9A}">
      <dgm:prSet/>
      <dgm:spPr/>
      <dgm:t>
        <a:bodyPr/>
        <a:lstStyle/>
        <a:p>
          <a:endParaRPr lang="zh-CN" altLang="en-US"/>
        </a:p>
      </dgm:t>
    </dgm:pt>
    <dgm:pt modelId="{319C5AA9-B74E-4842-98B9-C39B58B2AEA7}">
      <dgm:prSet phldrT="[文本]"/>
      <dgm:spPr/>
      <dgm:t>
        <a:bodyPr/>
        <a:lstStyle/>
        <a:p>
          <a:r>
            <a:rPr lang="zh-CN" altLang="en-US" dirty="0" smtClean="0"/>
            <a:t>常规内容</a:t>
          </a:r>
          <a:endParaRPr lang="zh-CN" altLang="en-US" dirty="0"/>
        </a:p>
      </dgm:t>
    </dgm:pt>
    <dgm:pt modelId="{CDBCE171-B32E-461A-BF7D-955BF2605C92}" type="parTrans" cxnId="{D3919BA8-3D94-482B-900C-3B03C191D61F}">
      <dgm:prSet/>
      <dgm:spPr/>
      <dgm:t>
        <a:bodyPr/>
        <a:lstStyle/>
        <a:p>
          <a:endParaRPr lang="zh-CN" altLang="en-US"/>
        </a:p>
      </dgm:t>
    </dgm:pt>
    <dgm:pt modelId="{B6C9FB36-77B9-4326-8A16-C65C16937AB8}" type="sibTrans" cxnId="{D3919BA8-3D94-482B-900C-3B03C191D61F}">
      <dgm:prSet/>
      <dgm:spPr/>
      <dgm:t>
        <a:bodyPr/>
        <a:lstStyle/>
        <a:p>
          <a:endParaRPr lang="zh-CN" altLang="en-US"/>
        </a:p>
      </dgm:t>
    </dgm:pt>
    <dgm:pt modelId="{A9C5B32F-678E-422F-9F0F-9B5F7AB4C2E2}">
      <dgm:prSet phldrT="[文本]"/>
      <dgm:spPr/>
      <dgm:t>
        <a:bodyPr/>
        <a:lstStyle/>
        <a:p>
          <a:r>
            <a:rPr lang="zh-CN" altLang="en-US" dirty="0" smtClean="0"/>
            <a:t>准备工作</a:t>
          </a:r>
          <a:endParaRPr lang="zh-CN" altLang="en-US" dirty="0"/>
        </a:p>
      </dgm:t>
    </dgm:pt>
    <dgm:pt modelId="{A655ECB0-258B-426C-9B88-5BB82642A55D}" type="parTrans" cxnId="{2D769DEE-E816-48E6-8D41-A23324331FCE}">
      <dgm:prSet/>
      <dgm:spPr/>
      <dgm:t>
        <a:bodyPr/>
        <a:lstStyle/>
        <a:p>
          <a:endParaRPr lang="zh-CN" altLang="en-US"/>
        </a:p>
      </dgm:t>
    </dgm:pt>
    <dgm:pt modelId="{6BE967DE-C4A0-4B7C-BE3B-0348FC96945B}" type="sibTrans" cxnId="{2D769DEE-E816-48E6-8D41-A23324331FCE}">
      <dgm:prSet/>
      <dgm:spPr/>
      <dgm:t>
        <a:bodyPr/>
        <a:lstStyle/>
        <a:p>
          <a:endParaRPr lang="zh-CN" altLang="en-US"/>
        </a:p>
      </dgm:t>
    </dgm:pt>
    <dgm:pt modelId="{ED4855BF-AC40-4608-8783-3755D58CD56E}">
      <dgm:prSet phldrT="[文本]"/>
      <dgm:spPr/>
      <dgm:t>
        <a:bodyPr/>
        <a:lstStyle/>
        <a:p>
          <a:r>
            <a:rPr lang="zh-CN" altLang="en-US" dirty="0" smtClean="0"/>
            <a:t>侦查工作</a:t>
          </a:r>
          <a:endParaRPr lang="en-US" altLang="zh-CN" dirty="0" smtClean="0"/>
        </a:p>
      </dgm:t>
    </dgm:pt>
    <dgm:pt modelId="{417F9AFE-9409-42C1-ACDA-E43D5422A0DE}" type="parTrans" cxnId="{16E04E2E-DE48-4A0C-8388-0BE5B3BC4AA6}">
      <dgm:prSet/>
      <dgm:spPr/>
      <dgm:t>
        <a:bodyPr/>
        <a:lstStyle/>
        <a:p>
          <a:endParaRPr lang="zh-CN" altLang="en-US"/>
        </a:p>
      </dgm:t>
    </dgm:pt>
    <dgm:pt modelId="{6C1864EE-5C3E-4EB1-B445-BAF5DD1C77A8}" type="sibTrans" cxnId="{16E04E2E-DE48-4A0C-8388-0BE5B3BC4AA6}">
      <dgm:prSet/>
      <dgm:spPr/>
      <dgm:t>
        <a:bodyPr/>
        <a:lstStyle/>
        <a:p>
          <a:endParaRPr lang="zh-CN" altLang="en-US"/>
        </a:p>
      </dgm:t>
    </dgm:pt>
    <dgm:pt modelId="{96E780F2-4EE0-4D30-9BDA-5BC129F17385}">
      <dgm:prSet phldrT="[文本]"/>
      <dgm:spPr/>
      <dgm:t>
        <a:bodyPr/>
        <a:lstStyle/>
        <a:p>
          <a:r>
            <a:rPr lang="zh-CN" altLang="en-US" dirty="0" smtClean="0"/>
            <a:t>攻击策划</a:t>
          </a:r>
          <a:endParaRPr lang="zh-CN" altLang="en-US" dirty="0"/>
        </a:p>
      </dgm:t>
    </dgm:pt>
    <dgm:pt modelId="{55D2AFA6-8189-47C3-9A25-25C4510A04B7}" type="parTrans" cxnId="{BBED930C-B330-47D2-AB96-F81FAC683915}">
      <dgm:prSet/>
      <dgm:spPr/>
      <dgm:t>
        <a:bodyPr/>
        <a:lstStyle/>
        <a:p>
          <a:endParaRPr lang="zh-CN" altLang="en-US"/>
        </a:p>
      </dgm:t>
    </dgm:pt>
    <dgm:pt modelId="{DC4D23FA-0959-45D0-B492-FDABC61BD8EE}" type="sibTrans" cxnId="{BBED930C-B330-47D2-AB96-F81FAC683915}">
      <dgm:prSet/>
      <dgm:spPr/>
      <dgm:t>
        <a:bodyPr/>
        <a:lstStyle/>
        <a:p>
          <a:endParaRPr lang="zh-CN" altLang="en-US"/>
        </a:p>
      </dgm:t>
    </dgm:pt>
    <dgm:pt modelId="{62E5142A-563A-4280-8D7A-37CC810B8303}">
      <dgm:prSet phldrT="[文本]"/>
      <dgm:spPr/>
      <dgm:t>
        <a:bodyPr/>
        <a:lstStyle/>
        <a:p>
          <a:r>
            <a:rPr lang="zh-CN" altLang="en-US" dirty="0" smtClean="0"/>
            <a:t>威胁建模阶段</a:t>
          </a:r>
          <a:endParaRPr lang="zh-CN" altLang="en-US" dirty="0"/>
        </a:p>
      </dgm:t>
    </dgm:pt>
    <dgm:pt modelId="{791903CB-0CA5-4F97-A540-9D9321FF64A6}" type="parTrans" cxnId="{ADF8E173-41A6-4CD6-82F9-30FAC739E275}">
      <dgm:prSet/>
      <dgm:spPr/>
      <dgm:t>
        <a:bodyPr/>
        <a:lstStyle/>
        <a:p>
          <a:endParaRPr lang="zh-CN" altLang="en-US"/>
        </a:p>
      </dgm:t>
    </dgm:pt>
    <dgm:pt modelId="{7FBB18E7-10FB-4420-B392-F95ECB19E2FA}" type="sibTrans" cxnId="{ADF8E173-41A6-4CD6-82F9-30FAC739E275}">
      <dgm:prSet/>
      <dgm:spPr/>
      <dgm:t>
        <a:bodyPr/>
        <a:lstStyle/>
        <a:p>
          <a:endParaRPr lang="zh-CN" altLang="en-US"/>
        </a:p>
      </dgm:t>
    </dgm:pt>
    <dgm:pt modelId="{4A61B614-AAB1-418A-B3DC-CAC498D73B22}">
      <dgm:prSet phldrT="[文本]"/>
      <dgm:spPr/>
      <dgm:t>
        <a:bodyPr/>
        <a:lstStyle/>
        <a:p>
          <a:r>
            <a:rPr lang="zh-CN" altLang="en-US" dirty="0" smtClean="0"/>
            <a:t>漏洞分析阶段</a:t>
          </a:r>
          <a:endParaRPr lang="zh-CN" altLang="en-US" dirty="0"/>
        </a:p>
      </dgm:t>
    </dgm:pt>
    <dgm:pt modelId="{40F11299-EF4A-4DFF-AEFE-3B2DF49F844E}" type="parTrans" cxnId="{948B2684-AED5-4FA4-AEF2-6B243D904172}">
      <dgm:prSet/>
      <dgm:spPr/>
      <dgm:t>
        <a:bodyPr/>
        <a:lstStyle/>
        <a:p>
          <a:endParaRPr lang="zh-CN" altLang="en-US"/>
        </a:p>
      </dgm:t>
    </dgm:pt>
    <dgm:pt modelId="{E82FC9D6-AD1C-4BBE-9951-681DC48D802D}" type="sibTrans" cxnId="{948B2684-AED5-4FA4-AEF2-6B243D904172}">
      <dgm:prSet/>
      <dgm:spPr/>
      <dgm:t>
        <a:bodyPr/>
        <a:lstStyle/>
        <a:p>
          <a:endParaRPr lang="zh-CN" altLang="en-US"/>
        </a:p>
      </dgm:t>
    </dgm:pt>
    <dgm:pt modelId="{AD53C972-53A7-4F4A-819A-23210ABB498A}">
      <dgm:prSet phldrT="[文本]"/>
      <dgm:spPr/>
      <dgm:t>
        <a:bodyPr/>
        <a:lstStyle/>
        <a:p>
          <a:r>
            <a:rPr lang="zh-CN" altLang="en-US" dirty="0" smtClean="0"/>
            <a:t>渗透攻击阶段</a:t>
          </a:r>
          <a:endParaRPr lang="zh-CN" altLang="en-US" dirty="0"/>
        </a:p>
      </dgm:t>
    </dgm:pt>
    <dgm:pt modelId="{781845CA-A6DA-4511-9E51-1E7B31490F2D}" type="parTrans" cxnId="{1AB7D93E-0D82-4DC7-84E8-25785988DCAC}">
      <dgm:prSet/>
      <dgm:spPr/>
      <dgm:t>
        <a:bodyPr/>
        <a:lstStyle/>
        <a:p>
          <a:endParaRPr lang="zh-CN" altLang="en-US"/>
        </a:p>
      </dgm:t>
    </dgm:pt>
    <dgm:pt modelId="{BEF64B17-4D5C-41D8-A1ED-C38B7DBD517A}" type="sibTrans" cxnId="{1AB7D93E-0D82-4DC7-84E8-25785988DCAC}">
      <dgm:prSet/>
      <dgm:spPr/>
      <dgm:t>
        <a:bodyPr/>
        <a:lstStyle/>
        <a:p>
          <a:endParaRPr lang="zh-CN" altLang="en-US"/>
        </a:p>
      </dgm:t>
    </dgm:pt>
    <dgm:pt modelId="{7F25486C-F097-4B0D-9B00-9EF00CDC4D88}">
      <dgm:prSet phldrT="[文本]"/>
      <dgm:spPr/>
      <dgm:t>
        <a:bodyPr/>
        <a:lstStyle/>
        <a:p>
          <a:r>
            <a:rPr lang="zh-CN" altLang="en-US" dirty="0" smtClean="0"/>
            <a:t>后渗透攻击阶段</a:t>
          </a:r>
          <a:endParaRPr lang="zh-CN" altLang="en-US" dirty="0"/>
        </a:p>
      </dgm:t>
    </dgm:pt>
    <dgm:pt modelId="{90E737C5-1811-4D1B-B0DB-A8E5CDA716C1}" type="parTrans" cxnId="{57F6E6B4-A017-4362-B59F-8476D937F479}">
      <dgm:prSet/>
      <dgm:spPr/>
      <dgm:t>
        <a:bodyPr/>
        <a:lstStyle/>
        <a:p>
          <a:endParaRPr lang="zh-CN" altLang="en-US"/>
        </a:p>
      </dgm:t>
    </dgm:pt>
    <dgm:pt modelId="{8E59B717-CF87-43E8-8D9B-741C04444679}" type="sibTrans" cxnId="{57F6E6B4-A017-4362-B59F-8476D937F479}">
      <dgm:prSet/>
      <dgm:spPr/>
      <dgm:t>
        <a:bodyPr/>
        <a:lstStyle/>
        <a:p>
          <a:endParaRPr lang="zh-CN" altLang="en-US"/>
        </a:p>
      </dgm:t>
    </dgm:pt>
    <dgm:pt modelId="{20D1DBA4-D564-48D9-BB94-73AFC062F302}">
      <dgm:prSet phldrT="[文本]"/>
      <dgm:spPr/>
      <dgm:t>
        <a:bodyPr/>
        <a:lstStyle/>
        <a:p>
          <a:r>
            <a:rPr lang="zh-CN" altLang="en-US" dirty="0" smtClean="0"/>
            <a:t>报告阶段</a:t>
          </a:r>
          <a:endParaRPr lang="zh-CN" altLang="en-US" dirty="0"/>
        </a:p>
      </dgm:t>
    </dgm:pt>
    <dgm:pt modelId="{EE80684D-3FB0-44F6-AC81-A9B55FAA0883}" type="parTrans" cxnId="{CD98CD1C-1A14-41E4-BF0F-3002BB87E20B}">
      <dgm:prSet/>
      <dgm:spPr/>
      <dgm:t>
        <a:bodyPr/>
        <a:lstStyle/>
        <a:p>
          <a:endParaRPr lang="zh-CN" altLang="en-US"/>
        </a:p>
      </dgm:t>
    </dgm:pt>
    <dgm:pt modelId="{1A9230CA-1E1E-4462-B3BE-9A6029230ACD}" type="sibTrans" cxnId="{CD98CD1C-1A14-41E4-BF0F-3002BB87E20B}">
      <dgm:prSet/>
      <dgm:spPr/>
      <dgm:t>
        <a:bodyPr/>
        <a:lstStyle/>
        <a:p>
          <a:endParaRPr lang="zh-CN" altLang="en-US"/>
        </a:p>
      </dgm:t>
    </dgm:pt>
    <dgm:pt modelId="{084746DB-6053-4EAC-8ACE-DD99AE20685B}">
      <dgm:prSet phldrT="[文本]"/>
      <dgm:spPr/>
      <dgm:t>
        <a:bodyPr/>
        <a:lstStyle/>
        <a:p>
          <a:r>
            <a:rPr lang="zh-CN" altLang="en-US" dirty="0" smtClean="0"/>
            <a:t>探路演练</a:t>
          </a:r>
          <a:endParaRPr lang="zh-CN" altLang="en-US" dirty="0"/>
        </a:p>
      </dgm:t>
    </dgm:pt>
    <dgm:pt modelId="{1A1E3242-E102-4FFB-9B3D-80FEBFD9B059}" type="parTrans" cxnId="{A28E1754-652C-4C10-9830-6B921B5B2DCD}">
      <dgm:prSet/>
      <dgm:spPr/>
      <dgm:t>
        <a:bodyPr/>
        <a:lstStyle/>
        <a:p>
          <a:endParaRPr lang="zh-CN" altLang="en-US"/>
        </a:p>
      </dgm:t>
    </dgm:pt>
    <dgm:pt modelId="{55ECD491-65D6-4600-8547-4B9C9D7D9DC2}" type="sibTrans" cxnId="{A28E1754-652C-4C10-9830-6B921B5B2DCD}">
      <dgm:prSet/>
      <dgm:spPr/>
      <dgm:t>
        <a:bodyPr/>
        <a:lstStyle/>
        <a:p>
          <a:endParaRPr lang="zh-CN" altLang="en-US"/>
        </a:p>
      </dgm:t>
    </dgm:pt>
    <dgm:pt modelId="{25D38389-5544-4C07-B828-DFBDDFE7DA30}">
      <dgm:prSet phldrT="[文本]"/>
      <dgm:spPr/>
      <dgm:t>
        <a:bodyPr/>
        <a:lstStyle/>
        <a:p>
          <a:r>
            <a:rPr lang="zh-CN" altLang="en-US" dirty="0" smtClean="0"/>
            <a:t>渗透实施</a:t>
          </a:r>
          <a:endParaRPr lang="zh-CN" altLang="en-US" dirty="0"/>
        </a:p>
      </dgm:t>
    </dgm:pt>
    <dgm:pt modelId="{F0926A18-8B0F-46DC-B887-35E11801DF45}" type="parTrans" cxnId="{180A88A7-610B-4DE9-A920-E638DC1A4FE6}">
      <dgm:prSet/>
      <dgm:spPr/>
      <dgm:t>
        <a:bodyPr/>
        <a:lstStyle/>
        <a:p>
          <a:endParaRPr lang="zh-CN" altLang="en-US"/>
        </a:p>
      </dgm:t>
    </dgm:pt>
    <dgm:pt modelId="{4C5A6D47-942C-40E4-896F-E298EE4F86A4}" type="sibTrans" cxnId="{180A88A7-610B-4DE9-A920-E638DC1A4FE6}">
      <dgm:prSet/>
      <dgm:spPr/>
      <dgm:t>
        <a:bodyPr/>
        <a:lstStyle/>
        <a:p>
          <a:endParaRPr lang="zh-CN" altLang="en-US"/>
        </a:p>
      </dgm:t>
    </dgm:pt>
    <dgm:pt modelId="{55CFB169-F804-46EF-A9D8-B5D03B710ADF}">
      <dgm:prSet phldrT="[文本]"/>
      <dgm:spPr/>
      <dgm:t>
        <a:bodyPr/>
        <a:lstStyle/>
        <a:p>
          <a:r>
            <a:rPr lang="zh-CN" altLang="en-US" dirty="0" smtClean="0"/>
            <a:t>深入业务</a:t>
          </a:r>
          <a:endParaRPr lang="zh-CN" altLang="en-US" dirty="0"/>
        </a:p>
      </dgm:t>
    </dgm:pt>
    <dgm:pt modelId="{EFE14520-88B1-45D6-AD8C-CB8BDA40F218}" type="parTrans" cxnId="{2C99AB0E-D2A5-41ED-A59D-7496C9B3506C}">
      <dgm:prSet/>
      <dgm:spPr/>
      <dgm:t>
        <a:bodyPr/>
        <a:lstStyle/>
        <a:p>
          <a:endParaRPr lang="zh-CN" altLang="en-US"/>
        </a:p>
      </dgm:t>
    </dgm:pt>
    <dgm:pt modelId="{848E586F-7F90-4FD2-9108-EA8F2C610A03}" type="sibTrans" cxnId="{2C99AB0E-D2A5-41ED-A59D-7496C9B3506C}">
      <dgm:prSet/>
      <dgm:spPr/>
      <dgm:t>
        <a:bodyPr/>
        <a:lstStyle/>
        <a:p>
          <a:endParaRPr lang="zh-CN" altLang="en-US"/>
        </a:p>
      </dgm:t>
    </dgm:pt>
    <dgm:pt modelId="{1F236109-D6C5-493D-8378-0B73AA7740D2}">
      <dgm:prSet phldrT="[文本]"/>
      <dgm:spPr/>
      <dgm:t>
        <a:bodyPr/>
        <a:lstStyle/>
        <a:p>
          <a:r>
            <a:rPr lang="zh-CN" altLang="en-US" dirty="0" smtClean="0"/>
            <a:t>收尾工作</a:t>
          </a:r>
          <a:endParaRPr lang="zh-CN" altLang="en-US" dirty="0"/>
        </a:p>
      </dgm:t>
    </dgm:pt>
    <dgm:pt modelId="{8B766B1E-ED8D-488A-BF29-2A97AAFA3C4D}" type="parTrans" cxnId="{D9F2C76E-1EA4-4610-AB8D-B5722D9AE79A}">
      <dgm:prSet/>
      <dgm:spPr/>
      <dgm:t>
        <a:bodyPr/>
        <a:lstStyle/>
        <a:p>
          <a:endParaRPr lang="zh-CN" altLang="en-US"/>
        </a:p>
      </dgm:t>
    </dgm:pt>
    <dgm:pt modelId="{446CBD32-3750-4C6B-8DA6-2A2DB59CA4D0}" type="sibTrans" cxnId="{D9F2C76E-1EA4-4610-AB8D-B5722D9AE79A}">
      <dgm:prSet/>
      <dgm:spPr/>
      <dgm:t>
        <a:bodyPr/>
        <a:lstStyle/>
        <a:p>
          <a:endParaRPr lang="zh-CN" altLang="en-US"/>
        </a:p>
      </dgm:t>
    </dgm:pt>
    <dgm:pt modelId="{A4E89252-3FC3-415C-A11B-FE9C2249C067}" type="pres">
      <dgm:prSet presAssocID="{8E3F925E-59BF-423C-8960-04EE98E5C72C}" presName="layout" presStyleCnt="0">
        <dgm:presLayoutVars>
          <dgm:chMax/>
          <dgm:chPref/>
          <dgm:dir/>
          <dgm:resizeHandles/>
        </dgm:presLayoutVars>
      </dgm:prSet>
      <dgm:spPr/>
      <dgm:t>
        <a:bodyPr/>
        <a:lstStyle/>
        <a:p>
          <a:endParaRPr lang="zh-CN" altLang="en-US"/>
        </a:p>
      </dgm:t>
    </dgm:pt>
    <dgm:pt modelId="{B8D8AB10-DD8B-4232-9884-6B33C9106981}" type="pres">
      <dgm:prSet presAssocID="{D4B4B312-5878-4746-8F10-728F2BDD1D7C}" presName="root" presStyleCnt="0">
        <dgm:presLayoutVars>
          <dgm:chMax/>
          <dgm:chPref/>
        </dgm:presLayoutVars>
      </dgm:prSet>
      <dgm:spPr/>
    </dgm:pt>
    <dgm:pt modelId="{A8051516-A9E1-44E5-8D56-07493E9D1D25}" type="pres">
      <dgm:prSet presAssocID="{D4B4B312-5878-4746-8F10-728F2BDD1D7C}" presName="rootComposite" presStyleCnt="0">
        <dgm:presLayoutVars/>
      </dgm:prSet>
      <dgm:spPr/>
    </dgm:pt>
    <dgm:pt modelId="{4ECB17D8-AC68-4A18-98BD-49643B0A899A}" type="pres">
      <dgm:prSet presAssocID="{D4B4B312-5878-4746-8F10-728F2BDD1D7C}" presName="ParentAccent" presStyleLbl="alignNode1" presStyleIdx="0" presStyleCnt="2"/>
      <dgm:spPr/>
    </dgm:pt>
    <dgm:pt modelId="{953BD317-C98B-467E-9698-C0D7C10585BF}" type="pres">
      <dgm:prSet presAssocID="{D4B4B312-5878-4746-8F10-728F2BDD1D7C}" presName="ParentSmallAccent" presStyleLbl="fgAcc1" presStyleIdx="0" presStyleCnt="2"/>
      <dgm:spPr/>
    </dgm:pt>
    <dgm:pt modelId="{868C1B50-30F7-4FE8-A3E3-2909E588AB73}" type="pres">
      <dgm:prSet presAssocID="{D4B4B312-5878-4746-8F10-728F2BDD1D7C}" presName="Parent" presStyleLbl="revTx" presStyleIdx="0" presStyleCnt="16">
        <dgm:presLayoutVars>
          <dgm:chMax/>
          <dgm:chPref val="4"/>
          <dgm:bulletEnabled val="1"/>
        </dgm:presLayoutVars>
      </dgm:prSet>
      <dgm:spPr/>
      <dgm:t>
        <a:bodyPr/>
        <a:lstStyle/>
        <a:p>
          <a:endParaRPr lang="zh-CN" altLang="en-US"/>
        </a:p>
      </dgm:t>
    </dgm:pt>
    <dgm:pt modelId="{29E950B1-A8D8-4631-9977-03F6DD39C12F}" type="pres">
      <dgm:prSet presAssocID="{D4B4B312-5878-4746-8F10-728F2BDD1D7C}" presName="childShape" presStyleCnt="0">
        <dgm:presLayoutVars>
          <dgm:chMax val="0"/>
          <dgm:chPref val="0"/>
        </dgm:presLayoutVars>
      </dgm:prSet>
      <dgm:spPr/>
    </dgm:pt>
    <dgm:pt modelId="{9EA22896-5E75-4CE9-B808-CBE7AC4B3764}" type="pres">
      <dgm:prSet presAssocID="{F5B8A583-C5AA-4DB8-84F4-5AFB93C4AB43}" presName="childComposite" presStyleCnt="0">
        <dgm:presLayoutVars>
          <dgm:chMax val="0"/>
          <dgm:chPref val="0"/>
        </dgm:presLayoutVars>
      </dgm:prSet>
      <dgm:spPr/>
    </dgm:pt>
    <dgm:pt modelId="{38F68C01-C906-4869-9818-13495BC59136}" type="pres">
      <dgm:prSet presAssocID="{F5B8A583-C5AA-4DB8-84F4-5AFB93C4AB43}" presName="ChildAccent" presStyleLbl="solidFgAcc1" presStyleIdx="0" presStyleCnt="14"/>
      <dgm:spPr/>
    </dgm:pt>
    <dgm:pt modelId="{16DD2747-BD29-41E0-890C-3562A35BB866}" type="pres">
      <dgm:prSet presAssocID="{F5B8A583-C5AA-4DB8-84F4-5AFB93C4AB43}" presName="Child" presStyleLbl="revTx" presStyleIdx="1" presStyleCnt="16">
        <dgm:presLayoutVars>
          <dgm:chMax val="0"/>
          <dgm:chPref val="0"/>
          <dgm:bulletEnabled val="1"/>
        </dgm:presLayoutVars>
      </dgm:prSet>
      <dgm:spPr/>
      <dgm:t>
        <a:bodyPr/>
        <a:lstStyle/>
        <a:p>
          <a:endParaRPr lang="zh-CN" altLang="en-US"/>
        </a:p>
      </dgm:t>
    </dgm:pt>
    <dgm:pt modelId="{9F5FF82E-F6E8-4C8D-B14B-BEC779444EC3}" type="pres">
      <dgm:prSet presAssocID="{FAE8A8A0-7C55-47AB-B760-D87ACC5E3FA5}" presName="childComposite" presStyleCnt="0">
        <dgm:presLayoutVars>
          <dgm:chMax val="0"/>
          <dgm:chPref val="0"/>
        </dgm:presLayoutVars>
      </dgm:prSet>
      <dgm:spPr/>
    </dgm:pt>
    <dgm:pt modelId="{D3CD1AA7-427A-47D2-87C0-0BDB46090F35}" type="pres">
      <dgm:prSet presAssocID="{FAE8A8A0-7C55-47AB-B760-D87ACC5E3FA5}" presName="ChildAccent" presStyleLbl="solidFgAcc1" presStyleIdx="1" presStyleCnt="14"/>
      <dgm:spPr/>
    </dgm:pt>
    <dgm:pt modelId="{1DD65C6C-5CD1-4DCF-9208-6658A14CAF3B}" type="pres">
      <dgm:prSet presAssocID="{FAE8A8A0-7C55-47AB-B760-D87ACC5E3FA5}" presName="Child" presStyleLbl="revTx" presStyleIdx="2" presStyleCnt="16">
        <dgm:presLayoutVars>
          <dgm:chMax val="0"/>
          <dgm:chPref val="0"/>
          <dgm:bulletEnabled val="1"/>
        </dgm:presLayoutVars>
      </dgm:prSet>
      <dgm:spPr/>
      <dgm:t>
        <a:bodyPr/>
        <a:lstStyle/>
        <a:p>
          <a:endParaRPr lang="zh-CN" altLang="en-US"/>
        </a:p>
      </dgm:t>
    </dgm:pt>
    <dgm:pt modelId="{27D00DD5-F6C2-4FEF-969D-925132B58639}" type="pres">
      <dgm:prSet presAssocID="{62E5142A-563A-4280-8D7A-37CC810B8303}" presName="childComposite" presStyleCnt="0">
        <dgm:presLayoutVars>
          <dgm:chMax val="0"/>
          <dgm:chPref val="0"/>
        </dgm:presLayoutVars>
      </dgm:prSet>
      <dgm:spPr/>
    </dgm:pt>
    <dgm:pt modelId="{A9B1A82E-5BF0-4DC0-820E-9E98A7A78DC1}" type="pres">
      <dgm:prSet presAssocID="{62E5142A-563A-4280-8D7A-37CC810B8303}" presName="ChildAccent" presStyleLbl="solidFgAcc1" presStyleIdx="2" presStyleCnt="14"/>
      <dgm:spPr/>
    </dgm:pt>
    <dgm:pt modelId="{BEA52548-7F0B-4194-922E-A22B6CEB787A}" type="pres">
      <dgm:prSet presAssocID="{62E5142A-563A-4280-8D7A-37CC810B8303}" presName="Child" presStyleLbl="revTx" presStyleIdx="3" presStyleCnt="16">
        <dgm:presLayoutVars>
          <dgm:chMax val="0"/>
          <dgm:chPref val="0"/>
          <dgm:bulletEnabled val="1"/>
        </dgm:presLayoutVars>
      </dgm:prSet>
      <dgm:spPr/>
      <dgm:t>
        <a:bodyPr/>
        <a:lstStyle/>
        <a:p>
          <a:endParaRPr lang="zh-CN" altLang="en-US"/>
        </a:p>
      </dgm:t>
    </dgm:pt>
    <dgm:pt modelId="{D574E7B1-B898-4F71-ACB1-450F519AB84F}" type="pres">
      <dgm:prSet presAssocID="{4A61B614-AAB1-418A-B3DC-CAC498D73B22}" presName="childComposite" presStyleCnt="0">
        <dgm:presLayoutVars>
          <dgm:chMax val="0"/>
          <dgm:chPref val="0"/>
        </dgm:presLayoutVars>
      </dgm:prSet>
      <dgm:spPr/>
    </dgm:pt>
    <dgm:pt modelId="{0B6554F1-599A-4825-A226-235278719BF0}" type="pres">
      <dgm:prSet presAssocID="{4A61B614-AAB1-418A-B3DC-CAC498D73B22}" presName="ChildAccent" presStyleLbl="solidFgAcc1" presStyleIdx="3" presStyleCnt="14"/>
      <dgm:spPr/>
    </dgm:pt>
    <dgm:pt modelId="{2BF28918-290C-4CEC-A160-1F951E85F41A}" type="pres">
      <dgm:prSet presAssocID="{4A61B614-AAB1-418A-B3DC-CAC498D73B22}" presName="Child" presStyleLbl="revTx" presStyleIdx="4" presStyleCnt="16">
        <dgm:presLayoutVars>
          <dgm:chMax val="0"/>
          <dgm:chPref val="0"/>
          <dgm:bulletEnabled val="1"/>
        </dgm:presLayoutVars>
      </dgm:prSet>
      <dgm:spPr/>
      <dgm:t>
        <a:bodyPr/>
        <a:lstStyle/>
        <a:p>
          <a:endParaRPr lang="zh-CN" altLang="en-US"/>
        </a:p>
      </dgm:t>
    </dgm:pt>
    <dgm:pt modelId="{5DD5D71D-9F41-4E6B-9221-FF85930D24FD}" type="pres">
      <dgm:prSet presAssocID="{AD53C972-53A7-4F4A-819A-23210ABB498A}" presName="childComposite" presStyleCnt="0">
        <dgm:presLayoutVars>
          <dgm:chMax val="0"/>
          <dgm:chPref val="0"/>
        </dgm:presLayoutVars>
      </dgm:prSet>
      <dgm:spPr/>
    </dgm:pt>
    <dgm:pt modelId="{303A1F3E-5E91-4C06-975D-3063A4565DDC}" type="pres">
      <dgm:prSet presAssocID="{AD53C972-53A7-4F4A-819A-23210ABB498A}" presName="ChildAccent" presStyleLbl="solidFgAcc1" presStyleIdx="4" presStyleCnt="14"/>
      <dgm:spPr/>
    </dgm:pt>
    <dgm:pt modelId="{16F1540D-83B9-43E2-ACF7-8DC5FE84AAE0}" type="pres">
      <dgm:prSet presAssocID="{AD53C972-53A7-4F4A-819A-23210ABB498A}" presName="Child" presStyleLbl="revTx" presStyleIdx="5" presStyleCnt="16">
        <dgm:presLayoutVars>
          <dgm:chMax val="0"/>
          <dgm:chPref val="0"/>
          <dgm:bulletEnabled val="1"/>
        </dgm:presLayoutVars>
      </dgm:prSet>
      <dgm:spPr/>
      <dgm:t>
        <a:bodyPr/>
        <a:lstStyle/>
        <a:p>
          <a:endParaRPr lang="zh-CN" altLang="en-US"/>
        </a:p>
      </dgm:t>
    </dgm:pt>
    <dgm:pt modelId="{E087A980-D3D8-4B2F-81C8-4CF3E5A5007E}" type="pres">
      <dgm:prSet presAssocID="{7F25486C-F097-4B0D-9B00-9EF00CDC4D88}" presName="childComposite" presStyleCnt="0">
        <dgm:presLayoutVars>
          <dgm:chMax val="0"/>
          <dgm:chPref val="0"/>
        </dgm:presLayoutVars>
      </dgm:prSet>
      <dgm:spPr/>
    </dgm:pt>
    <dgm:pt modelId="{5323BBC2-D2C7-4D07-9BE0-9B92B5AEB191}" type="pres">
      <dgm:prSet presAssocID="{7F25486C-F097-4B0D-9B00-9EF00CDC4D88}" presName="ChildAccent" presStyleLbl="solidFgAcc1" presStyleIdx="5" presStyleCnt="14"/>
      <dgm:spPr/>
    </dgm:pt>
    <dgm:pt modelId="{05A1BFC1-F640-4701-B9B7-AD152C98F241}" type="pres">
      <dgm:prSet presAssocID="{7F25486C-F097-4B0D-9B00-9EF00CDC4D88}" presName="Child" presStyleLbl="revTx" presStyleIdx="6" presStyleCnt="16">
        <dgm:presLayoutVars>
          <dgm:chMax val="0"/>
          <dgm:chPref val="0"/>
          <dgm:bulletEnabled val="1"/>
        </dgm:presLayoutVars>
      </dgm:prSet>
      <dgm:spPr/>
      <dgm:t>
        <a:bodyPr/>
        <a:lstStyle/>
        <a:p>
          <a:endParaRPr lang="zh-CN" altLang="en-US"/>
        </a:p>
      </dgm:t>
    </dgm:pt>
    <dgm:pt modelId="{23554C9D-EAC4-4E9E-95A5-99A1344FE5FD}" type="pres">
      <dgm:prSet presAssocID="{20D1DBA4-D564-48D9-BB94-73AFC062F302}" presName="childComposite" presStyleCnt="0">
        <dgm:presLayoutVars>
          <dgm:chMax val="0"/>
          <dgm:chPref val="0"/>
        </dgm:presLayoutVars>
      </dgm:prSet>
      <dgm:spPr/>
    </dgm:pt>
    <dgm:pt modelId="{94A12A5F-CAC0-4962-A4E5-14F334AB4288}" type="pres">
      <dgm:prSet presAssocID="{20D1DBA4-D564-48D9-BB94-73AFC062F302}" presName="ChildAccent" presStyleLbl="solidFgAcc1" presStyleIdx="6" presStyleCnt="14"/>
      <dgm:spPr/>
    </dgm:pt>
    <dgm:pt modelId="{4BEF719D-37F3-42D6-858A-A4C4E8C5B74A}" type="pres">
      <dgm:prSet presAssocID="{20D1DBA4-D564-48D9-BB94-73AFC062F302}" presName="Child" presStyleLbl="revTx" presStyleIdx="7" presStyleCnt="16">
        <dgm:presLayoutVars>
          <dgm:chMax val="0"/>
          <dgm:chPref val="0"/>
          <dgm:bulletEnabled val="1"/>
        </dgm:presLayoutVars>
      </dgm:prSet>
      <dgm:spPr/>
      <dgm:t>
        <a:bodyPr/>
        <a:lstStyle/>
        <a:p>
          <a:endParaRPr lang="zh-CN" altLang="en-US"/>
        </a:p>
      </dgm:t>
    </dgm:pt>
    <dgm:pt modelId="{C8292AD9-19D2-4B45-86C7-96B0002BB34F}" type="pres">
      <dgm:prSet presAssocID="{319C5AA9-B74E-4842-98B9-C39B58B2AEA7}" presName="root" presStyleCnt="0">
        <dgm:presLayoutVars>
          <dgm:chMax/>
          <dgm:chPref/>
        </dgm:presLayoutVars>
      </dgm:prSet>
      <dgm:spPr/>
    </dgm:pt>
    <dgm:pt modelId="{77D9CB31-1306-4E0D-A572-B3D3B626A6D5}" type="pres">
      <dgm:prSet presAssocID="{319C5AA9-B74E-4842-98B9-C39B58B2AEA7}" presName="rootComposite" presStyleCnt="0">
        <dgm:presLayoutVars/>
      </dgm:prSet>
      <dgm:spPr/>
    </dgm:pt>
    <dgm:pt modelId="{8C084DFE-68A3-4646-B8D7-6D0A74547684}" type="pres">
      <dgm:prSet presAssocID="{319C5AA9-B74E-4842-98B9-C39B58B2AEA7}" presName="ParentAccent" presStyleLbl="alignNode1" presStyleIdx="1" presStyleCnt="2"/>
      <dgm:spPr/>
    </dgm:pt>
    <dgm:pt modelId="{19DFDF9E-FB1B-48A0-B20A-F45B00ADBB6C}" type="pres">
      <dgm:prSet presAssocID="{319C5AA9-B74E-4842-98B9-C39B58B2AEA7}" presName="ParentSmallAccent" presStyleLbl="fgAcc1" presStyleIdx="1" presStyleCnt="2"/>
      <dgm:spPr/>
    </dgm:pt>
    <dgm:pt modelId="{3CF008CD-AA8C-4A39-9853-A04AD7F08E2A}" type="pres">
      <dgm:prSet presAssocID="{319C5AA9-B74E-4842-98B9-C39B58B2AEA7}" presName="Parent" presStyleLbl="revTx" presStyleIdx="8" presStyleCnt="16">
        <dgm:presLayoutVars>
          <dgm:chMax/>
          <dgm:chPref val="4"/>
          <dgm:bulletEnabled val="1"/>
        </dgm:presLayoutVars>
      </dgm:prSet>
      <dgm:spPr/>
      <dgm:t>
        <a:bodyPr/>
        <a:lstStyle/>
        <a:p>
          <a:endParaRPr lang="zh-CN" altLang="en-US"/>
        </a:p>
      </dgm:t>
    </dgm:pt>
    <dgm:pt modelId="{C9920DD6-85B8-43AC-A10C-F58E56795432}" type="pres">
      <dgm:prSet presAssocID="{319C5AA9-B74E-4842-98B9-C39B58B2AEA7}" presName="childShape" presStyleCnt="0">
        <dgm:presLayoutVars>
          <dgm:chMax val="0"/>
          <dgm:chPref val="0"/>
        </dgm:presLayoutVars>
      </dgm:prSet>
      <dgm:spPr/>
    </dgm:pt>
    <dgm:pt modelId="{0800013F-EFB3-4BA9-A349-BBD35BAE9FAE}" type="pres">
      <dgm:prSet presAssocID="{A9C5B32F-678E-422F-9F0F-9B5F7AB4C2E2}" presName="childComposite" presStyleCnt="0">
        <dgm:presLayoutVars>
          <dgm:chMax val="0"/>
          <dgm:chPref val="0"/>
        </dgm:presLayoutVars>
      </dgm:prSet>
      <dgm:spPr/>
    </dgm:pt>
    <dgm:pt modelId="{6CB55965-661A-43E6-8644-02DAE231CB5A}" type="pres">
      <dgm:prSet presAssocID="{A9C5B32F-678E-422F-9F0F-9B5F7AB4C2E2}" presName="ChildAccent" presStyleLbl="solidFgAcc1" presStyleIdx="7" presStyleCnt="14"/>
      <dgm:spPr/>
    </dgm:pt>
    <dgm:pt modelId="{87AAF2B2-B649-4600-8571-C7D27C586CF4}" type="pres">
      <dgm:prSet presAssocID="{A9C5B32F-678E-422F-9F0F-9B5F7AB4C2E2}" presName="Child" presStyleLbl="revTx" presStyleIdx="9" presStyleCnt="16">
        <dgm:presLayoutVars>
          <dgm:chMax val="0"/>
          <dgm:chPref val="0"/>
          <dgm:bulletEnabled val="1"/>
        </dgm:presLayoutVars>
      </dgm:prSet>
      <dgm:spPr/>
      <dgm:t>
        <a:bodyPr/>
        <a:lstStyle/>
        <a:p>
          <a:endParaRPr lang="zh-CN" altLang="en-US"/>
        </a:p>
      </dgm:t>
    </dgm:pt>
    <dgm:pt modelId="{43AA1B58-6B0A-4ECD-A731-52FC0A564298}" type="pres">
      <dgm:prSet presAssocID="{ED4855BF-AC40-4608-8783-3755D58CD56E}" presName="childComposite" presStyleCnt="0">
        <dgm:presLayoutVars>
          <dgm:chMax val="0"/>
          <dgm:chPref val="0"/>
        </dgm:presLayoutVars>
      </dgm:prSet>
      <dgm:spPr/>
    </dgm:pt>
    <dgm:pt modelId="{A7960A5C-341E-4D91-8DF2-98D81BEEC619}" type="pres">
      <dgm:prSet presAssocID="{ED4855BF-AC40-4608-8783-3755D58CD56E}" presName="ChildAccent" presStyleLbl="solidFgAcc1" presStyleIdx="8" presStyleCnt="14"/>
      <dgm:spPr/>
    </dgm:pt>
    <dgm:pt modelId="{BBE4FBF4-5C83-46EF-83E1-8B3F53F8544C}" type="pres">
      <dgm:prSet presAssocID="{ED4855BF-AC40-4608-8783-3755D58CD56E}" presName="Child" presStyleLbl="revTx" presStyleIdx="10" presStyleCnt="16">
        <dgm:presLayoutVars>
          <dgm:chMax val="0"/>
          <dgm:chPref val="0"/>
          <dgm:bulletEnabled val="1"/>
        </dgm:presLayoutVars>
      </dgm:prSet>
      <dgm:spPr/>
      <dgm:t>
        <a:bodyPr/>
        <a:lstStyle/>
        <a:p>
          <a:endParaRPr lang="zh-CN" altLang="en-US"/>
        </a:p>
      </dgm:t>
    </dgm:pt>
    <dgm:pt modelId="{A7275965-535C-4F86-8D79-2707C24FD024}" type="pres">
      <dgm:prSet presAssocID="{96E780F2-4EE0-4D30-9BDA-5BC129F17385}" presName="childComposite" presStyleCnt="0">
        <dgm:presLayoutVars>
          <dgm:chMax val="0"/>
          <dgm:chPref val="0"/>
        </dgm:presLayoutVars>
      </dgm:prSet>
      <dgm:spPr/>
    </dgm:pt>
    <dgm:pt modelId="{3B8704F1-73EB-4388-ABD4-919506A5CADF}" type="pres">
      <dgm:prSet presAssocID="{96E780F2-4EE0-4D30-9BDA-5BC129F17385}" presName="ChildAccent" presStyleLbl="solidFgAcc1" presStyleIdx="9" presStyleCnt="14"/>
      <dgm:spPr/>
    </dgm:pt>
    <dgm:pt modelId="{17998FA8-1245-4E32-B6B9-316239A9C12C}" type="pres">
      <dgm:prSet presAssocID="{96E780F2-4EE0-4D30-9BDA-5BC129F17385}" presName="Child" presStyleLbl="revTx" presStyleIdx="11" presStyleCnt="16">
        <dgm:presLayoutVars>
          <dgm:chMax val="0"/>
          <dgm:chPref val="0"/>
          <dgm:bulletEnabled val="1"/>
        </dgm:presLayoutVars>
      </dgm:prSet>
      <dgm:spPr/>
      <dgm:t>
        <a:bodyPr/>
        <a:lstStyle/>
        <a:p>
          <a:endParaRPr lang="zh-CN" altLang="en-US"/>
        </a:p>
      </dgm:t>
    </dgm:pt>
    <dgm:pt modelId="{9E949589-5B4E-4663-BEA6-21C4EAC9D6BB}" type="pres">
      <dgm:prSet presAssocID="{084746DB-6053-4EAC-8ACE-DD99AE20685B}" presName="childComposite" presStyleCnt="0">
        <dgm:presLayoutVars>
          <dgm:chMax val="0"/>
          <dgm:chPref val="0"/>
        </dgm:presLayoutVars>
      </dgm:prSet>
      <dgm:spPr/>
    </dgm:pt>
    <dgm:pt modelId="{69614E66-55EC-431A-B95C-B428E0F2B14D}" type="pres">
      <dgm:prSet presAssocID="{084746DB-6053-4EAC-8ACE-DD99AE20685B}" presName="ChildAccent" presStyleLbl="solidFgAcc1" presStyleIdx="10" presStyleCnt="14"/>
      <dgm:spPr/>
    </dgm:pt>
    <dgm:pt modelId="{B685AECC-A085-437C-BA08-2AC39FBB31B4}" type="pres">
      <dgm:prSet presAssocID="{084746DB-6053-4EAC-8ACE-DD99AE20685B}" presName="Child" presStyleLbl="revTx" presStyleIdx="12" presStyleCnt="16">
        <dgm:presLayoutVars>
          <dgm:chMax val="0"/>
          <dgm:chPref val="0"/>
          <dgm:bulletEnabled val="1"/>
        </dgm:presLayoutVars>
      </dgm:prSet>
      <dgm:spPr/>
      <dgm:t>
        <a:bodyPr/>
        <a:lstStyle/>
        <a:p>
          <a:endParaRPr lang="zh-CN" altLang="en-US"/>
        </a:p>
      </dgm:t>
    </dgm:pt>
    <dgm:pt modelId="{EFC69BE9-DE96-4B4E-996B-F4793B47F336}" type="pres">
      <dgm:prSet presAssocID="{25D38389-5544-4C07-B828-DFBDDFE7DA30}" presName="childComposite" presStyleCnt="0">
        <dgm:presLayoutVars>
          <dgm:chMax val="0"/>
          <dgm:chPref val="0"/>
        </dgm:presLayoutVars>
      </dgm:prSet>
      <dgm:spPr/>
    </dgm:pt>
    <dgm:pt modelId="{F3D36F59-9A4E-4975-95DE-2AA6638776C8}" type="pres">
      <dgm:prSet presAssocID="{25D38389-5544-4C07-B828-DFBDDFE7DA30}" presName="ChildAccent" presStyleLbl="solidFgAcc1" presStyleIdx="11" presStyleCnt="14"/>
      <dgm:spPr/>
    </dgm:pt>
    <dgm:pt modelId="{101C428E-70BE-45A9-A946-2E7259DE3E32}" type="pres">
      <dgm:prSet presAssocID="{25D38389-5544-4C07-B828-DFBDDFE7DA30}" presName="Child" presStyleLbl="revTx" presStyleIdx="13" presStyleCnt="16">
        <dgm:presLayoutVars>
          <dgm:chMax val="0"/>
          <dgm:chPref val="0"/>
          <dgm:bulletEnabled val="1"/>
        </dgm:presLayoutVars>
      </dgm:prSet>
      <dgm:spPr/>
      <dgm:t>
        <a:bodyPr/>
        <a:lstStyle/>
        <a:p>
          <a:endParaRPr lang="zh-CN" altLang="en-US"/>
        </a:p>
      </dgm:t>
    </dgm:pt>
    <dgm:pt modelId="{89AA271C-254C-4263-B44A-791B98A995C9}" type="pres">
      <dgm:prSet presAssocID="{55CFB169-F804-46EF-A9D8-B5D03B710ADF}" presName="childComposite" presStyleCnt="0">
        <dgm:presLayoutVars>
          <dgm:chMax val="0"/>
          <dgm:chPref val="0"/>
        </dgm:presLayoutVars>
      </dgm:prSet>
      <dgm:spPr/>
    </dgm:pt>
    <dgm:pt modelId="{EFE313B5-54FA-4C86-A1F3-AD91732E6A1C}" type="pres">
      <dgm:prSet presAssocID="{55CFB169-F804-46EF-A9D8-B5D03B710ADF}" presName="ChildAccent" presStyleLbl="solidFgAcc1" presStyleIdx="12" presStyleCnt="14"/>
      <dgm:spPr/>
    </dgm:pt>
    <dgm:pt modelId="{4171185D-B5F0-46EF-80F8-118F71910648}" type="pres">
      <dgm:prSet presAssocID="{55CFB169-F804-46EF-A9D8-B5D03B710ADF}" presName="Child" presStyleLbl="revTx" presStyleIdx="14" presStyleCnt="16">
        <dgm:presLayoutVars>
          <dgm:chMax val="0"/>
          <dgm:chPref val="0"/>
          <dgm:bulletEnabled val="1"/>
        </dgm:presLayoutVars>
      </dgm:prSet>
      <dgm:spPr/>
      <dgm:t>
        <a:bodyPr/>
        <a:lstStyle/>
        <a:p>
          <a:endParaRPr lang="zh-CN" altLang="en-US"/>
        </a:p>
      </dgm:t>
    </dgm:pt>
    <dgm:pt modelId="{09A5BE5B-1E39-4D62-B265-025D74F119FF}" type="pres">
      <dgm:prSet presAssocID="{1F236109-D6C5-493D-8378-0B73AA7740D2}" presName="childComposite" presStyleCnt="0">
        <dgm:presLayoutVars>
          <dgm:chMax val="0"/>
          <dgm:chPref val="0"/>
        </dgm:presLayoutVars>
      </dgm:prSet>
      <dgm:spPr/>
    </dgm:pt>
    <dgm:pt modelId="{F3BFAB1C-4A29-400D-89E1-243677065C09}" type="pres">
      <dgm:prSet presAssocID="{1F236109-D6C5-493D-8378-0B73AA7740D2}" presName="ChildAccent" presStyleLbl="solidFgAcc1" presStyleIdx="13" presStyleCnt="14"/>
      <dgm:spPr/>
    </dgm:pt>
    <dgm:pt modelId="{BB9372AA-C02A-4D50-9750-56C197410CD3}" type="pres">
      <dgm:prSet presAssocID="{1F236109-D6C5-493D-8378-0B73AA7740D2}" presName="Child" presStyleLbl="revTx" presStyleIdx="15" presStyleCnt="16">
        <dgm:presLayoutVars>
          <dgm:chMax val="0"/>
          <dgm:chPref val="0"/>
          <dgm:bulletEnabled val="1"/>
        </dgm:presLayoutVars>
      </dgm:prSet>
      <dgm:spPr/>
      <dgm:t>
        <a:bodyPr/>
        <a:lstStyle/>
        <a:p>
          <a:endParaRPr lang="zh-CN" altLang="en-US"/>
        </a:p>
      </dgm:t>
    </dgm:pt>
  </dgm:ptLst>
  <dgm:cxnLst>
    <dgm:cxn modelId="{1D8D26C3-27B0-4A76-93C9-F877090D1F43}" type="presOf" srcId="{7F25486C-F097-4B0D-9B00-9EF00CDC4D88}" destId="{05A1BFC1-F640-4701-B9B7-AD152C98F241}" srcOrd="0" destOrd="0" presId="urn:microsoft.com/office/officeart/2008/layout/SquareAccentList"/>
    <dgm:cxn modelId="{672EDEF0-962F-42BC-8B05-8E487D3FFB92}" type="presOf" srcId="{8E3F925E-59BF-423C-8960-04EE98E5C72C}" destId="{A4E89252-3FC3-415C-A11B-FE9C2249C067}" srcOrd="0" destOrd="0" presId="urn:microsoft.com/office/officeart/2008/layout/SquareAccentList"/>
    <dgm:cxn modelId="{C0171E5A-CB0A-40D3-8114-35E4E372990D}" type="presOf" srcId="{AD53C972-53A7-4F4A-819A-23210ABB498A}" destId="{16F1540D-83B9-43E2-ACF7-8DC5FE84AAE0}" srcOrd="0" destOrd="0" presId="urn:microsoft.com/office/officeart/2008/layout/SquareAccentList"/>
    <dgm:cxn modelId="{1AB7D93E-0D82-4DC7-84E8-25785988DCAC}" srcId="{D4B4B312-5878-4746-8F10-728F2BDD1D7C}" destId="{AD53C972-53A7-4F4A-819A-23210ABB498A}" srcOrd="4" destOrd="0" parTransId="{781845CA-A6DA-4511-9E51-1E7B31490F2D}" sibTransId="{BEF64B17-4D5C-41D8-A1ED-C38B7DBD517A}"/>
    <dgm:cxn modelId="{1145DE48-F5E9-43A8-A1A8-5FE4E6844873}" type="presOf" srcId="{62E5142A-563A-4280-8D7A-37CC810B8303}" destId="{BEA52548-7F0B-4194-922E-A22B6CEB787A}" srcOrd="0" destOrd="0" presId="urn:microsoft.com/office/officeart/2008/layout/SquareAccentList"/>
    <dgm:cxn modelId="{83F8772C-110D-44E6-A075-CB697AFA5449}" type="presOf" srcId="{F5B8A583-C5AA-4DB8-84F4-5AFB93C4AB43}" destId="{16DD2747-BD29-41E0-890C-3562A35BB866}" srcOrd="0" destOrd="0" presId="urn:microsoft.com/office/officeart/2008/layout/SquareAccentList"/>
    <dgm:cxn modelId="{CAB8ECA8-D936-4C0A-B4C0-7A9C1F180E9A}" srcId="{D4B4B312-5878-4746-8F10-728F2BDD1D7C}" destId="{FAE8A8A0-7C55-47AB-B760-D87ACC5E3FA5}" srcOrd="1" destOrd="0" parTransId="{0356D3BB-9599-4E0F-B597-3B1D4045B4CF}" sibTransId="{F82DF28C-C770-4B88-94B2-BA286EC566F3}"/>
    <dgm:cxn modelId="{BBED930C-B330-47D2-AB96-F81FAC683915}" srcId="{319C5AA9-B74E-4842-98B9-C39B58B2AEA7}" destId="{96E780F2-4EE0-4D30-9BDA-5BC129F17385}" srcOrd="2" destOrd="0" parTransId="{55D2AFA6-8189-47C3-9A25-25C4510A04B7}" sibTransId="{DC4D23FA-0959-45D0-B492-FDABC61BD8EE}"/>
    <dgm:cxn modelId="{948B2684-AED5-4FA4-AEF2-6B243D904172}" srcId="{D4B4B312-5878-4746-8F10-728F2BDD1D7C}" destId="{4A61B614-AAB1-418A-B3DC-CAC498D73B22}" srcOrd="3" destOrd="0" parTransId="{40F11299-EF4A-4DFF-AEFE-3B2DF49F844E}" sibTransId="{E82FC9D6-AD1C-4BBE-9951-681DC48D802D}"/>
    <dgm:cxn modelId="{EC9D79FB-6BD6-43B0-857A-94EE5454AD48}" type="presOf" srcId="{319C5AA9-B74E-4842-98B9-C39B58B2AEA7}" destId="{3CF008CD-AA8C-4A39-9853-A04AD7F08E2A}" srcOrd="0" destOrd="0" presId="urn:microsoft.com/office/officeart/2008/layout/SquareAccentList"/>
    <dgm:cxn modelId="{ADF8E173-41A6-4CD6-82F9-30FAC739E275}" srcId="{D4B4B312-5878-4746-8F10-728F2BDD1D7C}" destId="{62E5142A-563A-4280-8D7A-37CC810B8303}" srcOrd="2" destOrd="0" parTransId="{791903CB-0CA5-4F97-A540-9D9321FF64A6}" sibTransId="{7FBB18E7-10FB-4420-B392-F95ECB19E2FA}"/>
    <dgm:cxn modelId="{2A8F1B5A-2DE8-4601-B759-A7FA820CA476}" srcId="{D4B4B312-5878-4746-8F10-728F2BDD1D7C}" destId="{F5B8A583-C5AA-4DB8-84F4-5AFB93C4AB43}" srcOrd="0" destOrd="0" parTransId="{499E56BA-CE75-4445-B7AE-3A778F0FF143}" sibTransId="{B4C1FFD3-B652-432F-8F8B-63445E912C71}"/>
    <dgm:cxn modelId="{A9F5C200-62F5-4F85-92F3-CEAA42A72ED9}" type="presOf" srcId="{1F236109-D6C5-493D-8378-0B73AA7740D2}" destId="{BB9372AA-C02A-4D50-9750-56C197410CD3}" srcOrd="0" destOrd="0" presId="urn:microsoft.com/office/officeart/2008/layout/SquareAccentList"/>
    <dgm:cxn modelId="{2C99AB0E-D2A5-41ED-A59D-7496C9B3506C}" srcId="{319C5AA9-B74E-4842-98B9-C39B58B2AEA7}" destId="{55CFB169-F804-46EF-A9D8-B5D03B710ADF}" srcOrd="5" destOrd="0" parTransId="{EFE14520-88B1-45D6-AD8C-CB8BDA40F218}" sibTransId="{848E586F-7F90-4FD2-9108-EA8F2C610A03}"/>
    <dgm:cxn modelId="{BB048EA1-E124-4F97-A2C2-394C1663F5EA}" type="presOf" srcId="{4A61B614-AAB1-418A-B3DC-CAC498D73B22}" destId="{2BF28918-290C-4CEC-A160-1F951E85F41A}" srcOrd="0" destOrd="0" presId="urn:microsoft.com/office/officeart/2008/layout/SquareAccentList"/>
    <dgm:cxn modelId="{D3919BA8-3D94-482B-900C-3B03C191D61F}" srcId="{8E3F925E-59BF-423C-8960-04EE98E5C72C}" destId="{319C5AA9-B74E-4842-98B9-C39B58B2AEA7}" srcOrd="1" destOrd="0" parTransId="{CDBCE171-B32E-461A-BF7D-955BF2605C92}" sibTransId="{B6C9FB36-77B9-4326-8A16-C65C16937AB8}"/>
    <dgm:cxn modelId="{B7CCC8DB-3017-4C66-8B20-2BF73A913C59}" type="presOf" srcId="{FAE8A8A0-7C55-47AB-B760-D87ACC5E3FA5}" destId="{1DD65C6C-5CD1-4DCF-9208-6658A14CAF3B}" srcOrd="0" destOrd="0" presId="urn:microsoft.com/office/officeart/2008/layout/SquareAccentList"/>
    <dgm:cxn modelId="{57F6E6B4-A017-4362-B59F-8476D937F479}" srcId="{D4B4B312-5878-4746-8F10-728F2BDD1D7C}" destId="{7F25486C-F097-4B0D-9B00-9EF00CDC4D88}" srcOrd="5" destOrd="0" parTransId="{90E737C5-1811-4D1B-B0DB-A8E5CDA716C1}" sibTransId="{8E59B717-CF87-43E8-8D9B-741C04444679}"/>
    <dgm:cxn modelId="{CD98CD1C-1A14-41E4-BF0F-3002BB87E20B}" srcId="{D4B4B312-5878-4746-8F10-728F2BDD1D7C}" destId="{20D1DBA4-D564-48D9-BB94-73AFC062F302}" srcOrd="6" destOrd="0" parTransId="{EE80684D-3FB0-44F6-AC81-A9B55FAA0883}" sibTransId="{1A9230CA-1E1E-4462-B3BE-9A6029230ACD}"/>
    <dgm:cxn modelId="{01535340-4D47-43AC-B3B0-4071E285220C}" type="presOf" srcId="{96E780F2-4EE0-4D30-9BDA-5BC129F17385}" destId="{17998FA8-1245-4E32-B6B9-316239A9C12C}" srcOrd="0" destOrd="0" presId="urn:microsoft.com/office/officeart/2008/layout/SquareAccentList"/>
    <dgm:cxn modelId="{D7429E98-F0BE-4359-A245-95F947556DC9}" type="presOf" srcId="{55CFB169-F804-46EF-A9D8-B5D03B710ADF}" destId="{4171185D-B5F0-46EF-80F8-118F71910648}" srcOrd="0" destOrd="0" presId="urn:microsoft.com/office/officeart/2008/layout/SquareAccentList"/>
    <dgm:cxn modelId="{0FEB4DA9-3601-4C66-AE33-E44F6687C69F}" srcId="{8E3F925E-59BF-423C-8960-04EE98E5C72C}" destId="{D4B4B312-5878-4746-8F10-728F2BDD1D7C}" srcOrd="0" destOrd="0" parTransId="{23858F22-9524-48E6-B9EA-137D8DCC9F6C}" sibTransId="{92EE2E13-B3C7-4D33-B6E9-97C0558B4D6A}"/>
    <dgm:cxn modelId="{83DE5906-57DB-4E2E-A17E-45F5C230543B}" type="presOf" srcId="{20D1DBA4-D564-48D9-BB94-73AFC062F302}" destId="{4BEF719D-37F3-42D6-858A-A4C4E8C5B74A}" srcOrd="0" destOrd="0" presId="urn:microsoft.com/office/officeart/2008/layout/SquareAccentList"/>
    <dgm:cxn modelId="{B6173553-6245-4A48-AF6E-E2C5EF49D27A}" type="presOf" srcId="{A9C5B32F-678E-422F-9F0F-9B5F7AB4C2E2}" destId="{87AAF2B2-B649-4600-8571-C7D27C586CF4}" srcOrd="0" destOrd="0" presId="urn:microsoft.com/office/officeart/2008/layout/SquareAccentList"/>
    <dgm:cxn modelId="{9FB425F0-D77B-44AB-A17D-03FBD481071F}" type="presOf" srcId="{084746DB-6053-4EAC-8ACE-DD99AE20685B}" destId="{B685AECC-A085-437C-BA08-2AC39FBB31B4}" srcOrd="0" destOrd="0" presId="urn:microsoft.com/office/officeart/2008/layout/SquareAccentList"/>
    <dgm:cxn modelId="{180A88A7-610B-4DE9-A920-E638DC1A4FE6}" srcId="{319C5AA9-B74E-4842-98B9-C39B58B2AEA7}" destId="{25D38389-5544-4C07-B828-DFBDDFE7DA30}" srcOrd="4" destOrd="0" parTransId="{F0926A18-8B0F-46DC-B887-35E11801DF45}" sibTransId="{4C5A6D47-942C-40E4-896F-E298EE4F86A4}"/>
    <dgm:cxn modelId="{034E90A5-DB79-4DF4-B6EB-138EDECC0020}" type="presOf" srcId="{D4B4B312-5878-4746-8F10-728F2BDD1D7C}" destId="{868C1B50-30F7-4FE8-A3E3-2909E588AB73}" srcOrd="0" destOrd="0" presId="urn:microsoft.com/office/officeart/2008/layout/SquareAccentList"/>
    <dgm:cxn modelId="{A28E1754-652C-4C10-9830-6B921B5B2DCD}" srcId="{319C5AA9-B74E-4842-98B9-C39B58B2AEA7}" destId="{084746DB-6053-4EAC-8ACE-DD99AE20685B}" srcOrd="3" destOrd="0" parTransId="{1A1E3242-E102-4FFB-9B3D-80FEBFD9B059}" sibTransId="{55ECD491-65D6-4600-8547-4B9C9D7D9DC2}"/>
    <dgm:cxn modelId="{D9F2C76E-1EA4-4610-AB8D-B5722D9AE79A}" srcId="{319C5AA9-B74E-4842-98B9-C39B58B2AEA7}" destId="{1F236109-D6C5-493D-8378-0B73AA7740D2}" srcOrd="6" destOrd="0" parTransId="{8B766B1E-ED8D-488A-BF29-2A97AAFA3C4D}" sibTransId="{446CBD32-3750-4C6B-8DA6-2A2DB59CA4D0}"/>
    <dgm:cxn modelId="{2D769DEE-E816-48E6-8D41-A23324331FCE}" srcId="{319C5AA9-B74E-4842-98B9-C39B58B2AEA7}" destId="{A9C5B32F-678E-422F-9F0F-9B5F7AB4C2E2}" srcOrd="0" destOrd="0" parTransId="{A655ECB0-258B-426C-9B88-5BB82642A55D}" sibTransId="{6BE967DE-C4A0-4B7C-BE3B-0348FC96945B}"/>
    <dgm:cxn modelId="{16E04E2E-DE48-4A0C-8388-0BE5B3BC4AA6}" srcId="{319C5AA9-B74E-4842-98B9-C39B58B2AEA7}" destId="{ED4855BF-AC40-4608-8783-3755D58CD56E}" srcOrd="1" destOrd="0" parTransId="{417F9AFE-9409-42C1-ACDA-E43D5422A0DE}" sibTransId="{6C1864EE-5C3E-4EB1-B445-BAF5DD1C77A8}"/>
    <dgm:cxn modelId="{80966DF1-BAE1-467D-8D8F-F9D7B4BF8DF1}" type="presOf" srcId="{ED4855BF-AC40-4608-8783-3755D58CD56E}" destId="{BBE4FBF4-5C83-46EF-83E1-8B3F53F8544C}" srcOrd="0" destOrd="0" presId="urn:microsoft.com/office/officeart/2008/layout/SquareAccentList"/>
    <dgm:cxn modelId="{17D32B9B-5ED2-4D78-8BA5-E30AC1024842}" type="presOf" srcId="{25D38389-5544-4C07-B828-DFBDDFE7DA30}" destId="{101C428E-70BE-45A9-A946-2E7259DE3E32}" srcOrd="0" destOrd="0" presId="urn:microsoft.com/office/officeart/2008/layout/SquareAccentList"/>
    <dgm:cxn modelId="{8595BDF3-2C2B-4D45-8A78-FC577A245823}" type="presParOf" srcId="{A4E89252-3FC3-415C-A11B-FE9C2249C067}" destId="{B8D8AB10-DD8B-4232-9884-6B33C9106981}" srcOrd="0" destOrd="0" presId="urn:microsoft.com/office/officeart/2008/layout/SquareAccentList"/>
    <dgm:cxn modelId="{96F15855-307F-414C-A31C-E241E98BDE45}" type="presParOf" srcId="{B8D8AB10-DD8B-4232-9884-6B33C9106981}" destId="{A8051516-A9E1-44E5-8D56-07493E9D1D25}" srcOrd="0" destOrd="0" presId="urn:microsoft.com/office/officeart/2008/layout/SquareAccentList"/>
    <dgm:cxn modelId="{7025B06E-9064-45C9-904F-345E13BB6C9D}" type="presParOf" srcId="{A8051516-A9E1-44E5-8D56-07493E9D1D25}" destId="{4ECB17D8-AC68-4A18-98BD-49643B0A899A}" srcOrd="0" destOrd="0" presId="urn:microsoft.com/office/officeart/2008/layout/SquareAccentList"/>
    <dgm:cxn modelId="{1030E8F6-62EE-42ED-BBAA-AA6CF6F091F1}" type="presParOf" srcId="{A8051516-A9E1-44E5-8D56-07493E9D1D25}" destId="{953BD317-C98B-467E-9698-C0D7C10585BF}" srcOrd="1" destOrd="0" presId="urn:microsoft.com/office/officeart/2008/layout/SquareAccentList"/>
    <dgm:cxn modelId="{2B6DA3DD-DD18-4254-A060-E127A730B23A}" type="presParOf" srcId="{A8051516-A9E1-44E5-8D56-07493E9D1D25}" destId="{868C1B50-30F7-4FE8-A3E3-2909E588AB73}" srcOrd="2" destOrd="0" presId="urn:microsoft.com/office/officeart/2008/layout/SquareAccentList"/>
    <dgm:cxn modelId="{8ECBA9CD-FE2C-4787-8141-D2E7B4B496EF}" type="presParOf" srcId="{B8D8AB10-DD8B-4232-9884-6B33C9106981}" destId="{29E950B1-A8D8-4631-9977-03F6DD39C12F}" srcOrd="1" destOrd="0" presId="urn:microsoft.com/office/officeart/2008/layout/SquareAccentList"/>
    <dgm:cxn modelId="{31159604-2369-4AE7-90CA-E98CF2AB5BA8}" type="presParOf" srcId="{29E950B1-A8D8-4631-9977-03F6DD39C12F}" destId="{9EA22896-5E75-4CE9-B808-CBE7AC4B3764}" srcOrd="0" destOrd="0" presId="urn:microsoft.com/office/officeart/2008/layout/SquareAccentList"/>
    <dgm:cxn modelId="{178A3F8E-3AA4-4204-8E69-0758C987E233}" type="presParOf" srcId="{9EA22896-5E75-4CE9-B808-CBE7AC4B3764}" destId="{38F68C01-C906-4869-9818-13495BC59136}" srcOrd="0" destOrd="0" presId="urn:microsoft.com/office/officeart/2008/layout/SquareAccentList"/>
    <dgm:cxn modelId="{6999E477-FD1F-4902-AEAB-89BF526E2886}" type="presParOf" srcId="{9EA22896-5E75-4CE9-B808-CBE7AC4B3764}" destId="{16DD2747-BD29-41E0-890C-3562A35BB866}" srcOrd="1" destOrd="0" presId="urn:microsoft.com/office/officeart/2008/layout/SquareAccentList"/>
    <dgm:cxn modelId="{61A85EFF-D0CB-4974-A4D7-BB52D2B14C3E}" type="presParOf" srcId="{29E950B1-A8D8-4631-9977-03F6DD39C12F}" destId="{9F5FF82E-F6E8-4C8D-B14B-BEC779444EC3}" srcOrd="1" destOrd="0" presId="urn:microsoft.com/office/officeart/2008/layout/SquareAccentList"/>
    <dgm:cxn modelId="{73C57DE2-35AA-42AA-BA52-7301A3281372}" type="presParOf" srcId="{9F5FF82E-F6E8-4C8D-B14B-BEC779444EC3}" destId="{D3CD1AA7-427A-47D2-87C0-0BDB46090F35}" srcOrd="0" destOrd="0" presId="urn:microsoft.com/office/officeart/2008/layout/SquareAccentList"/>
    <dgm:cxn modelId="{5CB394F7-268E-41CE-B91F-5CD7B0931927}" type="presParOf" srcId="{9F5FF82E-F6E8-4C8D-B14B-BEC779444EC3}" destId="{1DD65C6C-5CD1-4DCF-9208-6658A14CAF3B}" srcOrd="1" destOrd="0" presId="urn:microsoft.com/office/officeart/2008/layout/SquareAccentList"/>
    <dgm:cxn modelId="{D00DB2DA-A4E6-4458-AA57-EECF5688957A}" type="presParOf" srcId="{29E950B1-A8D8-4631-9977-03F6DD39C12F}" destId="{27D00DD5-F6C2-4FEF-969D-925132B58639}" srcOrd="2" destOrd="0" presId="urn:microsoft.com/office/officeart/2008/layout/SquareAccentList"/>
    <dgm:cxn modelId="{BC6AB2EA-0C9A-4889-8DC8-CA7154A8368A}" type="presParOf" srcId="{27D00DD5-F6C2-4FEF-969D-925132B58639}" destId="{A9B1A82E-5BF0-4DC0-820E-9E98A7A78DC1}" srcOrd="0" destOrd="0" presId="urn:microsoft.com/office/officeart/2008/layout/SquareAccentList"/>
    <dgm:cxn modelId="{C2574C67-C936-4E5E-99E1-E87B48683C9C}" type="presParOf" srcId="{27D00DD5-F6C2-4FEF-969D-925132B58639}" destId="{BEA52548-7F0B-4194-922E-A22B6CEB787A}" srcOrd="1" destOrd="0" presId="urn:microsoft.com/office/officeart/2008/layout/SquareAccentList"/>
    <dgm:cxn modelId="{41EB963A-C45D-499F-A9A9-0397983CA0AF}" type="presParOf" srcId="{29E950B1-A8D8-4631-9977-03F6DD39C12F}" destId="{D574E7B1-B898-4F71-ACB1-450F519AB84F}" srcOrd="3" destOrd="0" presId="urn:microsoft.com/office/officeart/2008/layout/SquareAccentList"/>
    <dgm:cxn modelId="{8C4B00C4-66B8-4DB5-9C7C-31E54622B850}" type="presParOf" srcId="{D574E7B1-B898-4F71-ACB1-450F519AB84F}" destId="{0B6554F1-599A-4825-A226-235278719BF0}" srcOrd="0" destOrd="0" presId="urn:microsoft.com/office/officeart/2008/layout/SquareAccentList"/>
    <dgm:cxn modelId="{835583CC-801D-4124-AEEC-452DCE334D15}" type="presParOf" srcId="{D574E7B1-B898-4F71-ACB1-450F519AB84F}" destId="{2BF28918-290C-4CEC-A160-1F951E85F41A}" srcOrd="1" destOrd="0" presId="urn:microsoft.com/office/officeart/2008/layout/SquareAccentList"/>
    <dgm:cxn modelId="{9021A06A-DC4A-4A73-B0C3-35764052936D}" type="presParOf" srcId="{29E950B1-A8D8-4631-9977-03F6DD39C12F}" destId="{5DD5D71D-9F41-4E6B-9221-FF85930D24FD}" srcOrd="4" destOrd="0" presId="urn:microsoft.com/office/officeart/2008/layout/SquareAccentList"/>
    <dgm:cxn modelId="{8FED0FA9-B753-447C-9FD5-A043EDDC506B}" type="presParOf" srcId="{5DD5D71D-9F41-4E6B-9221-FF85930D24FD}" destId="{303A1F3E-5E91-4C06-975D-3063A4565DDC}" srcOrd="0" destOrd="0" presId="urn:microsoft.com/office/officeart/2008/layout/SquareAccentList"/>
    <dgm:cxn modelId="{2DCA4676-A5F1-4CCD-92DB-3EC2D588518E}" type="presParOf" srcId="{5DD5D71D-9F41-4E6B-9221-FF85930D24FD}" destId="{16F1540D-83B9-43E2-ACF7-8DC5FE84AAE0}" srcOrd="1" destOrd="0" presId="urn:microsoft.com/office/officeart/2008/layout/SquareAccentList"/>
    <dgm:cxn modelId="{483280F3-5C20-4C24-BC6A-60038703329B}" type="presParOf" srcId="{29E950B1-A8D8-4631-9977-03F6DD39C12F}" destId="{E087A980-D3D8-4B2F-81C8-4CF3E5A5007E}" srcOrd="5" destOrd="0" presId="urn:microsoft.com/office/officeart/2008/layout/SquareAccentList"/>
    <dgm:cxn modelId="{8E53694C-8576-4231-8B4F-744DB46C5B47}" type="presParOf" srcId="{E087A980-D3D8-4B2F-81C8-4CF3E5A5007E}" destId="{5323BBC2-D2C7-4D07-9BE0-9B92B5AEB191}" srcOrd="0" destOrd="0" presId="urn:microsoft.com/office/officeart/2008/layout/SquareAccentList"/>
    <dgm:cxn modelId="{1D0BE4EA-7333-41FE-BFE1-68AF1D7105A8}" type="presParOf" srcId="{E087A980-D3D8-4B2F-81C8-4CF3E5A5007E}" destId="{05A1BFC1-F640-4701-B9B7-AD152C98F241}" srcOrd="1" destOrd="0" presId="urn:microsoft.com/office/officeart/2008/layout/SquareAccentList"/>
    <dgm:cxn modelId="{CE7860BC-45C3-456C-88CF-B1166290BDA3}" type="presParOf" srcId="{29E950B1-A8D8-4631-9977-03F6DD39C12F}" destId="{23554C9D-EAC4-4E9E-95A5-99A1344FE5FD}" srcOrd="6" destOrd="0" presId="urn:microsoft.com/office/officeart/2008/layout/SquareAccentList"/>
    <dgm:cxn modelId="{F4E46256-F817-488D-82CD-9BADE402B40F}" type="presParOf" srcId="{23554C9D-EAC4-4E9E-95A5-99A1344FE5FD}" destId="{94A12A5F-CAC0-4962-A4E5-14F334AB4288}" srcOrd="0" destOrd="0" presId="urn:microsoft.com/office/officeart/2008/layout/SquareAccentList"/>
    <dgm:cxn modelId="{5FD04865-1632-43FB-A2FA-B58D0C9776BB}" type="presParOf" srcId="{23554C9D-EAC4-4E9E-95A5-99A1344FE5FD}" destId="{4BEF719D-37F3-42D6-858A-A4C4E8C5B74A}" srcOrd="1" destOrd="0" presId="urn:microsoft.com/office/officeart/2008/layout/SquareAccentList"/>
    <dgm:cxn modelId="{8DE3068E-878A-45CF-A31C-542187547324}" type="presParOf" srcId="{A4E89252-3FC3-415C-A11B-FE9C2249C067}" destId="{C8292AD9-19D2-4B45-86C7-96B0002BB34F}" srcOrd="1" destOrd="0" presId="urn:microsoft.com/office/officeart/2008/layout/SquareAccentList"/>
    <dgm:cxn modelId="{0EEC36E8-0893-412E-B99B-141E31F8289A}" type="presParOf" srcId="{C8292AD9-19D2-4B45-86C7-96B0002BB34F}" destId="{77D9CB31-1306-4E0D-A572-B3D3B626A6D5}" srcOrd="0" destOrd="0" presId="urn:microsoft.com/office/officeart/2008/layout/SquareAccentList"/>
    <dgm:cxn modelId="{0B85FD49-4D56-45E4-8BA4-C9670C515ED0}" type="presParOf" srcId="{77D9CB31-1306-4E0D-A572-B3D3B626A6D5}" destId="{8C084DFE-68A3-4646-B8D7-6D0A74547684}" srcOrd="0" destOrd="0" presId="urn:microsoft.com/office/officeart/2008/layout/SquareAccentList"/>
    <dgm:cxn modelId="{F240781E-04FD-439D-AEE1-D1C5D7809484}" type="presParOf" srcId="{77D9CB31-1306-4E0D-A572-B3D3B626A6D5}" destId="{19DFDF9E-FB1B-48A0-B20A-F45B00ADBB6C}" srcOrd="1" destOrd="0" presId="urn:microsoft.com/office/officeart/2008/layout/SquareAccentList"/>
    <dgm:cxn modelId="{28F3FE25-CC7E-4A06-89D6-256E051AEA90}" type="presParOf" srcId="{77D9CB31-1306-4E0D-A572-B3D3B626A6D5}" destId="{3CF008CD-AA8C-4A39-9853-A04AD7F08E2A}" srcOrd="2" destOrd="0" presId="urn:microsoft.com/office/officeart/2008/layout/SquareAccentList"/>
    <dgm:cxn modelId="{560EDC81-B04D-4494-B1CB-21D5C996BEC8}" type="presParOf" srcId="{C8292AD9-19D2-4B45-86C7-96B0002BB34F}" destId="{C9920DD6-85B8-43AC-A10C-F58E56795432}" srcOrd="1" destOrd="0" presId="urn:microsoft.com/office/officeart/2008/layout/SquareAccentList"/>
    <dgm:cxn modelId="{12515906-3114-49C4-999B-39B8EB9E29E2}" type="presParOf" srcId="{C9920DD6-85B8-43AC-A10C-F58E56795432}" destId="{0800013F-EFB3-4BA9-A349-BBD35BAE9FAE}" srcOrd="0" destOrd="0" presId="urn:microsoft.com/office/officeart/2008/layout/SquareAccentList"/>
    <dgm:cxn modelId="{E8ED761F-B618-4434-A8F0-3ABB85D3A6ED}" type="presParOf" srcId="{0800013F-EFB3-4BA9-A349-BBD35BAE9FAE}" destId="{6CB55965-661A-43E6-8644-02DAE231CB5A}" srcOrd="0" destOrd="0" presId="urn:microsoft.com/office/officeart/2008/layout/SquareAccentList"/>
    <dgm:cxn modelId="{F07FBCCB-FB46-4F25-B444-A1FB6A9DDECA}" type="presParOf" srcId="{0800013F-EFB3-4BA9-A349-BBD35BAE9FAE}" destId="{87AAF2B2-B649-4600-8571-C7D27C586CF4}" srcOrd="1" destOrd="0" presId="urn:microsoft.com/office/officeart/2008/layout/SquareAccentList"/>
    <dgm:cxn modelId="{899DC20C-E45B-417A-852E-6CDA17E18E2C}" type="presParOf" srcId="{C9920DD6-85B8-43AC-A10C-F58E56795432}" destId="{43AA1B58-6B0A-4ECD-A731-52FC0A564298}" srcOrd="1" destOrd="0" presId="urn:microsoft.com/office/officeart/2008/layout/SquareAccentList"/>
    <dgm:cxn modelId="{25330638-CCA1-46B8-B7D1-64D9F35DDDF3}" type="presParOf" srcId="{43AA1B58-6B0A-4ECD-A731-52FC0A564298}" destId="{A7960A5C-341E-4D91-8DF2-98D81BEEC619}" srcOrd="0" destOrd="0" presId="urn:microsoft.com/office/officeart/2008/layout/SquareAccentList"/>
    <dgm:cxn modelId="{887432B8-43AD-472B-AA81-F1D871694170}" type="presParOf" srcId="{43AA1B58-6B0A-4ECD-A731-52FC0A564298}" destId="{BBE4FBF4-5C83-46EF-83E1-8B3F53F8544C}" srcOrd="1" destOrd="0" presId="urn:microsoft.com/office/officeart/2008/layout/SquareAccentList"/>
    <dgm:cxn modelId="{B34C7B9B-F10D-48C9-937F-3130F1CC8AE3}" type="presParOf" srcId="{C9920DD6-85B8-43AC-A10C-F58E56795432}" destId="{A7275965-535C-4F86-8D79-2707C24FD024}" srcOrd="2" destOrd="0" presId="urn:microsoft.com/office/officeart/2008/layout/SquareAccentList"/>
    <dgm:cxn modelId="{C1BFA0A1-26F4-4770-B84C-E5E811F01380}" type="presParOf" srcId="{A7275965-535C-4F86-8D79-2707C24FD024}" destId="{3B8704F1-73EB-4388-ABD4-919506A5CADF}" srcOrd="0" destOrd="0" presId="urn:microsoft.com/office/officeart/2008/layout/SquareAccentList"/>
    <dgm:cxn modelId="{3627088A-F511-4552-BF79-521285ACBBE4}" type="presParOf" srcId="{A7275965-535C-4F86-8D79-2707C24FD024}" destId="{17998FA8-1245-4E32-B6B9-316239A9C12C}" srcOrd="1" destOrd="0" presId="urn:microsoft.com/office/officeart/2008/layout/SquareAccentList"/>
    <dgm:cxn modelId="{0783473F-DC1A-404F-B9CB-221B0CD113C8}" type="presParOf" srcId="{C9920DD6-85B8-43AC-A10C-F58E56795432}" destId="{9E949589-5B4E-4663-BEA6-21C4EAC9D6BB}" srcOrd="3" destOrd="0" presId="urn:microsoft.com/office/officeart/2008/layout/SquareAccentList"/>
    <dgm:cxn modelId="{6D901B3B-ECFE-4947-A706-7F55B3B39F63}" type="presParOf" srcId="{9E949589-5B4E-4663-BEA6-21C4EAC9D6BB}" destId="{69614E66-55EC-431A-B95C-B428E0F2B14D}" srcOrd="0" destOrd="0" presId="urn:microsoft.com/office/officeart/2008/layout/SquareAccentList"/>
    <dgm:cxn modelId="{D209AD86-E80E-4F67-9EE3-D2652A58FB45}" type="presParOf" srcId="{9E949589-5B4E-4663-BEA6-21C4EAC9D6BB}" destId="{B685AECC-A085-437C-BA08-2AC39FBB31B4}" srcOrd="1" destOrd="0" presId="urn:microsoft.com/office/officeart/2008/layout/SquareAccentList"/>
    <dgm:cxn modelId="{08BEAEF2-5552-4054-BF14-46455E0390B0}" type="presParOf" srcId="{C9920DD6-85B8-43AC-A10C-F58E56795432}" destId="{EFC69BE9-DE96-4B4E-996B-F4793B47F336}" srcOrd="4" destOrd="0" presId="urn:microsoft.com/office/officeart/2008/layout/SquareAccentList"/>
    <dgm:cxn modelId="{5816F7E2-29C4-4346-96CF-918C8D02AAF9}" type="presParOf" srcId="{EFC69BE9-DE96-4B4E-996B-F4793B47F336}" destId="{F3D36F59-9A4E-4975-95DE-2AA6638776C8}" srcOrd="0" destOrd="0" presId="urn:microsoft.com/office/officeart/2008/layout/SquareAccentList"/>
    <dgm:cxn modelId="{58DF8500-2513-433C-BAE2-E04615E08E96}" type="presParOf" srcId="{EFC69BE9-DE96-4B4E-996B-F4793B47F336}" destId="{101C428E-70BE-45A9-A946-2E7259DE3E32}" srcOrd="1" destOrd="0" presId="urn:microsoft.com/office/officeart/2008/layout/SquareAccentList"/>
    <dgm:cxn modelId="{71CF9513-F0F6-416D-822E-FF936F1ED010}" type="presParOf" srcId="{C9920DD6-85B8-43AC-A10C-F58E56795432}" destId="{89AA271C-254C-4263-B44A-791B98A995C9}" srcOrd="5" destOrd="0" presId="urn:microsoft.com/office/officeart/2008/layout/SquareAccentList"/>
    <dgm:cxn modelId="{A5E9492A-01E0-425F-ACFF-930CCF28A264}" type="presParOf" srcId="{89AA271C-254C-4263-B44A-791B98A995C9}" destId="{EFE313B5-54FA-4C86-A1F3-AD91732E6A1C}" srcOrd="0" destOrd="0" presId="urn:microsoft.com/office/officeart/2008/layout/SquareAccentList"/>
    <dgm:cxn modelId="{90A21A3F-B12D-4786-89A9-E4C696B37D45}" type="presParOf" srcId="{89AA271C-254C-4263-B44A-791B98A995C9}" destId="{4171185D-B5F0-46EF-80F8-118F71910648}" srcOrd="1" destOrd="0" presId="urn:microsoft.com/office/officeart/2008/layout/SquareAccentList"/>
    <dgm:cxn modelId="{3F6071DA-E163-49FA-879E-69F3862CD03D}" type="presParOf" srcId="{C9920DD6-85B8-43AC-A10C-F58E56795432}" destId="{09A5BE5B-1E39-4D62-B265-025D74F119FF}" srcOrd="6" destOrd="0" presId="urn:microsoft.com/office/officeart/2008/layout/SquareAccentList"/>
    <dgm:cxn modelId="{C00D50A1-8277-4C70-B421-A7C605A1D509}" type="presParOf" srcId="{09A5BE5B-1E39-4D62-B265-025D74F119FF}" destId="{F3BFAB1C-4A29-400D-89E1-243677065C09}" srcOrd="0" destOrd="0" presId="urn:microsoft.com/office/officeart/2008/layout/SquareAccentList"/>
    <dgm:cxn modelId="{138466CC-A2F5-4965-AD69-11F2EE3DEFE3}" type="presParOf" srcId="{09A5BE5B-1E39-4D62-B265-025D74F119FF}" destId="{BB9372AA-C02A-4D50-9750-56C197410CD3}"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47B5481-5678-4E1F-A4BC-C870DCC5FC00}" type="doc">
      <dgm:prSet loTypeId="urn:microsoft.com/office/officeart/2005/8/layout/venn3" loCatId="relationship" qsTypeId="urn:microsoft.com/office/officeart/2005/8/quickstyle/3d1" qsCatId="3D" csTypeId="urn:microsoft.com/office/officeart/2005/8/colors/accent1_2" csCatId="accent1" phldr="1"/>
      <dgm:spPr/>
      <dgm:t>
        <a:bodyPr/>
        <a:lstStyle/>
        <a:p>
          <a:endParaRPr lang="zh-CN" altLang="en-US"/>
        </a:p>
      </dgm:t>
    </dgm:pt>
    <dgm:pt modelId="{115267F7-1643-49C6-B20F-89396F9D1DE4}">
      <dgm:prSet phldrT="[文本]"/>
      <dgm:spPr/>
      <dgm:t>
        <a:bodyPr/>
        <a:lstStyle/>
        <a:p>
          <a:r>
            <a:rPr lang="zh-CN" altLang="en-US" dirty="0" smtClean="0"/>
            <a:t>提升安全</a:t>
          </a:r>
          <a:endParaRPr lang="zh-CN" altLang="en-US" dirty="0"/>
        </a:p>
      </dgm:t>
    </dgm:pt>
    <dgm:pt modelId="{F138A192-D0CC-4B19-96A9-550140DC0578}" type="parTrans" cxnId="{DBC57770-3566-410E-B9C4-AC2226AA6D86}">
      <dgm:prSet/>
      <dgm:spPr/>
      <dgm:t>
        <a:bodyPr/>
        <a:lstStyle/>
        <a:p>
          <a:endParaRPr lang="zh-CN" altLang="en-US"/>
        </a:p>
      </dgm:t>
    </dgm:pt>
    <dgm:pt modelId="{E09DDBD8-A314-4A94-8EFD-67FFFA1C5085}" type="sibTrans" cxnId="{DBC57770-3566-410E-B9C4-AC2226AA6D86}">
      <dgm:prSet/>
      <dgm:spPr/>
      <dgm:t>
        <a:bodyPr/>
        <a:lstStyle/>
        <a:p>
          <a:endParaRPr lang="zh-CN" altLang="en-US"/>
        </a:p>
      </dgm:t>
    </dgm:pt>
    <dgm:pt modelId="{D33287A6-8A8B-4F44-810C-11F9D58D54DA}">
      <dgm:prSet phldrT="[文本]"/>
      <dgm:spPr/>
      <dgm:t>
        <a:bodyPr/>
        <a:lstStyle/>
        <a:p>
          <a:r>
            <a:rPr lang="zh-CN" altLang="en-US" dirty="0" smtClean="0"/>
            <a:t>渗透测试</a:t>
          </a:r>
          <a:endParaRPr lang="zh-CN" altLang="en-US" dirty="0"/>
        </a:p>
      </dgm:t>
    </dgm:pt>
    <dgm:pt modelId="{A10154A6-3CB3-4E7E-B6BB-DD79E22D694B}" type="parTrans" cxnId="{61F2556C-1C46-43AE-937A-5175852B0060}">
      <dgm:prSet/>
      <dgm:spPr/>
      <dgm:t>
        <a:bodyPr/>
        <a:lstStyle/>
        <a:p>
          <a:endParaRPr lang="zh-CN" altLang="en-US"/>
        </a:p>
      </dgm:t>
    </dgm:pt>
    <dgm:pt modelId="{9EF6597F-8AA3-4149-ACE1-3489CF87DC3C}" type="sibTrans" cxnId="{61F2556C-1C46-43AE-937A-5175852B0060}">
      <dgm:prSet/>
      <dgm:spPr/>
      <dgm:t>
        <a:bodyPr/>
        <a:lstStyle/>
        <a:p>
          <a:endParaRPr lang="zh-CN" altLang="en-US"/>
        </a:p>
      </dgm:t>
    </dgm:pt>
    <dgm:pt modelId="{8757255D-9194-4576-A96A-9F3D38BBEC8E}">
      <dgm:prSet phldrT="[文本]"/>
      <dgm:spPr/>
      <dgm:t>
        <a:bodyPr/>
        <a:lstStyle/>
        <a:p>
          <a:r>
            <a:rPr lang="zh-CN" altLang="en-US" dirty="0" smtClean="0"/>
            <a:t>黑客入侵</a:t>
          </a:r>
          <a:endParaRPr lang="zh-CN" altLang="en-US" dirty="0"/>
        </a:p>
      </dgm:t>
    </dgm:pt>
    <dgm:pt modelId="{DFE4689A-5C33-4D47-B88F-22DA46EC02BF}" type="parTrans" cxnId="{550186B0-3160-4CB4-BC36-700A57608846}">
      <dgm:prSet/>
      <dgm:spPr/>
      <dgm:t>
        <a:bodyPr/>
        <a:lstStyle/>
        <a:p>
          <a:endParaRPr lang="zh-CN" altLang="en-US"/>
        </a:p>
      </dgm:t>
    </dgm:pt>
    <dgm:pt modelId="{67A431CD-5168-4CAE-BD42-83FB5684A9B5}" type="sibTrans" cxnId="{550186B0-3160-4CB4-BC36-700A57608846}">
      <dgm:prSet/>
      <dgm:spPr/>
      <dgm:t>
        <a:bodyPr/>
        <a:lstStyle/>
        <a:p>
          <a:endParaRPr lang="zh-CN" altLang="en-US"/>
        </a:p>
      </dgm:t>
    </dgm:pt>
    <dgm:pt modelId="{F38552EF-994E-4D1C-9BC5-6CEF3F401654}">
      <dgm:prSet phldrT="[文本]"/>
      <dgm:spPr/>
      <dgm:t>
        <a:bodyPr/>
        <a:lstStyle/>
        <a:p>
          <a:r>
            <a:rPr lang="zh-CN" altLang="en-US" dirty="0" smtClean="0"/>
            <a:t>图谋利益</a:t>
          </a:r>
          <a:endParaRPr lang="zh-CN" altLang="en-US" dirty="0"/>
        </a:p>
      </dgm:t>
    </dgm:pt>
    <dgm:pt modelId="{1F76AA62-832F-4F4A-93BF-0D8523F79158}" type="parTrans" cxnId="{5FB1BE61-76B1-44D2-8B91-8AA0404C50D6}">
      <dgm:prSet/>
      <dgm:spPr/>
      <dgm:t>
        <a:bodyPr/>
        <a:lstStyle/>
        <a:p>
          <a:endParaRPr lang="zh-CN" altLang="en-US"/>
        </a:p>
      </dgm:t>
    </dgm:pt>
    <dgm:pt modelId="{31FC0D4A-CF09-4911-813A-EBCC2A5C010F}" type="sibTrans" cxnId="{5FB1BE61-76B1-44D2-8B91-8AA0404C50D6}">
      <dgm:prSet/>
      <dgm:spPr/>
      <dgm:t>
        <a:bodyPr/>
        <a:lstStyle/>
        <a:p>
          <a:endParaRPr lang="zh-CN" altLang="en-US"/>
        </a:p>
      </dgm:t>
    </dgm:pt>
    <dgm:pt modelId="{B2E01AE8-5BB7-4BB6-8EDD-A39CDEB3D60C}">
      <dgm:prSet phldrT="[文本]"/>
      <dgm:spPr/>
      <dgm:t>
        <a:bodyPr/>
        <a:lstStyle/>
        <a:p>
          <a:r>
            <a:rPr lang="zh-CN" altLang="en-US" dirty="0" smtClean="0"/>
            <a:t>存在危害</a:t>
          </a:r>
          <a:endParaRPr lang="zh-CN" altLang="en-US" dirty="0"/>
        </a:p>
      </dgm:t>
    </dgm:pt>
    <dgm:pt modelId="{8175619D-AFDE-4862-A4FB-DCE49BEF56B7}" type="parTrans" cxnId="{3C45AD00-F377-4E38-A98C-CAD6E95E1B43}">
      <dgm:prSet/>
      <dgm:spPr/>
      <dgm:t>
        <a:bodyPr/>
        <a:lstStyle/>
        <a:p>
          <a:endParaRPr lang="zh-CN" altLang="en-US"/>
        </a:p>
      </dgm:t>
    </dgm:pt>
    <dgm:pt modelId="{B848600A-C728-476B-84A8-184A1B0954B5}" type="sibTrans" cxnId="{3C45AD00-F377-4E38-A98C-CAD6E95E1B43}">
      <dgm:prSet/>
      <dgm:spPr/>
      <dgm:t>
        <a:bodyPr/>
        <a:lstStyle/>
        <a:p>
          <a:endParaRPr lang="zh-CN" altLang="en-US"/>
        </a:p>
      </dgm:t>
    </dgm:pt>
    <dgm:pt modelId="{15404E61-478A-4F76-B8A6-B4AAB483F5A8}">
      <dgm:prSet phldrT="[文本]"/>
      <dgm:spPr/>
      <dgm:t>
        <a:bodyPr/>
        <a:lstStyle/>
        <a:p>
          <a:r>
            <a:rPr lang="zh-CN" altLang="en-US" dirty="0" smtClean="0"/>
            <a:t>安全测试</a:t>
          </a:r>
          <a:endParaRPr lang="zh-CN" altLang="en-US" dirty="0"/>
        </a:p>
      </dgm:t>
    </dgm:pt>
    <dgm:pt modelId="{0475C4F2-2CFE-437A-B7B8-32A9BADA8802}" type="parTrans" cxnId="{C2054EAB-C7C1-4F2C-8FA4-8EFB400FF9DC}">
      <dgm:prSet/>
      <dgm:spPr/>
      <dgm:t>
        <a:bodyPr/>
        <a:lstStyle/>
        <a:p>
          <a:endParaRPr lang="zh-CN" altLang="en-US"/>
        </a:p>
      </dgm:t>
    </dgm:pt>
    <dgm:pt modelId="{2F39BBBD-8F97-4874-943F-75C32FBB86D7}" type="sibTrans" cxnId="{C2054EAB-C7C1-4F2C-8FA4-8EFB400FF9DC}">
      <dgm:prSet/>
      <dgm:spPr/>
      <dgm:t>
        <a:bodyPr/>
        <a:lstStyle/>
        <a:p>
          <a:endParaRPr lang="zh-CN" altLang="en-US"/>
        </a:p>
      </dgm:t>
    </dgm:pt>
    <dgm:pt modelId="{E090CB59-733C-43B8-B3BD-D9CB37ED3EE0}">
      <dgm:prSet phldrT="[文本]"/>
      <dgm:spPr/>
      <dgm:t>
        <a:bodyPr/>
        <a:lstStyle/>
        <a:p>
          <a:r>
            <a:rPr lang="zh-CN" altLang="en-US" dirty="0" smtClean="0"/>
            <a:t>非法入侵</a:t>
          </a:r>
          <a:endParaRPr lang="zh-CN" altLang="en-US" dirty="0"/>
        </a:p>
      </dgm:t>
    </dgm:pt>
    <dgm:pt modelId="{AED4E8A8-D5E0-45B6-890E-9B86C597B000}" type="parTrans" cxnId="{E977D83B-34D3-49A7-9832-0C0070E199A2}">
      <dgm:prSet/>
      <dgm:spPr/>
      <dgm:t>
        <a:bodyPr/>
        <a:lstStyle/>
        <a:p>
          <a:endParaRPr lang="zh-CN" altLang="en-US"/>
        </a:p>
      </dgm:t>
    </dgm:pt>
    <dgm:pt modelId="{BDAB49B9-15DB-47C3-A957-C5948C544621}" type="sibTrans" cxnId="{E977D83B-34D3-49A7-9832-0C0070E199A2}">
      <dgm:prSet/>
      <dgm:spPr/>
      <dgm:t>
        <a:bodyPr/>
        <a:lstStyle/>
        <a:p>
          <a:endParaRPr lang="zh-CN" altLang="en-US"/>
        </a:p>
      </dgm:t>
    </dgm:pt>
    <dgm:pt modelId="{4AB7E3B6-6341-475B-B4AB-6EF7A9E00EEF}">
      <dgm:prSet phldrT="[文本]"/>
      <dgm:spPr/>
      <dgm:t>
        <a:bodyPr/>
        <a:lstStyle/>
        <a:p>
          <a:r>
            <a:rPr lang="zh-CN" altLang="en-US" dirty="0" smtClean="0"/>
            <a:t>授权合法</a:t>
          </a:r>
          <a:endParaRPr lang="zh-CN" altLang="en-US" dirty="0"/>
        </a:p>
      </dgm:t>
    </dgm:pt>
    <dgm:pt modelId="{E21B0DC8-9EB9-4D91-A061-7F779444B6B5}" type="parTrans" cxnId="{F367FAB7-BBEA-4414-BC8C-4D5A7532D108}">
      <dgm:prSet/>
      <dgm:spPr/>
      <dgm:t>
        <a:bodyPr/>
        <a:lstStyle/>
        <a:p>
          <a:endParaRPr lang="zh-CN" altLang="en-US"/>
        </a:p>
      </dgm:t>
    </dgm:pt>
    <dgm:pt modelId="{69ED8C8E-0275-42C1-8DA8-B13A61AA2896}" type="sibTrans" cxnId="{F367FAB7-BBEA-4414-BC8C-4D5A7532D108}">
      <dgm:prSet/>
      <dgm:spPr/>
      <dgm:t>
        <a:bodyPr/>
        <a:lstStyle/>
        <a:p>
          <a:endParaRPr lang="zh-CN" altLang="en-US"/>
        </a:p>
      </dgm:t>
    </dgm:pt>
    <dgm:pt modelId="{F5828C3D-74A7-415C-B632-3FFABC3FAD90}" type="pres">
      <dgm:prSet presAssocID="{247B5481-5678-4E1F-A4BC-C870DCC5FC00}" presName="Name0" presStyleCnt="0">
        <dgm:presLayoutVars>
          <dgm:dir/>
          <dgm:resizeHandles val="exact"/>
        </dgm:presLayoutVars>
      </dgm:prSet>
      <dgm:spPr/>
      <dgm:t>
        <a:bodyPr/>
        <a:lstStyle/>
        <a:p>
          <a:endParaRPr lang="zh-CN" altLang="en-US"/>
        </a:p>
      </dgm:t>
    </dgm:pt>
    <dgm:pt modelId="{9A2EED39-EE00-43EA-AB9E-0F03185B43C2}" type="pres">
      <dgm:prSet presAssocID="{D33287A6-8A8B-4F44-810C-11F9D58D54DA}" presName="Name5" presStyleLbl="vennNode1" presStyleIdx="0" presStyleCnt="2">
        <dgm:presLayoutVars>
          <dgm:bulletEnabled val="1"/>
        </dgm:presLayoutVars>
      </dgm:prSet>
      <dgm:spPr/>
      <dgm:t>
        <a:bodyPr/>
        <a:lstStyle/>
        <a:p>
          <a:endParaRPr lang="zh-CN" altLang="en-US"/>
        </a:p>
      </dgm:t>
    </dgm:pt>
    <dgm:pt modelId="{E60CBABF-6E02-4887-94D8-A167DAE57069}" type="pres">
      <dgm:prSet presAssocID="{9EF6597F-8AA3-4149-ACE1-3489CF87DC3C}" presName="space" presStyleCnt="0"/>
      <dgm:spPr/>
    </dgm:pt>
    <dgm:pt modelId="{78A23DF8-FDB5-4FA3-A7E5-77CFDB97981A}" type="pres">
      <dgm:prSet presAssocID="{8757255D-9194-4576-A96A-9F3D38BBEC8E}" presName="Name5" presStyleLbl="vennNode1" presStyleIdx="1" presStyleCnt="2">
        <dgm:presLayoutVars>
          <dgm:bulletEnabled val="1"/>
        </dgm:presLayoutVars>
      </dgm:prSet>
      <dgm:spPr/>
      <dgm:t>
        <a:bodyPr/>
        <a:lstStyle/>
        <a:p>
          <a:endParaRPr lang="zh-CN" altLang="en-US"/>
        </a:p>
      </dgm:t>
    </dgm:pt>
  </dgm:ptLst>
  <dgm:cxnLst>
    <dgm:cxn modelId="{08EFD5D0-FC27-40B1-A654-756BFA54DCD7}" type="presOf" srcId="{247B5481-5678-4E1F-A4BC-C870DCC5FC00}" destId="{F5828C3D-74A7-415C-B632-3FFABC3FAD90}" srcOrd="0" destOrd="0" presId="urn:microsoft.com/office/officeart/2005/8/layout/venn3"/>
    <dgm:cxn modelId="{3C45AD00-F377-4E38-A98C-CAD6E95E1B43}" srcId="{8757255D-9194-4576-A96A-9F3D38BBEC8E}" destId="{B2E01AE8-5BB7-4BB6-8EDD-A39CDEB3D60C}" srcOrd="1" destOrd="0" parTransId="{8175619D-AFDE-4862-A4FB-DCE49BEF56B7}" sibTransId="{B848600A-C728-476B-84A8-184A1B0954B5}"/>
    <dgm:cxn modelId="{F0BE5301-3D70-41C3-99C3-1AB12B011825}" type="presOf" srcId="{F38552EF-994E-4D1C-9BC5-6CEF3F401654}" destId="{78A23DF8-FDB5-4FA3-A7E5-77CFDB97981A}" srcOrd="0" destOrd="1" presId="urn:microsoft.com/office/officeart/2005/8/layout/venn3"/>
    <dgm:cxn modelId="{E977D83B-34D3-49A7-9832-0C0070E199A2}" srcId="{8757255D-9194-4576-A96A-9F3D38BBEC8E}" destId="{E090CB59-733C-43B8-B3BD-D9CB37ED3EE0}" srcOrd="2" destOrd="0" parTransId="{AED4E8A8-D5E0-45B6-890E-9B86C597B000}" sibTransId="{BDAB49B9-15DB-47C3-A957-C5948C544621}"/>
    <dgm:cxn modelId="{EB2341B3-FAC5-49D2-A750-B77239C0E0CD}" type="presOf" srcId="{B2E01AE8-5BB7-4BB6-8EDD-A39CDEB3D60C}" destId="{78A23DF8-FDB5-4FA3-A7E5-77CFDB97981A}" srcOrd="0" destOrd="2" presId="urn:microsoft.com/office/officeart/2005/8/layout/venn3"/>
    <dgm:cxn modelId="{DBC57770-3566-410E-B9C4-AC2226AA6D86}" srcId="{D33287A6-8A8B-4F44-810C-11F9D58D54DA}" destId="{115267F7-1643-49C6-B20F-89396F9D1DE4}" srcOrd="0" destOrd="0" parTransId="{F138A192-D0CC-4B19-96A9-550140DC0578}" sibTransId="{E09DDBD8-A314-4A94-8EFD-67FFFA1C5085}"/>
    <dgm:cxn modelId="{550186B0-3160-4CB4-BC36-700A57608846}" srcId="{247B5481-5678-4E1F-A4BC-C870DCC5FC00}" destId="{8757255D-9194-4576-A96A-9F3D38BBEC8E}" srcOrd="1" destOrd="0" parTransId="{DFE4689A-5C33-4D47-B88F-22DA46EC02BF}" sibTransId="{67A431CD-5168-4CAE-BD42-83FB5684A9B5}"/>
    <dgm:cxn modelId="{D365AEAA-ECCF-4B3C-9122-A2321643ED3B}" type="presOf" srcId="{E090CB59-733C-43B8-B3BD-D9CB37ED3EE0}" destId="{78A23DF8-FDB5-4FA3-A7E5-77CFDB97981A}" srcOrd="0" destOrd="3" presId="urn:microsoft.com/office/officeart/2005/8/layout/venn3"/>
    <dgm:cxn modelId="{EDE37B4B-2116-4BE5-B07D-F59A42E77317}" type="presOf" srcId="{15404E61-478A-4F76-B8A6-B4AAB483F5A8}" destId="{9A2EED39-EE00-43EA-AB9E-0F03185B43C2}" srcOrd="0" destOrd="2" presId="urn:microsoft.com/office/officeart/2005/8/layout/venn3"/>
    <dgm:cxn modelId="{C2054EAB-C7C1-4F2C-8FA4-8EFB400FF9DC}" srcId="{D33287A6-8A8B-4F44-810C-11F9D58D54DA}" destId="{15404E61-478A-4F76-B8A6-B4AAB483F5A8}" srcOrd="1" destOrd="0" parTransId="{0475C4F2-2CFE-437A-B7B8-32A9BADA8802}" sibTransId="{2F39BBBD-8F97-4874-943F-75C32FBB86D7}"/>
    <dgm:cxn modelId="{61F2556C-1C46-43AE-937A-5175852B0060}" srcId="{247B5481-5678-4E1F-A4BC-C870DCC5FC00}" destId="{D33287A6-8A8B-4F44-810C-11F9D58D54DA}" srcOrd="0" destOrd="0" parTransId="{A10154A6-3CB3-4E7E-B6BB-DD79E22D694B}" sibTransId="{9EF6597F-8AA3-4149-ACE1-3489CF87DC3C}"/>
    <dgm:cxn modelId="{F367FAB7-BBEA-4414-BC8C-4D5A7532D108}" srcId="{D33287A6-8A8B-4F44-810C-11F9D58D54DA}" destId="{4AB7E3B6-6341-475B-B4AB-6EF7A9E00EEF}" srcOrd="2" destOrd="0" parTransId="{E21B0DC8-9EB9-4D91-A061-7F779444B6B5}" sibTransId="{69ED8C8E-0275-42C1-8DA8-B13A61AA2896}"/>
    <dgm:cxn modelId="{5FB1BE61-76B1-44D2-8B91-8AA0404C50D6}" srcId="{8757255D-9194-4576-A96A-9F3D38BBEC8E}" destId="{F38552EF-994E-4D1C-9BC5-6CEF3F401654}" srcOrd="0" destOrd="0" parTransId="{1F76AA62-832F-4F4A-93BF-0D8523F79158}" sibTransId="{31FC0D4A-CF09-4911-813A-EBCC2A5C010F}"/>
    <dgm:cxn modelId="{4A029E96-B1A3-4EEE-ACCC-05AE577F0760}" type="presOf" srcId="{D33287A6-8A8B-4F44-810C-11F9D58D54DA}" destId="{9A2EED39-EE00-43EA-AB9E-0F03185B43C2}" srcOrd="0" destOrd="0" presId="urn:microsoft.com/office/officeart/2005/8/layout/venn3"/>
    <dgm:cxn modelId="{D5158AF7-B976-4C6F-B5C5-A5F79E792E5A}" type="presOf" srcId="{4AB7E3B6-6341-475B-B4AB-6EF7A9E00EEF}" destId="{9A2EED39-EE00-43EA-AB9E-0F03185B43C2}" srcOrd="0" destOrd="3" presId="urn:microsoft.com/office/officeart/2005/8/layout/venn3"/>
    <dgm:cxn modelId="{77E89407-F653-4919-8703-2B1B6959BC4F}" type="presOf" srcId="{8757255D-9194-4576-A96A-9F3D38BBEC8E}" destId="{78A23DF8-FDB5-4FA3-A7E5-77CFDB97981A}" srcOrd="0" destOrd="0" presId="urn:microsoft.com/office/officeart/2005/8/layout/venn3"/>
    <dgm:cxn modelId="{A0E2B452-8DF6-4E19-8739-6DF036E3669A}" type="presOf" srcId="{115267F7-1643-49C6-B20F-89396F9D1DE4}" destId="{9A2EED39-EE00-43EA-AB9E-0F03185B43C2}" srcOrd="0" destOrd="1" presId="urn:microsoft.com/office/officeart/2005/8/layout/venn3"/>
    <dgm:cxn modelId="{D98FAD3D-BB4B-4B51-9C2E-6A6744676D6D}" type="presParOf" srcId="{F5828C3D-74A7-415C-B632-3FFABC3FAD90}" destId="{9A2EED39-EE00-43EA-AB9E-0F03185B43C2}" srcOrd="0" destOrd="0" presId="urn:microsoft.com/office/officeart/2005/8/layout/venn3"/>
    <dgm:cxn modelId="{A7C0DF2C-0519-42AF-8F2D-A3D9B8E28056}" type="presParOf" srcId="{F5828C3D-74A7-415C-B632-3FFABC3FAD90}" destId="{E60CBABF-6E02-4887-94D8-A167DAE57069}" srcOrd="1" destOrd="0" presId="urn:microsoft.com/office/officeart/2005/8/layout/venn3"/>
    <dgm:cxn modelId="{C106FC6F-74E8-4CBB-BAAE-9165E222FFE3}" type="presParOf" srcId="{F5828C3D-74A7-415C-B632-3FFABC3FAD90}" destId="{78A23DF8-FDB5-4FA3-A7E5-77CFDB97981A}" srcOrd="2"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DD478FF-9072-4AC7-8044-0D058BCA1237}"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zh-CN" altLang="en-US"/>
        </a:p>
      </dgm:t>
    </dgm:pt>
    <dgm:pt modelId="{1685969D-FEE0-498E-9B8B-A3EF84638F2C}">
      <dgm:prSet phldrT="[文本]"/>
      <dgm:spPr/>
      <dgm:t>
        <a:bodyPr/>
        <a:lstStyle/>
        <a:p>
          <a:r>
            <a:rPr lang="zh-CN" altLang="en-US" dirty="0" smtClean="0">
              <a:solidFill>
                <a:schemeClr val="tx1"/>
              </a:solidFill>
            </a:rPr>
            <a:t>渗透测试执行标准</a:t>
          </a:r>
          <a:r>
            <a:rPr lang="en-US" altLang="zh-CN" dirty="0" smtClean="0">
              <a:solidFill>
                <a:schemeClr val="tx1"/>
              </a:solidFill>
            </a:rPr>
            <a:t>PTES</a:t>
          </a:r>
          <a:endParaRPr lang="zh-CN" altLang="en-US" dirty="0">
            <a:solidFill>
              <a:schemeClr val="tx1"/>
            </a:solidFill>
          </a:endParaRPr>
        </a:p>
      </dgm:t>
    </dgm:pt>
    <dgm:pt modelId="{AD233209-79D2-4413-B791-2A10DBBE6823}" type="parTrans" cxnId="{A14E9B90-9ADD-4198-BD36-743C78B43A06}">
      <dgm:prSet/>
      <dgm:spPr/>
      <dgm:t>
        <a:bodyPr/>
        <a:lstStyle/>
        <a:p>
          <a:endParaRPr lang="zh-CN" altLang="en-US">
            <a:solidFill>
              <a:schemeClr val="tx1"/>
            </a:solidFill>
          </a:endParaRPr>
        </a:p>
      </dgm:t>
    </dgm:pt>
    <dgm:pt modelId="{6DFCF7BB-2CD6-40FE-B002-815BE5E97524}" type="sibTrans" cxnId="{A14E9B90-9ADD-4198-BD36-743C78B43A06}">
      <dgm:prSet/>
      <dgm:spPr/>
      <dgm:t>
        <a:bodyPr/>
        <a:lstStyle/>
        <a:p>
          <a:endParaRPr lang="zh-CN" altLang="en-US">
            <a:solidFill>
              <a:schemeClr val="tx1"/>
            </a:solidFill>
          </a:endParaRPr>
        </a:p>
      </dgm:t>
    </dgm:pt>
    <dgm:pt modelId="{29EC3326-BCD6-4C33-95A8-58BB0883F8B2}">
      <dgm:prSet phldrT="[文本]"/>
      <dgm:spPr/>
      <dgm:t>
        <a:bodyPr/>
        <a:lstStyle/>
        <a:p>
          <a:r>
            <a:rPr lang="zh-CN" altLang="en-US" dirty="0" smtClean="0">
              <a:solidFill>
                <a:schemeClr val="tx1"/>
              </a:solidFill>
            </a:rPr>
            <a:t>业内最佳实践</a:t>
          </a:r>
          <a:endParaRPr lang="zh-CN" altLang="en-US" dirty="0">
            <a:solidFill>
              <a:schemeClr val="tx1"/>
            </a:solidFill>
          </a:endParaRPr>
        </a:p>
      </dgm:t>
    </dgm:pt>
    <dgm:pt modelId="{F8773AF8-D714-47DE-ADC7-2800DDEFCEFB}" type="parTrans" cxnId="{9F1C1568-9231-49FF-92D1-16C40BAFBF06}">
      <dgm:prSet/>
      <dgm:spPr/>
      <dgm:t>
        <a:bodyPr/>
        <a:lstStyle/>
        <a:p>
          <a:endParaRPr lang="zh-CN" altLang="en-US">
            <a:solidFill>
              <a:schemeClr val="tx1"/>
            </a:solidFill>
          </a:endParaRPr>
        </a:p>
      </dgm:t>
    </dgm:pt>
    <dgm:pt modelId="{ABC7F257-B301-4E71-A844-CEBBA51EACA9}" type="sibTrans" cxnId="{9F1C1568-9231-49FF-92D1-16C40BAFBF06}">
      <dgm:prSet/>
      <dgm:spPr/>
      <dgm:t>
        <a:bodyPr/>
        <a:lstStyle/>
        <a:p>
          <a:endParaRPr lang="zh-CN" altLang="en-US">
            <a:solidFill>
              <a:schemeClr val="tx1"/>
            </a:solidFill>
          </a:endParaRPr>
        </a:p>
      </dgm:t>
    </dgm:pt>
    <dgm:pt modelId="{82B03ABA-BE3C-4B87-A022-66A987500BB3}">
      <dgm:prSet phldrT="[文本]"/>
      <dgm:spPr/>
      <dgm:t>
        <a:bodyPr/>
        <a:lstStyle/>
        <a:p>
          <a:r>
            <a:rPr lang="zh-CN" altLang="en-US" dirty="0" smtClean="0">
              <a:solidFill>
                <a:schemeClr val="tx1"/>
              </a:solidFill>
            </a:rPr>
            <a:t>领军企业采用</a:t>
          </a:r>
          <a:endParaRPr lang="zh-CN" altLang="en-US" dirty="0">
            <a:solidFill>
              <a:schemeClr val="tx1"/>
            </a:solidFill>
          </a:endParaRPr>
        </a:p>
      </dgm:t>
    </dgm:pt>
    <dgm:pt modelId="{E9FF551F-2B9D-471A-A02C-EA609679E66B}" type="parTrans" cxnId="{CDED457A-EBCF-43C6-8AD0-97F149858050}">
      <dgm:prSet/>
      <dgm:spPr/>
      <dgm:t>
        <a:bodyPr/>
        <a:lstStyle/>
        <a:p>
          <a:endParaRPr lang="zh-CN" altLang="en-US">
            <a:solidFill>
              <a:schemeClr val="tx1"/>
            </a:solidFill>
          </a:endParaRPr>
        </a:p>
      </dgm:t>
    </dgm:pt>
    <dgm:pt modelId="{31F6DD25-5357-4EAA-B549-F2A8AD3EE51C}" type="sibTrans" cxnId="{CDED457A-EBCF-43C6-8AD0-97F149858050}">
      <dgm:prSet/>
      <dgm:spPr/>
      <dgm:t>
        <a:bodyPr/>
        <a:lstStyle/>
        <a:p>
          <a:endParaRPr lang="zh-CN" altLang="en-US">
            <a:solidFill>
              <a:schemeClr val="tx1"/>
            </a:solidFill>
          </a:endParaRPr>
        </a:p>
      </dgm:t>
    </dgm:pt>
    <dgm:pt modelId="{D5C6E261-FE5D-471B-985E-9C7256E7B907}">
      <dgm:prSet phldrT="[文本]"/>
      <dgm:spPr/>
      <dgm:t>
        <a:bodyPr/>
        <a:lstStyle/>
        <a:p>
          <a:r>
            <a:rPr lang="zh-CN" altLang="en-US" dirty="0" smtClean="0">
              <a:solidFill>
                <a:schemeClr val="tx1"/>
              </a:solidFill>
            </a:rPr>
            <a:t>形成广泛共识</a:t>
          </a:r>
          <a:endParaRPr lang="zh-CN" altLang="en-US" dirty="0">
            <a:solidFill>
              <a:schemeClr val="tx1"/>
            </a:solidFill>
          </a:endParaRPr>
        </a:p>
      </dgm:t>
    </dgm:pt>
    <dgm:pt modelId="{DA923F42-7D33-4839-9037-1FD43F66E80A}" type="parTrans" cxnId="{FEA05107-41CC-4668-9B95-B5F2EB4BDCCE}">
      <dgm:prSet/>
      <dgm:spPr/>
      <dgm:t>
        <a:bodyPr/>
        <a:lstStyle/>
        <a:p>
          <a:endParaRPr lang="zh-CN" altLang="en-US">
            <a:solidFill>
              <a:schemeClr val="tx1"/>
            </a:solidFill>
          </a:endParaRPr>
        </a:p>
      </dgm:t>
    </dgm:pt>
    <dgm:pt modelId="{2A0223B7-BB2A-4147-8DD6-EC4DBD2DE7E8}" type="sibTrans" cxnId="{FEA05107-41CC-4668-9B95-B5F2EB4BDCCE}">
      <dgm:prSet/>
      <dgm:spPr/>
      <dgm:t>
        <a:bodyPr/>
        <a:lstStyle/>
        <a:p>
          <a:endParaRPr lang="zh-CN" altLang="en-US">
            <a:solidFill>
              <a:schemeClr val="tx1"/>
            </a:solidFill>
          </a:endParaRPr>
        </a:p>
      </dgm:t>
    </dgm:pt>
    <dgm:pt modelId="{7AE37904-A86A-4C1D-8BE8-64B717149BFC}">
      <dgm:prSet phldrT="[文本]"/>
      <dgm:spPr/>
      <dgm:t>
        <a:bodyPr/>
        <a:lstStyle/>
        <a:p>
          <a:r>
            <a:rPr lang="zh-CN" altLang="en-US" smtClean="0">
              <a:solidFill>
                <a:schemeClr val="tx1"/>
              </a:solidFill>
            </a:rPr>
            <a:t>正在开发</a:t>
          </a:r>
          <a:r>
            <a:rPr lang="zh-CN" altLang="en-US" dirty="0" smtClean="0">
              <a:solidFill>
                <a:schemeClr val="tx1"/>
              </a:solidFill>
            </a:rPr>
            <a:t>的标准</a:t>
          </a:r>
          <a:endParaRPr lang="zh-CN" altLang="en-US" dirty="0">
            <a:solidFill>
              <a:schemeClr val="tx1"/>
            </a:solidFill>
          </a:endParaRPr>
        </a:p>
      </dgm:t>
    </dgm:pt>
    <dgm:pt modelId="{F8F23313-84EE-43F9-81CB-7AC8A506496C}" type="parTrans" cxnId="{2197CEC2-C3C2-4782-9515-4D5BBF951AEF}">
      <dgm:prSet/>
      <dgm:spPr/>
      <dgm:t>
        <a:bodyPr/>
        <a:lstStyle/>
        <a:p>
          <a:endParaRPr lang="zh-CN" altLang="en-US">
            <a:solidFill>
              <a:schemeClr val="tx1"/>
            </a:solidFill>
          </a:endParaRPr>
        </a:p>
      </dgm:t>
    </dgm:pt>
    <dgm:pt modelId="{C8275A3F-898A-41D6-9F7D-B02E3F913DBB}" type="sibTrans" cxnId="{2197CEC2-C3C2-4782-9515-4D5BBF951AEF}">
      <dgm:prSet/>
      <dgm:spPr/>
      <dgm:t>
        <a:bodyPr/>
        <a:lstStyle/>
        <a:p>
          <a:endParaRPr lang="zh-CN" altLang="en-US">
            <a:solidFill>
              <a:schemeClr val="tx1"/>
            </a:solidFill>
          </a:endParaRPr>
        </a:p>
      </dgm:t>
    </dgm:pt>
    <dgm:pt modelId="{CE3B0933-11C0-40EE-8F44-27BFF33A0908}" type="pres">
      <dgm:prSet presAssocID="{BDD478FF-9072-4AC7-8044-0D058BCA1237}" presName="cycle" presStyleCnt="0">
        <dgm:presLayoutVars>
          <dgm:chMax val="1"/>
          <dgm:dir/>
          <dgm:animLvl val="ctr"/>
          <dgm:resizeHandles val="exact"/>
        </dgm:presLayoutVars>
      </dgm:prSet>
      <dgm:spPr/>
      <dgm:t>
        <a:bodyPr/>
        <a:lstStyle/>
        <a:p>
          <a:endParaRPr lang="zh-CN" altLang="en-US"/>
        </a:p>
      </dgm:t>
    </dgm:pt>
    <dgm:pt modelId="{39555DD9-B438-46C4-8C0E-75B0D6CE36F7}" type="pres">
      <dgm:prSet presAssocID="{1685969D-FEE0-498E-9B8B-A3EF84638F2C}" presName="centerShape" presStyleLbl="node0" presStyleIdx="0" presStyleCnt="1"/>
      <dgm:spPr/>
      <dgm:t>
        <a:bodyPr/>
        <a:lstStyle/>
        <a:p>
          <a:endParaRPr lang="zh-CN" altLang="en-US"/>
        </a:p>
      </dgm:t>
    </dgm:pt>
    <dgm:pt modelId="{D087055C-7F9C-45AB-9175-B8D8B858EFFD}" type="pres">
      <dgm:prSet presAssocID="{F8773AF8-D714-47DE-ADC7-2800DDEFCEFB}" presName="parTrans" presStyleLbl="bgSibTrans2D1" presStyleIdx="0" presStyleCnt="4"/>
      <dgm:spPr/>
      <dgm:t>
        <a:bodyPr/>
        <a:lstStyle/>
        <a:p>
          <a:endParaRPr lang="zh-CN" altLang="en-US"/>
        </a:p>
      </dgm:t>
    </dgm:pt>
    <dgm:pt modelId="{12009004-C0ED-4652-81BD-933EFFE9D3C7}" type="pres">
      <dgm:prSet presAssocID="{29EC3326-BCD6-4C33-95A8-58BB0883F8B2}" presName="node" presStyleLbl="node1" presStyleIdx="0" presStyleCnt="4">
        <dgm:presLayoutVars>
          <dgm:bulletEnabled val="1"/>
        </dgm:presLayoutVars>
      </dgm:prSet>
      <dgm:spPr/>
      <dgm:t>
        <a:bodyPr/>
        <a:lstStyle/>
        <a:p>
          <a:endParaRPr lang="zh-CN" altLang="en-US"/>
        </a:p>
      </dgm:t>
    </dgm:pt>
    <dgm:pt modelId="{DACA14B1-32AD-4D88-9C88-98C41D2C55C0}" type="pres">
      <dgm:prSet presAssocID="{E9FF551F-2B9D-471A-A02C-EA609679E66B}" presName="parTrans" presStyleLbl="bgSibTrans2D1" presStyleIdx="1" presStyleCnt="4"/>
      <dgm:spPr/>
      <dgm:t>
        <a:bodyPr/>
        <a:lstStyle/>
        <a:p>
          <a:endParaRPr lang="zh-CN" altLang="en-US"/>
        </a:p>
      </dgm:t>
    </dgm:pt>
    <dgm:pt modelId="{FAF29308-1D0E-4F6B-BECF-40DDCF78A91F}" type="pres">
      <dgm:prSet presAssocID="{82B03ABA-BE3C-4B87-A022-66A987500BB3}" presName="node" presStyleLbl="node1" presStyleIdx="1" presStyleCnt="4">
        <dgm:presLayoutVars>
          <dgm:bulletEnabled val="1"/>
        </dgm:presLayoutVars>
      </dgm:prSet>
      <dgm:spPr/>
      <dgm:t>
        <a:bodyPr/>
        <a:lstStyle/>
        <a:p>
          <a:endParaRPr lang="zh-CN" altLang="en-US"/>
        </a:p>
      </dgm:t>
    </dgm:pt>
    <dgm:pt modelId="{11103223-D5EB-4D89-8290-2C1DAF2A86FC}" type="pres">
      <dgm:prSet presAssocID="{DA923F42-7D33-4839-9037-1FD43F66E80A}" presName="parTrans" presStyleLbl="bgSibTrans2D1" presStyleIdx="2" presStyleCnt="4"/>
      <dgm:spPr/>
      <dgm:t>
        <a:bodyPr/>
        <a:lstStyle/>
        <a:p>
          <a:endParaRPr lang="zh-CN" altLang="en-US"/>
        </a:p>
      </dgm:t>
    </dgm:pt>
    <dgm:pt modelId="{8EEB67FB-8A30-4C54-86D8-DA78CFEDFFFB}" type="pres">
      <dgm:prSet presAssocID="{D5C6E261-FE5D-471B-985E-9C7256E7B907}" presName="node" presStyleLbl="node1" presStyleIdx="2" presStyleCnt="4">
        <dgm:presLayoutVars>
          <dgm:bulletEnabled val="1"/>
        </dgm:presLayoutVars>
      </dgm:prSet>
      <dgm:spPr/>
      <dgm:t>
        <a:bodyPr/>
        <a:lstStyle/>
        <a:p>
          <a:endParaRPr lang="zh-CN" altLang="en-US"/>
        </a:p>
      </dgm:t>
    </dgm:pt>
    <dgm:pt modelId="{DAAF8E64-CFD2-42AE-89FA-0B48105FC58F}" type="pres">
      <dgm:prSet presAssocID="{F8F23313-84EE-43F9-81CB-7AC8A506496C}" presName="parTrans" presStyleLbl="bgSibTrans2D1" presStyleIdx="3" presStyleCnt="4"/>
      <dgm:spPr/>
      <dgm:t>
        <a:bodyPr/>
        <a:lstStyle/>
        <a:p>
          <a:endParaRPr lang="zh-CN" altLang="en-US"/>
        </a:p>
      </dgm:t>
    </dgm:pt>
    <dgm:pt modelId="{D31BBA68-0F0F-4928-8342-CC09324D9DFF}" type="pres">
      <dgm:prSet presAssocID="{7AE37904-A86A-4C1D-8BE8-64B717149BFC}" presName="node" presStyleLbl="node1" presStyleIdx="3" presStyleCnt="4">
        <dgm:presLayoutVars>
          <dgm:bulletEnabled val="1"/>
        </dgm:presLayoutVars>
      </dgm:prSet>
      <dgm:spPr/>
      <dgm:t>
        <a:bodyPr/>
        <a:lstStyle/>
        <a:p>
          <a:endParaRPr lang="zh-CN" altLang="en-US"/>
        </a:p>
      </dgm:t>
    </dgm:pt>
  </dgm:ptLst>
  <dgm:cxnLst>
    <dgm:cxn modelId="{E572C6B5-840B-48C0-89D3-FEE53C5E3BE7}" type="presOf" srcId="{F8773AF8-D714-47DE-ADC7-2800DDEFCEFB}" destId="{D087055C-7F9C-45AB-9175-B8D8B858EFFD}" srcOrd="0" destOrd="0" presId="urn:microsoft.com/office/officeart/2005/8/layout/radial4"/>
    <dgm:cxn modelId="{FEA05107-41CC-4668-9B95-B5F2EB4BDCCE}" srcId="{1685969D-FEE0-498E-9B8B-A3EF84638F2C}" destId="{D5C6E261-FE5D-471B-985E-9C7256E7B907}" srcOrd="2" destOrd="0" parTransId="{DA923F42-7D33-4839-9037-1FD43F66E80A}" sibTransId="{2A0223B7-BB2A-4147-8DD6-EC4DBD2DE7E8}"/>
    <dgm:cxn modelId="{25359C8D-4326-442D-ADD9-7B5D9CF49F1B}" type="presOf" srcId="{82B03ABA-BE3C-4B87-A022-66A987500BB3}" destId="{FAF29308-1D0E-4F6B-BECF-40DDCF78A91F}" srcOrd="0" destOrd="0" presId="urn:microsoft.com/office/officeart/2005/8/layout/radial4"/>
    <dgm:cxn modelId="{730DC5C2-4989-4E98-B4D2-5EB293F314B5}" type="presOf" srcId="{DA923F42-7D33-4839-9037-1FD43F66E80A}" destId="{11103223-D5EB-4D89-8290-2C1DAF2A86FC}" srcOrd="0" destOrd="0" presId="urn:microsoft.com/office/officeart/2005/8/layout/radial4"/>
    <dgm:cxn modelId="{6CAEBDA6-A37F-42F1-A5F9-4CDD6F3FB82B}" type="presOf" srcId="{D5C6E261-FE5D-471B-985E-9C7256E7B907}" destId="{8EEB67FB-8A30-4C54-86D8-DA78CFEDFFFB}" srcOrd="0" destOrd="0" presId="urn:microsoft.com/office/officeart/2005/8/layout/radial4"/>
    <dgm:cxn modelId="{96F3AC1A-76FC-4FF4-BD2A-A015F98B808D}" type="presOf" srcId="{F8F23313-84EE-43F9-81CB-7AC8A506496C}" destId="{DAAF8E64-CFD2-42AE-89FA-0B48105FC58F}" srcOrd="0" destOrd="0" presId="urn:microsoft.com/office/officeart/2005/8/layout/radial4"/>
    <dgm:cxn modelId="{9C038389-FB64-4D8A-BDCA-7C734A6EC39A}" type="presOf" srcId="{29EC3326-BCD6-4C33-95A8-58BB0883F8B2}" destId="{12009004-C0ED-4652-81BD-933EFFE9D3C7}" srcOrd="0" destOrd="0" presId="urn:microsoft.com/office/officeart/2005/8/layout/radial4"/>
    <dgm:cxn modelId="{6C3A975C-194A-4DE2-ABCE-9A25960086EF}" type="presOf" srcId="{1685969D-FEE0-498E-9B8B-A3EF84638F2C}" destId="{39555DD9-B438-46C4-8C0E-75B0D6CE36F7}" srcOrd="0" destOrd="0" presId="urn:microsoft.com/office/officeart/2005/8/layout/radial4"/>
    <dgm:cxn modelId="{A14E9B90-9ADD-4198-BD36-743C78B43A06}" srcId="{BDD478FF-9072-4AC7-8044-0D058BCA1237}" destId="{1685969D-FEE0-498E-9B8B-A3EF84638F2C}" srcOrd="0" destOrd="0" parTransId="{AD233209-79D2-4413-B791-2A10DBBE6823}" sibTransId="{6DFCF7BB-2CD6-40FE-B002-815BE5E97524}"/>
    <dgm:cxn modelId="{1DD84B0B-4420-4879-8CC6-1BD7F0D461A6}" type="presOf" srcId="{BDD478FF-9072-4AC7-8044-0D058BCA1237}" destId="{CE3B0933-11C0-40EE-8F44-27BFF33A0908}" srcOrd="0" destOrd="0" presId="urn:microsoft.com/office/officeart/2005/8/layout/radial4"/>
    <dgm:cxn modelId="{9F1C1568-9231-49FF-92D1-16C40BAFBF06}" srcId="{1685969D-FEE0-498E-9B8B-A3EF84638F2C}" destId="{29EC3326-BCD6-4C33-95A8-58BB0883F8B2}" srcOrd="0" destOrd="0" parTransId="{F8773AF8-D714-47DE-ADC7-2800DDEFCEFB}" sibTransId="{ABC7F257-B301-4E71-A844-CEBBA51EACA9}"/>
    <dgm:cxn modelId="{CDED457A-EBCF-43C6-8AD0-97F149858050}" srcId="{1685969D-FEE0-498E-9B8B-A3EF84638F2C}" destId="{82B03ABA-BE3C-4B87-A022-66A987500BB3}" srcOrd="1" destOrd="0" parTransId="{E9FF551F-2B9D-471A-A02C-EA609679E66B}" sibTransId="{31F6DD25-5357-4EAA-B549-F2A8AD3EE51C}"/>
    <dgm:cxn modelId="{F22F3925-473A-44E6-AE38-D1DE88A8999D}" type="presOf" srcId="{7AE37904-A86A-4C1D-8BE8-64B717149BFC}" destId="{D31BBA68-0F0F-4928-8342-CC09324D9DFF}" srcOrd="0" destOrd="0" presId="urn:microsoft.com/office/officeart/2005/8/layout/radial4"/>
    <dgm:cxn modelId="{2197CEC2-C3C2-4782-9515-4D5BBF951AEF}" srcId="{1685969D-FEE0-498E-9B8B-A3EF84638F2C}" destId="{7AE37904-A86A-4C1D-8BE8-64B717149BFC}" srcOrd="3" destOrd="0" parTransId="{F8F23313-84EE-43F9-81CB-7AC8A506496C}" sibTransId="{C8275A3F-898A-41D6-9F7D-B02E3F913DBB}"/>
    <dgm:cxn modelId="{029B99D4-C3EB-41A5-B1EB-6B50E341A1C9}" type="presOf" srcId="{E9FF551F-2B9D-471A-A02C-EA609679E66B}" destId="{DACA14B1-32AD-4D88-9C88-98C41D2C55C0}" srcOrd="0" destOrd="0" presId="urn:microsoft.com/office/officeart/2005/8/layout/radial4"/>
    <dgm:cxn modelId="{36219692-C947-4C4C-844B-5156254E5EDA}" type="presParOf" srcId="{CE3B0933-11C0-40EE-8F44-27BFF33A0908}" destId="{39555DD9-B438-46C4-8C0E-75B0D6CE36F7}" srcOrd="0" destOrd="0" presId="urn:microsoft.com/office/officeart/2005/8/layout/radial4"/>
    <dgm:cxn modelId="{CE3F650A-6451-4E17-B096-AD4B6EB3BF7A}" type="presParOf" srcId="{CE3B0933-11C0-40EE-8F44-27BFF33A0908}" destId="{D087055C-7F9C-45AB-9175-B8D8B858EFFD}" srcOrd="1" destOrd="0" presId="urn:microsoft.com/office/officeart/2005/8/layout/radial4"/>
    <dgm:cxn modelId="{E9C94B2C-5FAC-4F84-BFC6-6310BF394FCF}" type="presParOf" srcId="{CE3B0933-11C0-40EE-8F44-27BFF33A0908}" destId="{12009004-C0ED-4652-81BD-933EFFE9D3C7}" srcOrd="2" destOrd="0" presId="urn:microsoft.com/office/officeart/2005/8/layout/radial4"/>
    <dgm:cxn modelId="{83698729-7D09-48AB-9D05-513C3041446C}" type="presParOf" srcId="{CE3B0933-11C0-40EE-8F44-27BFF33A0908}" destId="{DACA14B1-32AD-4D88-9C88-98C41D2C55C0}" srcOrd="3" destOrd="0" presId="urn:microsoft.com/office/officeart/2005/8/layout/radial4"/>
    <dgm:cxn modelId="{063F3C3C-DA6B-47AB-84C1-CD9B9B8B1AE1}" type="presParOf" srcId="{CE3B0933-11C0-40EE-8F44-27BFF33A0908}" destId="{FAF29308-1D0E-4F6B-BECF-40DDCF78A91F}" srcOrd="4" destOrd="0" presId="urn:microsoft.com/office/officeart/2005/8/layout/radial4"/>
    <dgm:cxn modelId="{36FF9646-CB36-4EFB-8351-6DD2066E0B3A}" type="presParOf" srcId="{CE3B0933-11C0-40EE-8F44-27BFF33A0908}" destId="{11103223-D5EB-4D89-8290-2C1DAF2A86FC}" srcOrd="5" destOrd="0" presId="urn:microsoft.com/office/officeart/2005/8/layout/radial4"/>
    <dgm:cxn modelId="{44CADCB2-6DF0-483E-87C7-52BC9B751F94}" type="presParOf" srcId="{CE3B0933-11C0-40EE-8F44-27BFF33A0908}" destId="{8EEB67FB-8A30-4C54-86D8-DA78CFEDFFFB}" srcOrd="6" destOrd="0" presId="urn:microsoft.com/office/officeart/2005/8/layout/radial4"/>
    <dgm:cxn modelId="{A5F19B15-7ED1-4068-B418-CAA2A31AF455}" type="presParOf" srcId="{CE3B0933-11C0-40EE-8F44-27BFF33A0908}" destId="{DAAF8E64-CFD2-42AE-89FA-0B48105FC58F}" srcOrd="7" destOrd="0" presId="urn:microsoft.com/office/officeart/2005/8/layout/radial4"/>
    <dgm:cxn modelId="{ADA8851F-D648-4E43-94B0-2782B732F7BB}" type="presParOf" srcId="{CE3B0933-11C0-40EE-8F44-27BFF33A0908}" destId="{D31BBA68-0F0F-4928-8342-CC09324D9DFF}" srcOrd="8"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E390826-7EF3-49C3-BA30-C9209BF103B6}"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zh-CN" altLang="en-US"/>
        </a:p>
      </dgm:t>
    </dgm:pt>
    <dgm:pt modelId="{2EBE4C4A-11A6-44CE-86D4-248378318BF8}">
      <dgm:prSet phldrT="[文本]"/>
      <dgm:spPr/>
      <dgm:t>
        <a:bodyPr/>
        <a:lstStyle/>
        <a:p>
          <a:r>
            <a:rPr lang="zh-CN" altLang="en-US" dirty="0" smtClean="0">
              <a:solidFill>
                <a:schemeClr val="tx1"/>
              </a:solidFill>
            </a:rPr>
            <a:t>前期交互阶段</a:t>
          </a:r>
          <a:endParaRPr lang="zh-CN" altLang="en-US" dirty="0">
            <a:solidFill>
              <a:schemeClr val="tx1"/>
            </a:solidFill>
          </a:endParaRPr>
        </a:p>
      </dgm:t>
    </dgm:pt>
    <dgm:pt modelId="{1F6A2E8F-70E7-482E-B296-CA27C4E1D686}" type="parTrans" cxnId="{08BD047B-8A18-4D6B-849C-CA43A9575B09}">
      <dgm:prSet/>
      <dgm:spPr/>
      <dgm:t>
        <a:bodyPr/>
        <a:lstStyle/>
        <a:p>
          <a:endParaRPr lang="zh-CN" altLang="en-US">
            <a:solidFill>
              <a:schemeClr val="tx1"/>
            </a:solidFill>
          </a:endParaRPr>
        </a:p>
      </dgm:t>
    </dgm:pt>
    <dgm:pt modelId="{B98FA3A6-B52F-4BC6-B56C-86D18569C129}" type="sibTrans" cxnId="{08BD047B-8A18-4D6B-849C-CA43A9575B09}">
      <dgm:prSet/>
      <dgm:spPr/>
      <dgm:t>
        <a:bodyPr/>
        <a:lstStyle/>
        <a:p>
          <a:endParaRPr lang="zh-CN" altLang="en-US">
            <a:solidFill>
              <a:schemeClr val="tx1"/>
            </a:solidFill>
          </a:endParaRPr>
        </a:p>
      </dgm:t>
    </dgm:pt>
    <dgm:pt modelId="{AFC8B5B6-FDCA-4B1A-BD0C-2C3CCB27818D}">
      <dgm:prSet phldrT="[文本]"/>
      <dgm:spPr/>
      <dgm:t>
        <a:bodyPr/>
        <a:lstStyle/>
        <a:p>
          <a:r>
            <a:rPr lang="zh-CN" altLang="en-US" dirty="0" smtClean="0">
              <a:solidFill>
                <a:schemeClr val="tx1"/>
              </a:solidFill>
            </a:rPr>
            <a:t>情报搜集阶段</a:t>
          </a:r>
          <a:endParaRPr lang="zh-CN" altLang="en-US" dirty="0">
            <a:solidFill>
              <a:schemeClr val="tx1"/>
            </a:solidFill>
          </a:endParaRPr>
        </a:p>
      </dgm:t>
    </dgm:pt>
    <dgm:pt modelId="{CB4B6B7F-77D4-471E-89F5-E7D828EF8283}" type="parTrans" cxnId="{82F0652E-2544-44C6-8CF4-EFB7C2A35B78}">
      <dgm:prSet/>
      <dgm:spPr/>
      <dgm:t>
        <a:bodyPr/>
        <a:lstStyle/>
        <a:p>
          <a:endParaRPr lang="zh-CN" altLang="en-US">
            <a:solidFill>
              <a:schemeClr val="tx1"/>
            </a:solidFill>
          </a:endParaRPr>
        </a:p>
      </dgm:t>
    </dgm:pt>
    <dgm:pt modelId="{E0F1953F-3480-4C4E-B42C-86AB2D0525F8}" type="sibTrans" cxnId="{82F0652E-2544-44C6-8CF4-EFB7C2A35B78}">
      <dgm:prSet/>
      <dgm:spPr/>
      <dgm:t>
        <a:bodyPr/>
        <a:lstStyle/>
        <a:p>
          <a:endParaRPr lang="zh-CN" altLang="en-US">
            <a:solidFill>
              <a:schemeClr val="tx1"/>
            </a:solidFill>
          </a:endParaRPr>
        </a:p>
      </dgm:t>
    </dgm:pt>
    <dgm:pt modelId="{A823339C-7799-4A1F-AC14-98B7EF7D5A55}">
      <dgm:prSet phldrT="[文本]"/>
      <dgm:spPr/>
      <dgm:t>
        <a:bodyPr/>
        <a:lstStyle/>
        <a:p>
          <a:r>
            <a:rPr lang="zh-CN" altLang="en-US" dirty="0" smtClean="0">
              <a:solidFill>
                <a:schemeClr val="tx1"/>
              </a:solidFill>
            </a:rPr>
            <a:t>威胁建模阶段</a:t>
          </a:r>
          <a:endParaRPr lang="zh-CN" altLang="en-US" dirty="0">
            <a:solidFill>
              <a:schemeClr val="tx1"/>
            </a:solidFill>
          </a:endParaRPr>
        </a:p>
      </dgm:t>
    </dgm:pt>
    <dgm:pt modelId="{352802E4-C34B-49A9-9CB3-47425FD020C3}" type="parTrans" cxnId="{7BAEB421-A0E6-4761-9CE6-1B48FF61077F}">
      <dgm:prSet/>
      <dgm:spPr/>
      <dgm:t>
        <a:bodyPr/>
        <a:lstStyle/>
        <a:p>
          <a:endParaRPr lang="zh-CN" altLang="en-US">
            <a:solidFill>
              <a:schemeClr val="tx1"/>
            </a:solidFill>
          </a:endParaRPr>
        </a:p>
      </dgm:t>
    </dgm:pt>
    <dgm:pt modelId="{284DE6B6-70AF-44AE-8791-1B5D30BE0804}" type="sibTrans" cxnId="{7BAEB421-A0E6-4761-9CE6-1B48FF61077F}">
      <dgm:prSet/>
      <dgm:spPr/>
      <dgm:t>
        <a:bodyPr/>
        <a:lstStyle/>
        <a:p>
          <a:endParaRPr lang="zh-CN" altLang="en-US">
            <a:solidFill>
              <a:schemeClr val="tx1"/>
            </a:solidFill>
          </a:endParaRPr>
        </a:p>
      </dgm:t>
    </dgm:pt>
    <dgm:pt modelId="{399F92F1-A505-4332-AAE4-46F89BC210D9}">
      <dgm:prSet phldrT="[文本]"/>
      <dgm:spPr/>
      <dgm:t>
        <a:bodyPr/>
        <a:lstStyle/>
        <a:p>
          <a:r>
            <a:rPr lang="zh-CN" altLang="en-US" dirty="0" smtClean="0">
              <a:solidFill>
                <a:schemeClr val="tx1"/>
              </a:solidFill>
            </a:rPr>
            <a:t>漏洞分析阶段</a:t>
          </a:r>
          <a:endParaRPr lang="zh-CN" altLang="en-US" dirty="0">
            <a:solidFill>
              <a:schemeClr val="tx1"/>
            </a:solidFill>
          </a:endParaRPr>
        </a:p>
      </dgm:t>
    </dgm:pt>
    <dgm:pt modelId="{00BC3AB0-9645-4441-8B10-024A35596EF4}" type="parTrans" cxnId="{398C22BF-AF0F-4F85-A294-8B59BC4D5615}">
      <dgm:prSet/>
      <dgm:spPr/>
      <dgm:t>
        <a:bodyPr/>
        <a:lstStyle/>
        <a:p>
          <a:endParaRPr lang="zh-CN" altLang="en-US">
            <a:solidFill>
              <a:schemeClr val="tx1"/>
            </a:solidFill>
          </a:endParaRPr>
        </a:p>
      </dgm:t>
    </dgm:pt>
    <dgm:pt modelId="{FCD940E4-6EC1-48EA-A015-8FA0ED391FC7}" type="sibTrans" cxnId="{398C22BF-AF0F-4F85-A294-8B59BC4D5615}">
      <dgm:prSet/>
      <dgm:spPr/>
      <dgm:t>
        <a:bodyPr/>
        <a:lstStyle/>
        <a:p>
          <a:endParaRPr lang="zh-CN" altLang="en-US">
            <a:solidFill>
              <a:schemeClr val="tx1"/>
            </a:solidFill>
          </a:endParaRPr>
        </a:p>
      </dgm:t>
    </dgm:pt>
    <dgm:pt modelId="{49906592-7066-4838-B2A6-15D70F8512E4}">
      <dgm:prSet phldrT="[文本]"/>
      <dgm:spPr/>
      <dgm:t>
        <a:bodyPr/>
        <a:lstStyle/>
        <a:p>
          <a:r>
            <a:rPr lang="zh-CN" altLang="en-US" dirty="0" smtClean="0">
              <a:solidFill>
                <a:schemeClr val="tx1"/>
              </a:solidFill>
            </a:rPr>
            <a:t>渗透攻击阶段</a:t>
          </a:r>
          <a:endParaRPr lang="zh-CN" altLang="en-US" dirty="0">
            <a:solidFill>
              <a:schemeClr val="tx1"/>
            </a:solidFill>
          </a:endParaRPr>
        </a:p>
      </dgm:t>
    </dgm:pt>
    <dgm:pt modelId="{DA729ACB-9B3D-4068-B98D-B71295441EB1}" type="parTrans" cxnId="{89AC0CFD-C696-47AE-86A9-606E785B2917}">
      <dgm:prSet/>
      <dgm:spPr/>
      <dgm:t>
        <a:bodyPr/>
        <a:lstStyle/>
        <a:p>
          <a:endParaRPr lang="zh-CN" altLang="en-US">
            <a:solidFill>
              <a:schemeClr val="tx1"/>
            </a:solidFill>
          </a:endParaRPr>
        </a:p>
      </dgm:t>
    </dgm:pt>
    <dgm:pt modelId="{98B33E81-01B8-4C16-8345-E9010FD07FB9}" type="sibTrans" cxnId="{89AC0CFD-C696-47AE-86A9-606E785B2917}">
      <dgm:prSet/>
      <dgm:spPr/>
      <dgm:t>
        <a:bodyPr/>
        <a:lstStyle/>
        <a:p>
          <a:endParaRPr lang="zh-CN" altLang="en-US">
            <a:solidFill>
              <a:schemeClr val="tx1"/>
            </a:solidFill>
          </a:endParaRPr>
        </a:p>
      </dgm:t>
    </dgm:pt>
    <dgm:pt modelId="{6FE2CC55-4204-47DB-A7DA-8AED11ED30CC}">
      <dgm:prSet phldrT="[文本]"/>
      <dgm:spPr/>
      <dgm:t>
        <a:bodyPr/>
        <a:lstStyle/>
        <a:p>
          <a:r>
            <a:rPr lang="zh-CN" altLang="en-US" dirty="0" smtClean="0">
              <a:solidFill>
                <a:schemeClr val="tx1"/>
              </a:solidFill>
            </a:rPr>
            <a:t>后渗透攻击阶段</a:t>
          </a:r>
          <a:endParaRPr lang="zh-CN" altLang="en-US" dirty="0">
            <a:solidFill>
              <a:schemeClr val="tx1"/>
            </a:solidFill>
          </a:endParaRPr>
        </a:p>
      </dgm:t>
    </dgm:pt>
    <dgm:pt modelId="{6DE6F8D3-7204-418A-9F32-451CCF8D8C7D}" type="parTrans" cxnId="{930441CB-D131-47CD-AB16-07A9D8EC4D0A}">
      <dgm:prSet/>
      <dgm:spPr/>
      <dgm:t>
        <a:bodyPr/>
        <a:lstStyle/>
        <a:p>
          <a:endParaRPr lang="zh-CN" altLang="en-US">
            <a:solidFill>
              <a:schemeClr val="tx1"/>
            </a:solidFill>
          </a:endParaRPr>
        </a:p>
      </dgm:t>
    </dgm:pt>
    <dgm:pt modelId="{8AA1CAF6-31ED-44C6-AC23-7323E2A7266B}" type="sibTrans" cxnId="{930441CB-D131-47CD-AB16-07A9D8EC4D0A}">
      <dgm:prSet/>
      <dgm:spPr/>
      <dgm:t>
        <a:bodyPr/>
        <a:lstStyle/>
        <a:p>
          <a:endParaRPr lang="zh-CN" altLang="en-US">
            <a:solidFill>
              <a:schemeClr val="tx1"/>
            </a:solidFill>
          </a:endParaRPr>
        </a:p>
      </dgm:t>
    </dgm:pt>
    <dgm:pt modelId="{D59921FD-D49C-442D-B027-D904792233D0}">
      <dgm:prSet phldrT="[文本]"/>
      <dgm:spPr/>
      <dgm:t>
        <a:bodyPr/>
        <a:lstStyle/>
        <a:p>
          <a:r>
            <a:rPr lang="zh-CN" altLang="en-US" dirty="0" smtClean="0">
              <a:solidFill>
                <a:schemeClr val="tx1"/>
              </a:solidFill>
            </a:rPr>
            <a:t>报告</a:t>
          </a:r>
          <a:endParaRPr lang="en-US" altLang="zh-CN" dirty="0" smtClean="0">
            <a:solidFill>
              <a:schemeClr val="tx1"/>
            </a:solidFill>
          </a:endParaRPr>
        </a:p>
        <a:p>
          <a:r>
            <a:rPr lang="zh-CN" altLang="en-US" dirty="0" smtClean="0">
              <a:solidFill>
                <a:schemeClr val="tx1"/>
              </a:solidFill>
            </a:rPr>
            <a:t>阶段</a:t>
          </a:r>
          <a:endParaRPr lang="zh-CN" altLang="en-US" dirty="0">
            <a:solidFill>
              <a:schemeClr val="tx1"/>
            </a:solidFill>
          </a:endParaRPr>
        </a:p>
      </dgm:t>
    </dgm:pt>
    <dgm:pt modelId="{8A1D6601-76FD-4782-A2E6-3B19FEF5B8CA}" type="parTrans" cxnId="{A05FB2C9-6E14-48B3-8FEC-34D9F360E46A}">
      <dgm:prSet/>
      <dgm:spPr/>
      <dgm:t>
        <a:bodyPr/>
        <a:lstStyle/>
        <a:p>
          <a:endParaRPr lang="zh-CN" altLang="en-US">
            <a:solidFill>
              <a:schemeClr val="tx1"/>
            </a:solidFill>
          </a:endParaRPr>
        </a:p>
      </dgm:t>
    </dgm:pt>
    <dgm:pt modelId="{C51FAE58-3CBE-4017-A6F7-DB963C1E4608}" type="sibTrans" cxnId="{A05FB2C9-6E14-48B3-8FEC-34D9F360E46A}">
      <dgm:prSet/>
      <dgm:spPr/>
      <dgm:t>
        <a:bodyPr/>
        <a:lstStyle/>
        <a:p>
          <a:endParaRPr lang="zh-CN" altLang="en-US">
            <a:solidFill>
              <a:schemeClr val="tx1"/>
            </a:solidFill>
          </a:endParaRPr>
        </a:p>
      </dgm:t>
    </dgm:pt>
    <dgm:pt modelId="{F2F0B603-3458-4AAF-B6DB-88D8590F6FDC}" type="pres">
      <dgm:prSet presAssocID="{0E390826-7EF3-49C3-BA30-C9209BF103B6}" presName="CompostProcess" presStyleCnt="0">
        <dgm:presLayoutVars>
          <dgm:dir/>
          <dgm:resizeHandles val="exact"/>
        </dgm:presLayoutVars>
      </dgm:prSet>
      <dgm:spPr/>
      <dgm:t>
        <a:bodyPr/>
        <a:lstStyle/>
        <a:p>
          <a:endParaRPr lang="zh-CN" altLang="en-US"/>
        </a:p>
      </dgm:t>
    </dgm:pt>
    <dgm:pt modelId="{335A8EB9-A585-44D3-92B2-64BE24370B64}" type="pres">
      <dgm:prSet presAssocID="{0E390826-7EF3-49C3-BA30-C9209BF103B6}" presName="arrow" presStyleLbl="bgShp" presStyleIdx="0" presStyleCnt="1"/>
      <dgm:spPr/>
    </dgm:pt>
    <dgm:pt modelId="{9D0352A5-F527-4484-8075-EFA464BD036D}" type="pres">
      <dgm:prSet presAssocID="{0E390826-7EF3-49C3-BA30-C9209BF103B6}" presName="linearProcess" presStyleCnt="0"/>
      <dgm:spPr/>
    </dgm:pt>
    <dgm:pt modelId="{38FAA2CB-61A3-499F-BA4B-36A1F24A5195}" type="pres">
      <dgm:prSet presAssocID="{2EBE4C4A-11A6-44CE-86D4-248378318BF8}" presName="textNode" presStyleLbl="node1" presStyleIdx="0" presStyleCnt="7">
        <dgm:presLayoutVars>
          <dgm:bulletEnabled val="1"/>
        </dgm:presLayoutVars>
      </dgm:prSet>
      <dgm:spPr/>
      <dgm:t>
        <a:bodyPr/>
        <a:lstStyle/>
        <a:p>
          <a:endParaRPr lang="zh-CN" altLang="en-US"/>
        </a:p>
      </dgm:t>
    </dgm:pt>
    <dgm:pt modelId="{4A017BD0-83E5-44DA-A5BF-FE92B51EB494}" type="pres">
      <dgm:prSet presAssocID="{B98FA3A6-B52F-4BC6-B56C-86D18569C129}" presName="sibTrans" presStyleCnt="0"/>
      <dgm:spPr/>
    </dgm:pt>
    <dgm:pt modelId="{11FBFC09-831E-484B-866E-4E7B08154149}" type="pres">
      <dgm:prSet presAssocID="{AFC8B5B6-FDCA-4B1A-BD0C-2C3CCB27818D}" presName="textNode" presStyleLbl="node1" presStyleIdx="1" presStyleCnt="7">
        <dgm:presLayoutVars>
          <dgm:bulletEnabled val="1"/>
        </dgm:presLayoutVars>
      </dgm:prSet>
      <dgm:spPr/>
      <dgm:t>
        <a:bodyPr/>
        <a:lstStyle/>
        <a:p>
          <a:endParaRPr lang="zh-CN" altLang="en-US"/>
        </a:p>
      </dgm:t>
    </dgm:pt>
    <dgm:pt modelId="{DB34021A-502C-4DDC-A4E1-CBAF840C04F0}" type="pres">
      <dgm:prSet presAssocID="{E0F1953F-3480-4C4E-B42C-86AB2D0525F8}" presName="sibTrans" presStyleCnt="0"/>
      <dgm:spPr/>
    </dgm:pt>
    <dgm:pt modelId="{F6CFF5EE-D3E2-4A00-B58F-0311F3470FD3}" type="pres">
      <dgm:prSet presAssocID="{A823339C-7799-4A1F-AC14-98B7EF7D5A55}" presName="textNode" presStyleLbl="node1" presStyleIdx="2" presStyleCnt="7" custLinFactNeighborY="-968">
        <dgm:presLayoutVars>
          <dgm:bulletEnabled val="1"/>
        </dgm:presLayoutVars>
      </dgm:prSet>
      <dgm:spPr/>
      <dgm:t>
        <a:bodyPr/>
        <a:lstStyle/>
        <a:p>
          <a:endParaRPr lang="zh-CN" altLang="en-US"/>
        </a:p>
      </dgm:t>
    </dgm:pt>
    <dgm:pt modelId="{CB63B9D1-7DC7-45D9-9491-1B1D85858113}" type="pres">
      <dgm:prSet presAssocID="{284DE6B6-70AF-44AE-8791-1B5D30BE0804}" presName="sibTrans" presStyleCnt="0"/>
      <dgm:spPr/>
    </dgm:pt>
    <dgm:pt modelId="{1960EA01-157D-4B0F-9933-030D9AEE2EEE}" type="pres">
      <dgm:prSet presAssocID="{399F92F1-A505-4332-AAE4-46F89BC210D9}" presName="textNode" presStyleLbl="node1" presStyleIdx="3" presStyleCnt="7">
        <dgm:presLayoutVars>
          <dgm:bulletEnabled val="1"/>
        </dgm:presLayoutVars>
      </dgm:prSet>
      <dgm:spPr/>
      <dgm:t>
        <a:bodyPr/>
        <a:lstStyle/>
        <a:p>
          <a:endParaRPr lang="zh-CN" altLang="en-US"/>
        </a:p>
      </dgm:t>
    </dgm:pt>
    <dgm:pt modelId="{249E1570-3730-4702-A4A0-ECE85D374CEC}" type="pres">
      <dgm:prSet presAssocID="{FCD940E4-6EC1-48EA-A015-8FA0ED391FC7}" presName="sibTrans" presStyleCnt="0"/>
      <dgm:spPr/>
    </dgm:pt>
    <dgm:pt modelId="{79681911-3BEC-4647-A770-BB94BDB37AD3}" type="pres">
      <dgm:prSet presAssocID="{49906592-7066-4838-B2A6-15D70F8512E4}" presName="textNode" presStyleLbl="node1" presStyleIdx="4" presStyleCnt="7">
        <dgm:presLayoutVars>
          <dgm:bulletEnabled val="1"/>
        </dgm:presLayoutVars>
      </dgm:prSet>
      <dgm:spPr/>
      <dgm:t>
        <a:bodyPr/>
        <a:lstStyle/>
        <a:p>
          <a:endParaRPr lang="zh-CN" altLang="en-US"/>
        </a:p>
      </dgm:t>
    </dgm:pt>
    <dgm:pt modelId="{000F6ED1-8EFD-421A-97F9-EB7A5BEFB836}" type="pres">
      <dgm:prSet presAssocID="{98B33E81-01B8-4C16-8345-E9010FD07FB9}" presName="sibTrans" presStyleCnt="0"/>
      <dgm:spPr/>
    </dgm:pt>
    <dgm:pt modelId="{3B2D4AE7-977B-46B0-98A0-909D1847AFED}" type="pres">
      <dgm:prSet presAssocID="{6FE2CC55-4204-47DB-A7DA-8AED11ED30CC}" presName="textNode" presStyleLbl="node1" presStyleIdx="5" presStyleCnt="7">
        <dgm:presLayoutVars>
          <dgm:bulletEnabled val="1"/>
        </dgm:presLayoutVars>
      </dgm:prSet>
      <dgm:spPr/>
      <dgm:t>
        <a:bodyPr/>
        <a:lstStyle/>
        <a:p>
          <a:endParaRPr lang="zh-CN" altLang="en-US"/>
        </a:p>
      </dgm:t>
    </dgm:pt>
    <dgm:pt modelId="{56BECB2B-9279-411B-B166-FEC173D6B412}" type="pres">
      <dgm:prSet presAssocID="{8AA1CAF6-31ED-44C6-AC23-7323E2A7266B}" presName="sibTrans" presStyleCnt="0"/>
      <dgm:spPr/>
    </dgm:pt>
    <dgm:pt modelId="{559B312F-6394-4FCA-A81E-D74F32D39C97}" type="pres">
      <dgm:prSet presAssocID="{D59921FD-D49C-442D-B027-D904792233D0}" presName="textNode" presStyleLbl="node1" presStyleIdx="6" presStyleCnt="7">
        <dgm:presLayoutVars>
          <dgm:bulletEnabled val="1"/>
        </dgm:presLayoutVars>
      </dgm:prSet>
      <dgm:spPr/>
      <dgm:t>
        <a:bodyPr/>
        <a:lstStyle/>
        <a:p>
          <a:endParaRPr lang="zh-CN" altLang="en-US"/>
        </a:p>
      </dgm:t>
    </dgm:pt>
  </dgm:ptLst>
  <dgm:cxnLst>
    <dgm:cxn modelId="{4D598A15-CE32-4B8C-B863-969C8FC8798C}" type="presOf" srcId="{399F92F1-A505-4332-AAE4-46F89BC210D9}" destId="{1960EA01-157D-4B0F-9933-030D9AEE2EEE}" srcOrd="0" destOrd="0" presId="urn:microsoft.com/office/officeart/2005/8/layout/hProcess9"/>
    <dgm:cxn modelId="{C3639961-7400-419A-BF3E-FD2A5010E831}" type="presOf" srcId="{A823339C-7799-4A1F-AC14-98B7EF7D5A55}" destId="{F6CFF5EE-D3E2-4A00-B58F-0311F3470FD3}" srcOrd="0" destOrd="0" presId="urn:microsoft.com/office/officeart/2005/8/layout/hProcess9"/>
    <dgm:cxn modelId="{73AAA40F-3AF3-4571-B0D1-D1736E19D14E}" type="presOf" srcId="{2EBE4C4A-11A6-44CE-86D4-248378318BF8}" destId="{38FAA2CB-61A3-499F-BA4B-36A1F24A5195}" srcOrd="0" destOrd="0" presId="urn:microsoft.com/office/officeart/2005/8/layout/hProcess9"/>
    <dgm:cxn modelId="{A700F197-13D3-412C-8DAD-5A7E562852EF}" type="presOf" srcId="{0E390826-7EF3-49C3-BA30-C9209BF103B6}" destId="{F2F0B603-3458-4AAF-B6DB-88D8590F6FDC}" srcOrd="0" destOrd="0" presId="urn:microsoft.com/office/officeart/2005/8/layout/hProcess9"/>
    <dgm:cxn modelId="{398C22BF-AF0F-4F85-A294-8B59BC4D5615}" srcId="{0E390826-7EF3-49C3-BA30-C9209BF103B6}" destId="{399F92F1-A505-4332-AAE4-46F89BC210D9}" srcOrd="3" destOrd="0" parTransId="{00BC3AB0-9645-4441-8B10-024A35596EF4}" sibTransId="{FCD940E4-6EC1-48EA-A015-8FA0ED391FC7}"/>
    <dgm:cxn modelId="{F166E767-F31D-4F38-9201-16BAE777B066}" type="presOf" srcId="{49906592-7066-4838-B2A6-15D70F8512E4}" destId="{79681911-3BEC-4647-A770-BB94BDB37AD3}" srcOrd="0" destOrd="0" presId="urn:microsoft.com/office/officeart/2005/8/layout/hProcess9"/>
    <dgm:cxn modelId="{22EF5FD3-02FE-4AB7-AAB0-ADC5FBC0962D}" type="presOf" srcId="{6FE2CC55-4204-47DB-A7DA-8AED11ED30CC}" destId="{3B2D4AE7-977B-46B0-98A0-909D1847AFED}" srcOrd="0" destOrd="0" presId="urn:microsoft.com/office/officeart/2005/8/layout/hProcess9"/>
    <dgm:cxn modelId="{A05FB2C9-6E14-48B3-8FEC-34D9F360E46A}" srcId="{0E390826-7EF3-49C3-BA30-C9209BF103B6}" destId="{D59921FD-D49C-442D-B027-D904792233D0}" srcOrd="6" destOrd="0" parTransId="{8A1D6601-76FD-4782-A2E6-3B19FEF5B8CA}" sibTransId="{C51FAE58-3CBE-4017-A6F7-DB963C1E4608}"/>
    <dgm:cxn modelId="{82F0652E-2544-44C6-8CF4-EFB7C2A35B78}" srcId="{0E390826-7EF3-49C3-BA30-C9209BF103B6}" destId="{AFC8B5B6-FDCA-4B1A-BD0C-2C3CCB27818D}" srcOrd="1" destOrd="0" parTransId="{CB4B6B7F-77D4-471E-89F5-E7D828EF8283}" sibTransId="{E0F1953F-3480-4C4E-B42C-86AB2D0525F8}"/>
    <dgm:cxn modelId="{E134B989-06FD-4427-B0BE-A1B8B441C8CC}" type="presOf" srcId="{AFC8B5B6-FDCA-4B1A-BD0C-2C3CCB27818D}" destId="{11FBFC09-831E-484B-866E-4E7B08154149}" srcOrd="0" destOrd="0" presId="urn:microsoft.com/office/officeart/2005/8/layout/hProcess9"/>
    <dgm:cxn modelId="{7BAEB421-A0E6-4761-9CE6-1B48FF61077F}" srcId="{0E390826-7EF3-49C3-BA30-C9209BF103B6}" destId="{A823339C-7799-4A1F-AC14-98B7EF7D5A55}" srcOrd="2" destOrd="0" parTransId="{352802E4-C34B-49A9-9CB3-47425FD020C3}" sibTransId="{284DE6B6-70AF-44AE-8791-1B5D30BE0804}"/>
    <dgm:cxn modelId="{930441CB-D131-47CD-AB16-07A9D8EC4D0A}" srcId="{0E390826-7EF3-49C3-BA30-C9209BF103B6}" destId="{6FE2CC55-4204-47DB-A7DA-8AED11ED30CC}" srcOrd="5" destOrd="0" parTransId="{6DE6F8D3-7204-418A-9F32-451CCF8D8C7D}" sibTransId="{8AA1CAF6-31ED-44C6-AC23-7323E2A7266B}"/>
    <dgm:cxn modelId="{3F2EB84A-A8F3-4FD5-8EEC-8F2E8FE53A82}" type="presOf" srcId="{D59921FD-D49C-442D-B027-D904792233D0}" destId="{559B312F-6394-4FCA-A81E-D74F32D39C97}" srcOrd="0" destOrd="0" presId="urn:microsoft.com/office/officeart/2005/8/layout/hProcess9"/>
    <dgm:cxn modelId="{08BD047B-8A18-4D6B-849C-CA43A9575B09}" srcId="{0E390826-7EF3-49C3-BA30-C9209BF103B6}" destId="{2EBE4C4A-11A6-44CE-86D4-248378318BF8}" srcOrd="0" destOrd="0" parTransId="{1F6A2E8F-70E7-482E-B296-CA27C4E1D686}" sibTransId="{B98FA3A6-B52F-4BC6-B56C-86D18569C129}"/>
    <dgm:cxn modelId="{89AC0CFD-C696-47AE-86A9-606E785B2917}" srcId="{0E390826-7EF3-49C3-BA30-C9209BF103B6}" destId="{49906592-7066-4838-B2A6-15D70F8512E4}" srcOrd="4" destOrd="0" parTransId="{DA729ACB-9B3D-4068-B98D-B71295441EB1}" sibTransId="{98B33E81-01B8-4C16-8345-E9010FD07FB9}"/>
    <dgm:cxn modelId="{417C1300-A352-4A90-9067-450ACF1B4A65}" type="presParOf" srcId="{F2F0B603-3458-4AAF-B6DB-88D8590F6FDC}" destId="{335A8EB9-A585-44D3-92B2-64BE24370B64}" srcOrd="0" destOrd="0" presId="urn:microsoft.com/office/officeart/2005/8/layout/hProcess9"/>
    <dgm:cxn modelId="{D868E003-4271-4326-9A63-D1A3D2B32258}" type="presParOf" srcId="{F2F0B603-3458-4AAF-B6DB-88D8590F6FDC}" destId="{9D0352A5-F527-4484-8075-EFA464BD036D}" srcOrd="1" destOrd="0" presId="urn:microsoft.com/office/officeart/2005/8/layout/hProcess9"/>
    <dgm:cxn modelId="{57DD6F6E-D3C7-47AB-A115-0BD5EDAD60DA}" type="presParOf" srcId="{9D0352A5-F527-4484-8075-EFA464BD036D}" destId="{38FAA2CB-61A3-499F-BA4B-36A1F24A5195}" srcOrd="0" destOrd="0" presId="urn:microsoft.com/office/officeart/2005/8/layout/hProcess9"/>
    <dgm:cxn modelId="{8908C991-0508-4BE5-B61C-0A3B690B4FE3}" type="presParOf" srcId="{9D0352A5-F527-4484-8075-EFA464BD036D}" destId="{4A017BD0-83E5-44DA-A5BF-FE92B51EB494}" srcOrd="1" destOrd="0" presId="urn:microsoft.com/office/officeart/2005/8/layout/hProcess9"/>
    <dgm:cxn modelId="{60B5B662-ABF1-42AA-8D63-E8606EE58D61}" type="presParOf" srcId="{9D0352A5-F527-4484-8075-EFA464BD036D}" destId="{11FBFC09-831E-484B-866E-4E7B08154149}" srcOrd="2" destOrd="0" presId="urn:microsoft.com/office/officeart/2005/8/layout/hProcess9"/>
    <dgm:cxn modelId="{3E0914E3-5900-406E-BC37-1CF3B4D720BE}" type="presParOf" srcId="{9D0352A5-F527-4484-8075-EFA464BD036D}" destId="{DB34021A-502C-4DDC-A4E1-CBAF840C04F0}" srcOrd="3" destOrd="0" presId="urn:microsoft.com/office/officeart/2005/8/layout/hProcess9"/>
    <dgm:cxn modelId="{50F24A9A-042A-4166-9DD9-A4D657B7319C}" type="presParOf" srcId="{9D0352A5-F527-4484-8075-EFA464BD036D}" destId="{F6CFF5EE-D3E2-4A00-B58F-0311F3470FD3}" srcOrd="4" destOrd="0" presId="urn:microsoft.com/office/officeart/2005/8/layout/hProcess9"/>
    <dgm:cxn modelId="{BBC0B84F-49C5-48A4-901A-DDE3241B3871}" type="presParOf" srcId="{9D0352A5-F527-4484-8075-EFA464BD036D}" destId="{CB63B9D1-7DC7-45D9-9491-1B1D85858113}" srcOrd="5" destOrd="0" presId="urn:microsoft.com/office/officeart/2005/8/layout/hProcess9"/>
    <dgm:cxn modelId="{5A5EBEB6-2964-4DE7-9169-9D6F9795413C}" type="presParOf" srcId="{9D0352A5-F527-4484-8075-EFA464BD036D}" destId="{1960EA01-157D-4B0F-9933-030D9AEE2EEE}" srcOrd="6" destOrd="0" presId="urn:microsoft.com/office/officeart/2005/8/layout/hProcess9"/>
    <dgm:cxn modelId="{72CF4E2C-0FCB-4B82-9232-2E2294E96C47}" type="presParOf" srcId="{9D0352A5-F527-4484-8075-EFA464BD036D}" destId="{249E1570-3730-4702-A4A0-ECE85D374CEC}" srcOrd="7" destOrd="0" presId="urn:microsoft.com/office/officeart/2005/8/layout/hProcess9"/>
    <dgm:cxn modelId="{D0234E29-DA5D-45E1-8A6D-FB8FA3AFA3EE}" type="presParOf" srcId="{9D0352A5-F527-4484-8075-EFA464BD036D}" destId="{79681911-3BEC-4647-A770-BB94BDB37AD3}" srcOrd="8" destOrd="0" presId="urn:microsoft.com/office/officeart/2005/8/layout/hProcess9"/>
    <dgm:cxn modelId="{FAFE980A-56CF-4CFB-AEBE-99E45669530D}" type="presParOf" srcId="{9D0352A5-F527-4484-8075-EFA464BD036D}" destId="{000F6ED1-8EFD-421A-97F9-EB7A5BEFB836}" srcOrd="9" destOrd="0" presId="urn:microsoft.com/office/officeart/2005/8/layout/hProcess9"/>
    <dgm:cxn modelId="{5E491055-D22A-4CA1-B46C-88137441AC7D}" type="presParOf" srcId="{9D0352A5-F527-4484-8075-EFA464BD036D}" destId="{3B2D4AE7-977B-46B0-98A0-909D1847AFED}" srcOrd="10" destOrd="0" presId="urn:microsoft.com/office/officeart/2005/8/layout/hProcess9"/>
    <dgm:cxn modelId="{45B64F51-5B27-4A08-8B6D-E4D42BDC36F4}" type="presParOf" srcId="{9D0352A5-F527-4484-8075-EFA464BD036D}" destId="{56BECB2B-9279-411B-B166-FEC173D6B412}" srcOrd="11" destOrd="0" presId="urn:microsoft.com/office/officeart/2005/8/layout/hProcess9"/>
    <dgm:cxn modelId="{8EF2A45F-1070-409A-A8BD-C7F39C99BF1F}" type="presParOf" srcId="{9D0352A5-F527-4484-8075-EFA464BD036D}" destId="{559B312F-6394-4FCA-A81E-D74F32D39C97}" srcOrd="1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8441239-A9AC-4A17-B1D9-D544A2DF50FA}" type="doc">
      <dgm:prSet loTypeId="urn:microsoft.com/office/officeart/2009/3/layout/SubStepProcess" loCatId="process" qsTypeId="urn:microsoft.com/office/officeart/2005/8/quickstyle/simple1" qsCatId="simple" csTypeId="urn:microsoft.com/office/officeart/2005/8/colors/accent1_2" csCatId="accent1" phldr="1"/>
      <dgm:spPr/>
    </dgm:pt>
    <dgm:pt modelId="{2EE2E263-9438-46A3-859A-7863447C8905}">
      <dgm:prSet phldrT="[文本]"/>
      <dgm:spPr/>
      <dgm:t>
        <a:bodyPr/>
        <a:lstStyle/>
        <a:p>
          <a:r>
            <a:rPr lang="zh-CN" altLang="en-US" dirty="0" smtClean="0">
              <a:solidFill>
                <a:schemeClr val="tx1"/>
              </a:solidFill>
            </a:rPr>
            <a:t>前期交互阶段</a:t>
          </a:r>
          <a:endParaRPr lang="zh-CN" altLang="en-US" dirty="0">
            <a:solidFill>
              <a:schemeClr val="tx1"/>
            </a:solidFill>
          </a:endParaRPr>
        </a:p>
      </dgm:t>
    </dgm:pt>
    <dgm:pt modelId="{625DB827-AC79-4DC0-8B8B-0F464D5C111D}" type="parTrans" cxnId="{77CD0EED-19AD-420C-A769-ADA52697C664}">
      <dgm:prSet/>
      <dgm:spPr/>
      <dgm:t>
        <a:bodyPr/>
        <a:lstStyle/>
        <a:p>
          <a:endParaRPr lang="zh-CN" altLang="en-US">
            <a:solidFill>
              <a:schemeClr val="tx1"/>
            </a:solidFill>
          </a:endParaRPr>
        </a:p>
      </dgm:t>
    </dgm:pt>
    <dgm:pt modelId="{541BDBFF-58B3-4802-8B4C-43A925D6CF87}" type="sibTrans" cxnId="{77CD0EED-19AD-420C-A769-ADA52697C664}">
      <dgm:prSet/>
      <dgm:spPr/>
      <dgm:t>
        <a:bodyPr/>
        <a:lstStyle/>
        <a:p>
          <a:endParaRPr lang="zh-CN" altLang="en-US">
            <a:solidFill>
              <a:schemeClr val="tx1"/>
            </a:solidFill>
          </a:endParaRPr>
        </a:p>
      </dgm:t>
    </dgm:pt>
    <dgm:pt modelId="{D9DC8C44-830A-47C6-A610-292DEEDF1C62}">
      <dgm:prSet phldrT="[文本]"/>
      <dgm:spPr/>
      <dgm:t>
        <a:bodyPr/>
        <a:lstStyle/>
        <a:p>
          <a:r>
            <a:rPr lang="zh-CN" altLang="en-US" dirty="0" smtClean="0">
              <a:solidFill>
                <a:schemeClr val="tx1"/>
              </a:solidFill>
            </a:rPr>
            <a:t>保护自己</a:t>
          </a:r>
          <a:endParaRPr lang="zh-CN" altLang="en-US" dirty="0">
            <a:solidFill>
              <a:schemeClr val="tx1"/>
            </a:solidFill>
          </a:endParaRPr>
        </a:p>
      </dgm:t>
    </dgm:pt>
    <dgm:pt modelId="{F053CE63-8175-4B70-B935-999E8F8CF870}" type="parTrans" cxnId="{ADA37E3E-4C75-4A74-9308-F0736D200137}">
      <dgm:prSet/>
      <dgm:spPr/>
      <dgm:t>
        <a:bodyPr/>
        <a:lstStyle/>
        <a:p>
          <a:endParaRPr lang="zh-CN" altLang="en-US">
            <a:solidFill>
              <a:schemeClr val="tx1"/>
            </a:solidFill>
          </a:endParaRPr>
        </a:p>
      </dgm:t>
    </dgm:pt>
    <dgm:pt modelId="{A8F70F64-7ACA-4970-8C02-226144E769A0}" type="sibTrans" cxnId="{ADA37E3E-4C75-4A74-9308-F0736D200137}">
      <dgm:prSet/>
      <dgm:spPr/>
      <dgm:t>
        <a:bodyPr/>
        <a:lstStyle/>
        <a:p>
          <a:endParaRPr lang="zh-CN" altLang="en-US">
            <a:solidFill>
              <a:schemeClr val="tx1"/>
            </a:solidFill>
          </a:endParaRPr>
        </a:p>
      </dgm:t>
    </dgm:pt>
    <dgm:pt modelId="{B3146682-6172-439C-A0FD-BD6623AA8524}">
      <dgm:prSet phldrT="[文本]"/>
      <dgm:spPr/>
      <dgm:t>
        <a:bodyPr/>
        <a:lstStyle/>
        <a:p>
          <a:r>
            <a:rPr lang="zh-CN" altLang="en-US" dirty="0" smtClean="0">
              <a:solidFill>
                <a:schemeClr val="tx1"/>
              </a:solidFill>
            </a:rPr>
            <a:t>交互确定规则</a:t>
          </a:r>
          <a:endParaRPr lang="zh-CN" altLang="en-US" dirty="0">
            <a:solidFill>
              <a:schemeClr val="tx1"/>
            </a:solidFill>
          </a:endParaRPr>
        </a:p>
      </dgm:t>
    </dgm:pt>
    <dgm:pt modelId="{8C72B178-2870-4363-8023-5F0776BC7BC5}" type="parTrans" cxnId="{9F0DCD93-0159-4266-8CE0-D683694CE18C}">
      <dgm:prSet/>
      <dgm:spPr/>
      <dgm:t>
        <a:bodyPr/>
        <a:lstStyle/>
        <a:p>
          <a:endParaRPr lang="zh-CN" altLang="en-US">
            <a:solidFill>
              <a:schemeClr val="tx1"/>
            </a:solidFill>
          </a:endParaRPr>
        </a:p>
      </dgm:t>
    </dgm:pt>
    <dgm:pt modelId="{168DE46C-0817-4058-B4D5-3A623A9EDA38}" type="sibTrans" cxnId="{9F0DCD93-0159-4266-8CE0-D683694CE18C}">
      <dgm:prSet/>
      <dgm:spPr/>
      <dgm:t>
        <a:bodyPr/>
        <a:lstStyle/>
        <a:p>
          <a:endParaRPr lang="zh-CN" altLang="en-US">
            <a:solidFill>
              <a:schemeClr val="tx1"/>
            </a:solidFill>
          </a:endParaRPr>
        </a:p>
      </dgm:t>
    </dgm:pt>
    <dgm:pt modelId="{9AA574CB-8BD6-4B60-9457-7F32A38BC259}">
      <dgm:prSet phldrT="[文本]"/>
      <dgm:spPr/>
      <dgm:t>
        <a:bodyPr/>
        <a:lstStyle/>
        <a:p>
          <a:r>
            <a:rPr lang="zh-CN" altLang="en-US" dirty="0" smtClean="0">
              <a:solidFill>
                <a:schemeClr val="tx1"/>
              </a:solidFill>
            </a:rPr>
            <a:t>测试术语与定义</a:t>
          </a:r>
          <a:endParaRPr lang="zh-CN" altLang="en-US" dirty="0">
            <a:solidFill>
              <a:schemeClr val="tx1"/>
            </a:solidFill>
          </a:endParaRPr>
        </a:p>
      </dgm:t>
    </dgm:pt>
    <dgm:pt modelId="{3D6FB2E1-2607-406D-8CE4-3F72C4E2BA7C}" type="parTrans" cxnId="{A3639D38-BD0E-4E75-8C5A-FD32AEF97BB3}">
      <dgm:prSet/>
      <dgm:spPr/>
      <dgm:t>
        <a:bodyPr/>
        <a:lstStyle/>
        <a:p>
          <a:endParaRPr lang="zh-CN" altLang="en-US">
            <a:solidFill>
              <a:schemeClr val="tx1"/>
            </a:solidFill>
          </a:endParaRPr>
        </a:p>
      </dgm:t>
    </dgm:pt>
    <dgm:pt modelId="{4A652E1D-2EE7-4BC2-8CB9-E0474E09EDEF}" type="sibTrans" cxnId="{A3639D38-BD0E-4E75-8C5A-FD32AEF97BB3}">
      <dgm:prSet/>
      <dgm:spPr/>
      <dgm:t>
        <a:bodyPr/>
        <a:lstStyle/>
        <a:p>
          <a:endParaRPr lang="zh-CN" altLang="en-US">
            <a:solidFill>
              <a:schemeClr val="tx1"/>
            </a:solidFill>
          </a:endParaRPr>
        </a:p>
      </dgm:t>
    </dgm:pt>
    <dgm:pt modelId="{FD6B28E6-35E2-4CB6-ABBB-DBBECE808BAD}">
      <dgm:prSet phldrT="[文本]"/>
      <dgm:spPr/>
      <dgm:t>
        <a:bodyPr/>
        <a:lstStyle/>
        <a:p>
          <a:r>
            <a:rPr lang="zh-CN" altLang="en-US" dirty="0" smtClean="0">
              <a:solidFill>
                <a:schemeClr val="tx1"/>
              </a:solidFill>
            </a:rPr>
            <a:t>建立通讯渠道</a:t>
          </a:r>
          <a:endParaRPr lang="zh-CN" altLang="en-US" dirty="0">
            <a:solidFill>
              <a:schemeClr val="tx1"/>
            </a:solidFill>
          </a:endParaRPr>
        </a:p>
      </dgm:t>
    </dgm:pt>
    <dgm:pt modelId="{1ECC388B-8232-4256-BED3-C7F7CC058BC2}" type="parTrans" cxnId="{B508C67D-6604-4C8E-AE3D-0C24E02E2117}">
      <dgm:prSet/>
      <dgm:spPr/>
      <dgm:t>
        <a:bodyPr/>
        <a:lstStyle/>
        <a:p>
          <a:endParaRPr lang="zh-CN" altLang="en-US">
            <a:solidFill>
              <a:schemeClr val="tx1"/>
            </a:solidFill>
          </a:endParaRPr>
        </a:p>
      </dgm:t>
    </dgm:pt>
    <dgm:pt modelId="{661B617C-4515-4507-8984-0AE5D70709EF}" type="sibTrans" cxnId="{B508C67D-6604-4C8E-AE3D-0C24E02E2117}">
      <dgm:prSet/>
      <dgm:spPr/>
      <dgm:t>
        <a:bodyPr/>
        <a:lstStyle/>
        <a:p>
          <a:endParaRPr lang="zh-CN" altLang="en-US">
            <a:solidFill>
              <a:schemeClr val="tx1"/>
            </a:solidFill>
          </a:endParaRPr>
        </a:p>
      </dgm:t>
    </dgm:pt>
    <dgm:pt modelId="{D52DCDE7-F6DA-4332-9E7D-C42CD59F5452}">
      <dgm:prSet phldrT="[文本]"/>
      <dgm:spPr/>
      <dgm:t>
        <a:bodyPr/>
        <a:lstStyle/>
        <a:p>
          <a:r>
            <a:rPr lang="zh-CN" altLang="en-US" dirty="0" smtClean="0">
              <a:solidFill>
                <a:schemeClr val="tx1"/>
              </a:solidFill>
            </a:rPr>
            <a:t>存在防御能力和技术</a:t>
          </a:r>
          <a:endParaRPr lang="zh-CN" altLang="en-US" dirty="0">
            <a:solidFill>
              <a:schemeClr val="tx1"/>
            </a:solidFill>
          </a:endParaRPr>
        </a:p>
      </dgm:t>
    </dgm:pt>
    <dgm:pt modelId="{66EE0851-2A56-4106-9703-110AAA71B391}" type="parTrans" cxnId="{B97AF1E0-C4FC-4F2B-B2E6-3CED6D19FDDD}">
      <dgm:prSet/>
      <dgm:spPr/>
      <dgm:t>
        <a:bodyPr/>
        <a:lstStyle/>
        <a:p>
          <a:endParaRPr lang="zh-CN" altLang="en-US">
            <a:solidFill>
              <a:schemeClr val="tx1"/>
            </a:solidFill>
          </a:endParaRPr>
        </a:p>
      </dgm:t>
    </dgm:pt>
    <dgm:pt modelId="{60BFAE1C-29B6-4E9A-AD26-13060C826870}" type="sibTrans" cxnId="{B97AF1E0-C4FC-4F2B-B2E6-3CED6D19FDDD}">
      <dgm:prSet/>
      <dgm:spPr/>
      <dgm:t>
        <a:bodyPr/>
        <a:lstStyle/>
        <a:p>
          <a:endParaRPr lang="zh-CN" altLang="en-US">
            <a:solidFill>
              <a:schemeClr val="tx1"/>
            </a:solidFill>
          </a:endParaRPr>
        </a:p>
      </dgm:t>
    </dgm:pt>
    <dgm:pt modelId="{0919E080-317F-4113-A6AA-A322A622ABD2}">
      <dgm:prSet phldrT="[文本]"/>
      <dgm:spPr/>
      <dgm:t>
        <a:bodyPr/>
        <a:lstStyle/>
        <a:p>
          <a:r>
            <a:rPr lang="zh-CN" altLang="en-US" dirty="0" smtClean="0">
              <a:solidFill>
                <a:schemeClr val="tx1"/>
              </a:solidFill>
            </a:rPr>
            <a:t>目标规划</a:t>
          </a:r>
          <a:endParaRPr lang="zh-CN" altLang="en-US" dirty="0">
            <a:solidFill>
              <a:schemeClr val="tx1"/>
            </a:solidFill>
          </a:endParaRPr>
        </a:p>
      </dgm:t>
    </dgm:pt>
    <dgm:pt modelId="{66AF1F25-BB65-4EDF-9713-450D15FBB5BE}" type="parTrans" cxnId="{186B35C5-0808-4628-B575-D1E8D8089BDE}">
      <dgm:prSet/>
      <dgm:spPr/>
      <dgm:t>
        <a:bodyPr/>
        <a:lstStyle/>
        <a:p>
          <a:endParaRPr lang="zh-CN" altLang="en-US">
            <a:solidFill>
              <a:schemeClr val="tx1"/>
            </a:solidFill>
          </a:endParaRPr>
        </a:p>
      </dgm:t>
    </dgm:pt>
    <dgm:pt modelId="{CB9870FE-E301-41D6-867E-CA669164C2E8}" type="sibTrans" cxnId="{186B35C5-0808-4628-B575-D1E8D8089BDE}">
      <dgm:prSet/>
      <dgm:spPr/>
      <dgm:t>
        <a:bodyPr/>
        <a:lstStyle/>
        <a:p>
          <a:endParaRPr lang="zh-CN" altLang="en-US">
            <a:solidFill>
              <a:schemeClr val="tx1"/>
            </a:solidFill>
          </a:endParaRPr>
        </a:p>
      </dgm:t>
    </dgm:pt>
    <dgm:pt modelId="{A0FA7F8C-88A7-496B-B2BA-700D5248528A}">
      <dgm:prSet phldrT="[文本]"/>
      <dgm:spPr/>
      <dgm:t>
        <a:bodyPr/>
        <a:lstStyle/>
        <a:p>
          <a:r>
            <a:rPr lang="zh-CN" altLang="en-US" dirty="0" smtClean="0">
              <a:solidFill>
                <a:schemeClr val="tx1"/>
              </a:solidFill>
            </a:rPr>
            <a:t>准备</a:t>
          </a:r>
          <a:endParaRPr lang="en-US" altLang="zh-CN" dirty="0" smtClean="0">
            <a:solidFill>
              <a:schemeClr val="tx1"/>
            </a:solidFill>
          </a:endParaRPr>
        </a:p>
        <a:p>
          <a:r>
            <a:rPr lang="zh-CN" altLang="en-US" dirty="0" smtClean="0">
              <a:solidFill>
                <a:schemeClr val="tx1"/>
              </a:solidFill>
            </a:rPr>
            <a:t>工作</a:t>
          </a:r>
          <a:endParaRPr lang="zh-CN" altLang="en-US" dirty="0">
            <a:solidFill>
              <a:schemeClr val="tx1"/>
            </a:solidFill>
          </a:endParaRPr>
        </a:p>
      </dgm:t>
    </dgm:pt>
    <dgm:pt modelId="{131EFBCF-9ED0-48D6-B272-5BCF514521BC}" type="parTrans" cxnId="{645878A0-0A34-49ED-A5DD-C6AAD04F50C2}">
      <dgm:prSet/>
      <dgm:spPr/>
      <dgm:t>
        <a:bodyPr/>
        <a:lstStyle/>
        <a:p>
          <a:endParaRPr lang="zh-CN" altLang="en-US">
            <a:solidFill>
              <a:schemeClr val="tx1"/>
            </a:solidFill>
          </a:endParaRPr>
        </a:p>
      </dgm:t>
    </dgm:pt>
    <dgm:pt modelId="{5063CD2D-E62E-4619-851F-AE5C2DCBA949}" type="sibTrans" cxnId="{645878A0-0A34-49ED-A5DD-C6AAD04F50C2}">
      <dgm:prSet/>
      <dgm:spPr/>
      <dgm:t>
        <a:bodyPr/>
        <a:lstStyle/>
        <a:p>
          <a:endParaRPr lang="zh-CN" altLang="en-US">
            <a:solidFill>
              <a:schemeClr val="tx1"/>
            </a:solidFill>
          </a:endParaRPr>
        </a:p>
      </dgm:t>
    </dgm:pt>
    <dgm:pt modelId="{B0A95868-C3B7-406C-80D1-CB90B43CC93C}">
      <dgm:prSet phldrT="[文本]"/>
      <dgm:spPr/>
      <dgm:t>
        <a:bodyPr/>
        <a:lstStyle/>
        <a:p>
          <a:r>
            <a:rPr lang="zh-CN" altLang="en-US" smtClean="0">
              <a:solidFill>
                <a:schemeClr val="tx1"/>
              </a:solidFill>
            </a:rPr>
            <a:t>确定</a:t>
          </a:r>
          <a:r>
            <a:rPr lang="zh-CN" altLang="en-US" dirty="0" smtClean="0">
              <a:solidFill>
                <a:schemeClr val="tx1"/>
              </a:solidFill>
            </a:rPr>
            <a:t>范围</a:t>
          </a:r>
          <a:endParaRPr lang="zh-CN" altLang="en-US" dirty="0">
            <a:solidFill>
              <a:schemeClr val="tx1"/>
            </a:solidFill>
          </a:endParaRPr>
        </a:p>
      </dgm:t>
    </dgm:pt>
    <dgm:pt modelId="{70335E66-2F7B-4693-B7C3-11DF6197AD34}" type="parTrans" cxnId="{1518D0C5-35FD-45E3-BCF1-35CAB3E6B5AE}">
      <dgm:prSet/>
      <dgm:spPr/>
      <dgm:t>
        <a:bodyPr/>
        <a:lstStyle/>
        <a:p>
          <a:endParaRPr lang="zh-CN" altLang="en-US">
            <a:solidFill>
              <a:schemeClr val="tx1"/>
            </a:solidFill>
          </a:endParaRPr>
        </a:p>
      </dgm:t>
    </dgm:pt>
    <dgm:pt modelId="{3979334D-3261-4059-B351-339C24972D78}" type="sibTrans" cxnId="{1518D0C5-35FD-45E3-BCF1-35CAB3E6B5AE}">
      <dgm:prSet/>
      <dgm:spPr/>
      <dgm:t>
        <a:bodyPr/>
        <a:lstStyle/>
        <a:p>
          <a:endParaRPr lang="zh-CN" altLang="en-US">
            <a:solidFill>
              <a:schemeClr val="tx1"/>
            </a:solidFill>
          </a:endParaRPr>
        </a:p>
      </dgm:t>
    </dgm:pt>
    <dgm:pt modelId="{5F135EB0-C5B7-49F5-A44F-0CE31B0B17C5}">
      <dgm:prSet phldrT="[文本]"/>
      <dgm:spPr/>
      <dgm:t>
        <a:bodyPr/>
        <a:lstStyle/>
        <a:p>
          <a:r>
            <a:rPr lang="zh-CN" altLang="en-US" dirty="0" smtClean="0">
              <a:solidFill>
                <a:schemeClr val="tx1"/>
              </a:solidFill>
            </a:rPr>
            <a:t>建立项目</a:t>
          </a:r>
          <a:endParaRPr lang="en-US" altLang="zh-CN" dirty="0" smtClean="0">
            <a:solidFill>
              <a:schemeClr val="tx1"/>
            </a:solidFill>
          </a:endParaRPr>
        </a:p>
      </dgm:t>
    </dgm:pt>
    <dgm:pt modelId="{A954F4D4-9DEC-47A0-AA87-DC101EC8E44F}" type="parTrans" cxnId="{9AD39129-8540-4E98-8A98-2D2F542E5BBF}">
      <dgm:prSet/>
      <dgm:spPr/>
      <dgm:t>
        <a:bodyPr/>
        <a:lstStyle/>
        <a:p>
          <a:endParaRPr lang="zh-CN" altLang="en-US">
            <a:solidFill>
              <a:schemeClr val="tx1"/>
            </a:solidFill>
          </a:endParaRPr>
        </a:p>
      </dgm:t>
    </dgm:pt>
    <dgm:pt modelId="{6091CBEC-A9F8-4EBF-BAC3-B07ABA8F38BD}" type="sibTrans" cxnId="{9AD39129-8540-4E98-8A98-2D2F542E5BBF}">
      <dgm:prSet/>
      <dgm:spPr/>
      <dgm:t>
        <a:bodyPr/>
        <a:lstStyle/>
        <a:p>
          <a:endParaRPr lang="zh-CN" altLang="en-US">
            <a:solidFill>
              <a:schemeClr val="tx1"/>
            </a:solidFill>
          </a:endParaRPr>
        </a:p>
      </dgm:t>
    </dgm:pt>
    <dgm:pt modelId="{9D33EE3E-1FDA-4A98-ABB6-E0CB6BA9589C}">
      <dgm:prSet phldrT="[文本]"/>
      <dgm:spPr/>
      <dgm:t>
        <a:bodyPr/>
        <a:lstStyle/>
        <a:p>
          <a:r>
            <a:rPr lang="zh-CN" altLang="en-US" dirty="0" smtClean="0">
              <a:solidFill>
                <a:schemeClr val="tx1"/>
              </a:solidFill>
            </a:rPr>
            <a:t>实施方案</a:t>
          </a:r>
          <a:endParaRPr lang="zh-CN" altLang="en-US" dirty="0">
            <a:solidFill>
              <a:schemeClr val="tx1"/>
            </a:solidFill>
          </a:endParaRPr>
        </a:p>
      </dgm:t>
    </dgm:pt>
    <dgm:pt modelId="{050CD7AD-B98D-4180-B57C-EF792C26315E}" type="parTrans" cxnId="{F2DA20FC-C153-4D74-A5F0-82446247A190}">
      <dgm:prSet/>
      <dgm:spPr/>
      <dgm:t>
        <a:bodyPr/>
        <a:lstStyle/>
        <a:p>
          <a:endParaRPr lang="zh-CN" altLang="en-US">
            <a:solidFill>
              <a:schemeClr val="tx1"/>
            </a:solidFill>
          </a:endParaRPr>
        </a:p>
      </dgm:t>
    </dgm:pt>
    <dgm:pt modelId="{DF5CDD34-9020-45F2-9E9E-664815C737D8}" type="sibTrans" cxnId="{F2DA20FC-C153-4D74-A5F0-82446247A190}">
      <dgm:prSet/>
      <dgm:spPr/>
      <dgm:t>
        <a:bodyPr/>
        <a:lstStyle/>
        <a:p>
          <a:endParaRPr lang="zh-CN" altLang="en-US">
            <a:solidFill>
              <a:schemeClr val="tx1"/>
            </a:solidFill>
          </a:endParaRPr>
        </a:p>
      </dgm:t>
    </dgm:pt>
    <dgm:pt modelId="{8364BA85-1089-4D73-A0CB-1B14E0EC8C97}">
      <dgm:prSet phldrT="[文本]"/>
      <dgm:spPr/>
      <dgm:t>
        <a:bodyPr/>
        <a:lstStyle/>
        <a:p>
          <a:r>
            <a:rPr lang="zh-CN" altLang="en-US" dirty="0" smtClean="0">
              <a:solidFill>
                <a:schemeClr val="tx1"/>
              </a:solidFill>
            </a:rPr>
            <a:t>实施安排</a:t>
          </a:r>
          <a:endParaRPr lang="zh-CN" altLang="en-US" dirty="0">
            <a:solidFill>
              <a:schemeClr val="tx1"/>
            </a:solidFill>
          </a:endParaRPr>
        </a:p>
      </dgm:t>
    </dgm:pt>
    <dgm:pt modelId="{B3131A86-13B5-482A-8CD7-495463176F8C}" type="parTrans" cxnId="{A758C116-0355-44C4-BB45-CB14E52C5924}">
      <dgm:prSet/>
      <dgm:spPr/>
      <dgm:t>
        <a:bodyPr/>
        <a:lstStyle/>
        <a:p>
          <a:endParaRPr lang="zh-CN" altLang="en-US">
            <a:solidFill>
              <a:schemeClr val="tx1"/>
            </a:solidFill>
          </a:endParaRPr>
        </a:p>
      </dgm:t>
    </dgm:pt>
    <dgm:pt modelId="{98BBDE26-606B-4093-9AE9-45937547B981}" type="sibTrans" cxnId="{A758C116-0355-44C4-BB45-CB14E52C5924}">
      <dgm:prSet/>
      <dgm:spPr/>
      <dgm:t>
        <a:bodyPr/>
        <a:lstStyle/>
        <a:p>
          <a:endParaRPr lang="zh-CN" altLang="en-US">
            <a:solidFill>
              <a:schemeClr val="tx1"/>
            </a:solidFill>
          </a:endParaRPr>
        </a:p>
      </dgm:t>
    </dgm:pt>
    <dgm:pt modelId="{AB442883-2662-4517-8CF5-3EBE9BE08311}">
      <dgm:prSet phldrT="[文本]"/>
      <dgm:spPr/>
      <dgm:t>
        <a:bodyPr/>
        <a:lstStyle/>
        <a:p>
          <a:r>
            <a:rPr lang="zh-CN" altLang="en-US" dirty="0" smtClean="0">
              <a:solidFill>
                <a:schemeClr val="tx1"/>
              </a:solidFill>
            </a:rPr>
            <a:t>订立合同</a:t>
          </a:r>
          <a:endParaRPr lang="zh-CN" altLang="en-US" dirty="0">
            <a:solidFill>
              <a:schemeClr val="tx1"/>
            </a:solidFill>
          </a:endParaRPr>
        </a:p>
      </dgm:t>
    </dgm:pt>
    <dgm:pt modelId="{989C859E-592E-4887-88A2-6251376712C4}" type="parTrans" cxnId="{96683116-B1D7-49AE-9744-E80ED517058C}">
      <dgm:prSet/>
      <dgm:spPr/>
      <dgm:t>
        <a:bodyPr/>
        <a:lstStyle/>
        <a:p>
          <a:endParaRPr lang="zh-CN" altLang="en-US">
            <a:solidFill>
              <a:schemeClr val="tx1"/>
            </a:solidFill>
          </a:endParaRPr>
        </a:p>
      </dgm:t>
    </dgm:pt>
    <dgm:pt modelId="{FA0E6E95-595B-4C6C-916C-482A842F8966}" type="sibTrans" cxnId="{96683116-B1D7-49AE-9744-E80ED517058C}">
      <dgm:prSet/>
      <dgm:spPr/>
      <dgm:t>
        <a:bodyPr/>
        <a:lstStyle/>
        <a:p>
          <a:endParaRPr lang="zh-CN" altLang="en-US">
            <a:solidFill>
              <a:schemeClr val="tx1"/>
            </a:solidFill>
          </a:endParaRPr>
        </a:p>
      </dgm:t>
    </dgm:pt>
    <dgm:pt modelId="{F8A8B875-D4FD-4BD0-AFC1-753C37E9D132}">
      <dgm:prSet phldrT="[文本]"/>
      <dgm:spPr/>
      <dgm:t>
        <a:bodyPr/>
        <a:lstStyle/>
        <a:p>
          <a:r>
            <a:rPr lang="zh-CN" altLang="en-US" dirty="0" smtClean="0">
              <a:solidFill>
                <a:schemeClr val="tx1"/>
              </a:solidFill>
            </a:rPr>
            <a:t>实施授权</a:t>
          </a:r>
          <a:endParaRPr lang="zh-CN" altLang="en-US" dirty="0">
            <a:solidFill>
              <a:schemeClr val="tx1"/>
            </a:solidFill>
          </a:endParaRPr>
        </a:p>
      </dgm:t>
    </dgm:pt>
    <dgm:pt modelId="{83CDC77B-649A-46E5-BFE4-E406D76A3F55}" type="parTrans" cxnId="{C3C3760C-18B6-439D-978C-9E2528E5CAFE}">
      <dgm:prSet/>
      <dgm:spPr/>
      <dgm:t>
        <a:bodyPr/>
        <a:lstStyle/>
        <a:p>
          <a:endParaRPr lang="zh-CN" altLang="en-US">
            <a:solidFill>
              <a:schemeClr val="tx1"/>
            </a:solidFill>
          </a:endParaRPr>
        </a:p>
      </dgm:t>
    </dgm:pt>
    <dgm:pt modelId="{CF5AE967-787B-44A6-A3D9-27CCD447D740}" type="sibTrans" cxnId="{C3C3760C-18B6-439D-978C-9E2528E5CAFE}">
      <dgm:prSet/>
      <dgm:spPr/>
      <dgm:t>
        <a:bodyPr/>
        <a:lstStyle/>
        <a:p>
          <a:endParaRPr lang="zh-CN" altLang="en-US">
            <a:solidFill>
              <a:schemeClr val="tx1"/>
            </a:solidFill>
          </a:endParaRPr>
        </a:p>
      </dgm:t>
    </dgm:pt>
    <dgm:pt modelId="{75063312-5E13-47D1-ABAD-D6F150AF3134}">
      <dgm:prSet phldrT="[文本]"/>
      <dgm:spPr/>
      <dgm:t>
        <a:bodyPr/>
        <a:lstStyle/>
        <a:p>
          <a:r>
            <a:rPr lang="zh-CN" altLang="en-US" dirty="0" smtClean="0">
              <a:solidFill>
                <a:schemeClr val="tx1"/>
              </a:solidFill>
            </a:rPr>
            <a:t>信息系统调研</a:t>
          </a:r>
          <a:endParaRPr lang="en-US" altLang="zh-CN" dirty="0" smtClean="0">
            <a:solidFill>
              <a:schemeClr val="tx1"/>
            </a:solidFill>
          </a:endParaRPr>
        </a:p>
      </dgm:t>
    </dgm:pt>
    <dgm:pt modelId="{212A831B-0EFF-4DBA-A601-52E45A0E444E}" type="parTrans" cxnId="{565373B9-CAED-4F4F-A54D-840E8AC1E8C8}">
      <dgm:prSet/>
      <dgm:spPr/>
      <dgm:t>
        <a:bodyPr/>
        <a:lstStyle/>
        <a:p>
          <a:endParaRPr lang="zh-CN" altLang="en-US">
            <a:solidFill>
              <a:schemeClr val="tx1"/>
            </a:solidFill>
          </a:endParaRPr>
        </a:p>
      </dgm:t>
    </dgm:pt>
    <dgm:pt modelId="{5411A90A-474A-4F34-AA68-8A094A5258FA}" type="sibTrans" cxnId="{565373B9-CAED-4F4F-A54D-840E8AC1E8C8}">
      <dgm:prSet/>
      <dgm:spPr/>
      <dgm:t>
        <a:bodyPr/>
        <a:lstStyle/>
        <a:p>
          <a:endParaRPr lang="zh-CN" altLang="en-US">
            <a:solidFill>
              <a:schemeClr val="tx1"/>
            </a:solidFill>
          </a:endParaRPr>
        </a:p>
      </dgm:t>
    </dgm:pt>
    <dgm:pt modelId="{3D23A4E9-7A62-4E19-9CB0-B5FFCF06D5DC}">
      <dgm:prSet phldrT="[文本]"/>
      <dgm:spPr/>
      <dgm:t>
        <a:bodyPr/>
        <a:lstStyle/>
        <a:p>
          <a:r>
            <a:rPr lang="zh-CN" altLang="en-US" dirty="0" smtClean="0">
              <a:solidFill>
                <a:schemeClr val="tx1"/>
              </a:solidFill>
            </a:rPr>
            <a:t>实施支持表单</a:t>
          </a:r>
          <a:endParaRPr lang="en-US" altLang="zh-CN" dirty="0" smtClean="0">
            <a:solidFill>
              <a:schemeClr val="tx1"/>
            </a:solidFill>
          </a:endParaRPr>
        </a:p>
      </dgm:t>
    </dgm:pt>
    <dgm:pt modelId="{91B6F97A-06ED-498C-B5BF-AC8356CE6A73}" type="parTrans" cxnId="{7D193661-9B54-4CBC-8C17-934B537F071B}">
      <dgm:prSet/>
      <dgm:spPr/>
      <dgm:t>
        <a:bodyPr/>
        <a:lstStyle/>
        <a:p>
          <a:endParaRPr lang="zh-CN" altLang="en-US">
            <a:solidFill>
              <a:schemeClr val="tx1"/>
            </a:solidFill>
          </a:endParaRPr>
        </a:p>
      </dgm:t>
    </dgm:pt>
    <dgm:pt modelId="{056DDAE9-3B16-4909-912A-DBB7C124D38D}" type="sibTrans" cxnId="{7D193661-9B54-4CBC-8C17-934B537F071B}">
      <dgm:prSet/>
      <dgm:spPr/>
      <dgm:t>
        <a:bodyPr/>
        <a:lstStyle/>
        <a:p>
          <a:endParaRPr lang="zh-CN" altLang="en-US">
            <a:solidFill>
              <a:schemeClr val="tx1"/>
            </a:solidFill>
          </a:endParaRPr>
        </a:p>
      </dgm:t>
    </dgm:pt>
    <dgm:pt modelId="{DA60C72D-C663-4381-9869-C01B925AD1EC}">
      <dgm:prSet phldrT="[文本]"/>
      <dgm:spPr/>
      <dgm:t>
        <a:bodyPr/>
        <a:lstStyle/>
        <a:p>
          <a:r>
            <a:rPr lang="en-US" altLang="zh-CN" dirty="0" smtClean="0">
              <a:solidFill>
                <a:schemeClr val="tx1"/>
              </a:solidFill>
            </a:rPr>
            <a:t>……</a:t>
          </a:r>
        </a:p>
      </dgm:t>
    </dgm:pt>
    <dgm:pt modelId="{5B3D2169-2DB5-4FB3-AB43-37CA0B028B92}" type="parTrans" cxnId="{5ED2EF9D-799A-4C3F-85ED-3AE6A41AD720}">
      <dgm:prSet/>
      <dgm:spPr/>
      <dgm:t>
        <a:bodyPr/>
        <a:lstStyle/>
        <a:p>
          <a:endParaRPr lang="zh-CN" altLang="en-US">
            <a:solidFill>
              <a:schemeClr val="tx1"/>
            </a:solidFill>
          </a:endParaRPr>
        </a:p>
      </dgm:t>
    </dgm:pt>
    <dgm:pt modelId="{2DBCBC7D-C46B-4503-8D4C-DF32962B1ED9}" type="sibTrans" cxnId="{5ED2EF9D-799A-4C3F-85ED-3AE6A41AD720}">
      <dgm:prSet/>
      <dgm:spPr/>
      <dgm:t>
        <a:bodyPr/>
        <a:lstStyle/>
        <a:p>
          <a:endParaRPr lang="zh-CN" altLang="en-US">
            <a:solidFill>
              <a:schemeClr val="tx1"/>
            </a:solidFill>
          </a:endParaRPr>
        </a:p>
      </dgm:t>
    </dgm:pt>
    <dgm:pt modelId="{8EBA1B9F-4BD7-4330-AC05-DE4AABF676BB}" type="pres">
      <dgm:prSet presAssocID="{48441239-A9AC-4A17-B1D9-D544A2DF50FA}" presName="Name0" presStyleCnt="0">
        <dgm:presLayoutVars>
          <dgm:chMax val="7"/>
          <dgm:dir/>
          <dgm:animOne val="branch"/>
        </dgm:presLayoutVars>
      </dgm:prSet>
      <dgm:spPr/>
    </dgm:pt>
    <dgm:pt modelId="{718FCB0D-D700-4934-9BEF-916F8540A749}" type="pres">
      <dgm:prSet presAssocID="{2EE2E263-9438-46A3-859A-7863447C8905}" presName="parTx1" presStyleLbl="node1" presStyleIdx="0" presStyleCnt="2"/>
      <dgm:spPr/>
      <dgm:t>
        <a:bodyPr/>
        <a:lstStyle/>
        <a:p>
          <a:endParaRPr lang="zh-CN" altLang="en-US"/>
        </a:p>
      </dgm:t>
    </dgm:pt>
    <dgm:pt modelId="{E6CB0C21-5CD7-4E3C-BCCD-7134FEA39152}" type="pres">
      <dgm:prSet presAssocID="{2EE2E263-9438-46A3-859A-7863447C8905}" presName="spPre1" presStyleCnt="0"/>
      <dgm:spPr/>
    </dgm:pt>
    <dgm:pt modelId="{E049128D-DA5F-4403-966E-1222F7C07202}" type="pres">
      <dgm:prSet presAssocID="{2EE2E263-9438-46A3-859A-7863447C8905}" presName="chLin1" presStyleCnt="0"/>
      <dgm:spPr/>
    </dgm:pt>
    <dgm:pt modelId="{A51A7ABC-08A7-4071-BD2B-DE97ED639B38}" type="pres">
      <dgm:prSet presAssocID="{70335E66-2F7B-4693-B7C3-11DF6197AD34}" presName="Name11" presStyleLbl="parChTrans1D1" presStyleIdx="0" presStyleCnt="44"/>
      <dgm:spPr/>
    </dgm:pt>
    <dgm:pt modelId="{ECECCA9D-6509-4B2C-9189-33C7B7D36A15}" type="pres">
      <dgm:prSet presAssocID="{70335E66-2F7B-4693-B7C3-11DF6197AD34}" presName="Name31" presStyleLbl="parChTrans1D1" presStyleIdx="1" presStyleCnt="44"/>
      <dgm:spPr/>
    </dgm:pt>
    <dgm:pt modelId="{7651A336-B3E2-477B-A92D-5142373C6E84}" type="pres">
      <dgm:prSet presAssocID="{B0A95868-C3B7-406C-80D1-CB90B43CC93C}" presName="txAndLines1" presStyleCnt="0"/>
      <dgm:spPr/>
    </dgm:pt>
    <dgm:pt modelId="{158D2257-914C-447A-A1CB-EE04BC52DDE3}" type="pres">
      <dgm:prSet presAssocID="{B0A95868-C3B7-406C-80D1-CB90B43CC93C}" presName="anchor1" presStyleCnt="0"/>
      <dgm:spPr/>
    </dgm:pt>
    <dgm:pt modelId="{AAFF51A9-FB99-45C1-8637-800BB739C3EE}" type="pres">
      <dgm:prSet presAssocID="{B0A95868-C3B7-406C-80D1-CB90B43CC93C}" presName="backup1" presStyleCnt="0"/>
      <dgm:spPr/>
    </dgm:pt>
    <dgm:pt modelId="{81034D6E-DDC2-4591-95E6-49D22F00C91F}" type="pres">
      <dgm:prSet presAssocID="{B0A95868-C3B7-406C-80D1-CB90B43CC93C}" presName="preLine1" presStyleLbl="parChTrans1D1" presStyleIdx="2" presStyleCnt="44"/>
      <dgm:spPr/>
    </dgm:pt>
    <dgm:pt modelId="{48D76FC9-4A8B-40B6-A6D8-3E74405C6816}" type="pres">
      <dgm:prSet presAssocID="{B0A95868-C3B7-406C-80D1-CB90B43CC93C}" presName="desTx1" presStyleLbl="revTx" presStyleIdx="0" presStyleCnt="0">
        <dgm:presLayoutVars>
          <dgm:bulletEnabled val="1"/>
        </dgm:presLayoutVars>
      </dgm:prSet>
      <dgm:spPr/>
      <dgm:t>
        <a:bodyPr/>
        <a:lstStyle/>
        <a:p>
          <a:endParaRPr lang="zh-CN" altLang="en-US"/>
        </a:p>
      </dgm:t>
    </dgm:pt>
    <dgm:pt modelId="{F364A555-1DFB-4D71-B8FE-087D3007F668}" type="pres">
      <dgm:prSet presAssocID="{B0A95868-C3B7-406C-80D1-CB90B43CC93C}" presName="postLine1" presStyleLbl="parChTrans1D1" presStyleIdx="3" presStyleCnt="44"/>
      <dgm:spPr/>
    </dgm:pt>
    <dgm:pt modelId="{E925931E-B973-4BF2-AB30-A76A7DE6F012}" type="pres">
      <dgm:prSet presAssocID="{66AF1F25-BB65-4EDF-9713-450D15FBB5BE}" presName="Name11" presStyleLbl="parChTrans1D1" presStyleIdx="4" presStyleCnt="44"/>
      <dgm:spPr/>
    </dgm:pt>
    <dgm:pt modelId="{7967136D-7DFE-4D09-8BA5-BBCD77A00CC0}" type="pres">
      <dgm:prSet presAssocID="{66AF1F25-BB65-4EDF-9713-450D15FBB5BE}" presName="Name31" presStyleLbl="parChTrans1D1" presStyleIdx="5" presStyleCnt="44"/>
      <dgm:spPr/>
    </dgm:pt>
    <dgm:pt modelId="{54DD81CF-A4A9-456B-AF1F-B544D8CE0E80}" type="pres">
      <dgm:prSet presAssocID="{0919E080-317F-4113-A6AA-A322A622ABD2}" presName="txAndLines1" presStyleCnt="0"/>
      <dgm:spPr/>
    </dgm:pt>
    <dgm:pt modelId="{E5CEA1D5-71D6-446B-96A3-BDCE2BBEDE09}" type="pres">
      <dgm:prSet presAssocID="{0919E080-317F-4113-A6AA-A322A622ABD2}" presName="anchor1" presStyleCnt="0"/>
      <dgm:spPr/>
    </dgm:pt>
    <dgm:pt modelId="{FC68663C-350C-49F2-84EA-7D298783D963}" type="pres">
      <dgm:prSet presAssocID="{0919E080-317F-4113-A6AA-A322A622ABD2}" presName="backup1" presStyleCnt="0"/>
      <dgm:spPr/>
    </dgm:pt>
    <dgm:pt modelId="{3DD5561D-C8E8-4337-A83E-B341C633F8E0}" type="pres">
      <dgm:prSet presAssocID="{0919E080-317F-4113-A6AA-A322A622ABD2}" presName="preLine1" presStyleLbl="parChTrans1D1" presStyleIdx="6" presStyleCnt="44"/>
      <dgm:spPr/>
    </dgm:pt>
    <dgm:pt modelId="{EC1BAD51-CB35-4510-B24F-A499FA34D92E}" type="pres">
      <dgm:prSet presAssocID="{0919E080-317F-4113-A6AA-A322A622ABD2}" presName="desTx1" presStyleLbl="revTx" presStyleIdx="0" presStyleCnt="0">
        <dgm:presLayoutVars>
          <dgm:bulletEnabled val="1"/>
        </dgm:presLayoutVars>
      </dgm:prSet>
      <dgm:spPr/>
      <dgm:t>
        <a:bodyPr/>
        <a:lstStyle/>
        <a:p>
          <a:endParaRPr lang="zh-CN" altLang="en-US"/>
        </a:p>
      </dgm:t>
    </dgm:pt>
    <dgm:pt modelId="{435F4CDF-4B91-4242-8847-766BB7355F2A}" type="pres">
      <dgm:prSet presAssocID="{0919E080-317F-4113-A6AA-A322A622ABD2}" presName="postLine1" presStyleLbl="parChTrans1D1" presStyleIdx="7" presStyleCnt="44"/>
      <dgm:spPr/>
    </dgm:pt>
    <dgm:pt modelId="{2162A935-4E40-448F-B09C-3B0A31309EC5}" type="pres">
      <dgm:prSet presAssocID="{3D6FB2E1-2607-406D-8CE4-3F72C4E2BA7C}" presName="Name11" presStyleLbl="parChTrans1D1" presStyleIdx="8" presStyleCnt="44"/>
      <dgm:spPr/>
    </dgm:pt>
    <dgm:pt modelId="{08378266-6BDD-4FD2-82F9-C2C348C88FEE}" type="pres">
      <dgm:prSet presAssocID="{3D6FB2E1-2607-406D-8CE4-3F72C4E2BA7C}" presName="Name31" presStyleLbl="parChTrans1D1" presStyleIdx="9" presStyleCnt="44"/>
      <dgm:spPr/>
    </dgm:pt>
    <dgm:pt modelId="{6D7C37CC-C54A-4218-8350-B4C999CCB50D}" type="pres">
      <dgm:prSet presAssocID="{9AA574CB-8BD6-4B60-9457-7F32A38BC259}" presName="txAndLines1" presStyleCnt="0"/>
      <dgm:spPr/>
    </dgm:pt>
    <dgm:pt modelId="{D861AAF4-2719-40BB-A55B-7E43B17EECC2}" type="pres">
      <dgm:prSet presAssocID="{9AA574CB-8BD6-4B60-9457-7F32A38BC259}" presName="anchor1" presStyleCnt="0"/>
      <dgm:spPr/>
    </dgm:pt>
    <dgm:pt modelId="{6DFD9490-F5DF-454E-A201-9D5DF5A33A2D}" type="pres">
      <dgm:prSet presAssocID="{9AA574CB-8BD6-4B60-9457-7F32A38BC259}" presName="backup1" presStyleCnt="0"/>
      <dgm:spPr/>
    </dgm:pt>
    <dgm:pt modelId="{6202FC86-8E5F-4E93-9783-8C245467D7D8}" type="pres">
      <dgm:prSet presAssocID="{9AA574CB-8BD6-4B60-9457-7F32A38BC259}" presName="preLine1" presStyleLbl="parChTrans1D1" presStyleIdx="10" presStyleCnt="44"/>
      <dgm:spPr/>
    </dgm:pt>
    <dgm:pt modelId="{AEB3BC1D-D79F-4985-A788-B53F0A84D9BF}" type="pres">
      <dgm:prSet presAssocID="{9AA574CB-8BD6-4B60-9457-7F32A38BC259}" presName="desTx1" presStyleLbl="revTx" presStyleIdx="0" presStyleCnt="0">
        <dgm:presLayoutVars>
          <dgm:bulletEnabled val="1"/>
        </dgm:presLayoutVars>
      </dgm:prSet>
      <dgm:spPr/>
      <dgm:t>
        <a:bodyPr/>
        <a:lstStyle/>
        <a:p>
          <a:endParaRPr lang="zh-CN" altLang="en-US"/>
        </a:p>
      </dgm:t>
    </dgm:pt>
    <dgm:pt modelId="{97737B40-F96F-4D7F-98E9-E691A455E7AC}" type="pres">
      <dgm:prSet presAssocID="{9AA574CB-8BD6-4B60-9457-7F32A38BC259}" presName="postLine1" presStyleLbl="parChTrans1D1" presStyleIdx="11" presStyleCnt="44"/>
      <dgm:spPr/>
    </dgm:pt>
    <dgm:pt modelId="{AFA45A0C-EA29-4ABB-BF49-5831EBCC5B7D}" type="pres">
      <dgm:prSet presAssocID="{1ECC388B-8232-4256-BED3-C7F7CC058BC2}" presName="Name11" presStyleLbl="parChTrans1D1" presStyleIdx="12" presStyleCnt="44"/>
      <dgm:spPr/>
    </dgm:pt>
    <dgm:pt modelId="{3912D361-63AB-4F26-982D-D3BDAB42F9E3}" type="pres">
      <dgm:prSet presAssocID="{1ECC388B-8232-4256-BED3-C7F7CC058BC2}" presName="Name31" presStyleLbl="parChTrans1D1" presStyleIdx="13" presStyleCnt="44"/>
      <dgm:spPr/>
    </dgm:pt>
    <dgm:pt modelId="{71A3EBD6-20E1-4760-81E7-C7E527A32D27}" type="pres">
      <dgm:prSet presAssocID="{FD6B28E6-35E2-4CB6-ABBB-DBBECE808BAD}" presName="txAndLines1" presStyleCnt="0"/>
      <dgm:spPr/>
    </dgm:pt>
    <dgm:pt modelId="{751F95A2-1B2F-454D-BE8B-8BCAB68FD45A}" type="pres">
      <dgm:prSet presAssocID="{FD6B28E6-35E2-4CB6-ABBB-DBBECE808BAD}" presName="anchor1" presStyleCnt="0"/>
      <dgm:spPr/>
    </dgm:pt>
    <dgm:pt modelId="{C395C025-1394-4C29-A781-B48F429667FF}" type="pres">
      <dgm:prSet presAssocID="{FD6B28E6-35E2-4CB6-ABBB-DBBECE808BAD}" presName="backup1" presStyleCnt="0"/>
      <dgm:spPr/>
    </dgm:pt>
    <dgm:pt modelId="{8D25E663-CB94-4B4E-B93E-8698F1D93126}" type="pres">
      <dgm:prSet presAssocID="{FD6B28E6-35E2-4CB6-ABBB-DBBECE808BAD}" presName="preLine1" presStyleLbl="parChTrans1D1" presStyleIdx="14" presStyleCnt="44"/>
      <dgm:spPr/>
    </dgm:pt>
    <dgm:pt modelId="{71B3F7F3-93C6-4167-A5BF-E9FB60AE8FD1}" type="pres">
      <dgm:prSet presAssocID="{FD6B28E6-35E2-4CB6-ABBB-DBBECE808BAD}" presName="desTx1" presStyleLbl="revTx" presStyleIdx="0" presStyleCnt="0">
        <dgm:presLayoutVars>
          <dgm:bulletEnabled val="1"/>
        </dgm:presLayoutVars>
      </dgm:prSet>
      <dgm:spPr/>
      <dgm:t>
        <a:bodyPr/>
        <a:lstStyle/>
        <a:p>
          <a:endParaRPr lang="zh-CN" altLang="en-US"/>
        </a:p>
      </dgm:t>
    </dgm:pt>
    <dgm:pt modelId="{32911B3C-36BB-4AC3-8A04-3AB024253A6F}" type="pres">
      <dgm:prSet presAssocID="{FD6B28E6-35E2-4CB6-ABBB-DBBECE808BAD}" presName="postLine1" presStyleLbl="parChTrans1D1" presStyleIdx="15" presStyleCnt="44"/>
      <dgm:spPr/>
    </dgm:pt>
    <dgm:pt modelId="{0244E6AF-D008-42E6-860C-62F7E47763D3}" type="pres">
      <dgm:prSet presAssocID="{8C72B178-2870-4363-8023-5F0776BC7BC5}" presName="Name11" presStyleLbl="parChTrans1D1" presStyleIdx="16" presStyleCnt="44"/>
      <dgm:spPr/>
    </dgm:pt>
    <dgm:pt modelId="{AA1042D6-86EB-4076-8BE0-F186F2849E43}" type="pres">
      <dgm:prSet presAssocID="{8C72B178-2870-4363-8023-5F0776BC7BC5}" presName="Name31" presStyleLbl="parChTrans1D1" presStyleIdx="17" presStyleCnt="44"/>
      <dgm:spPr/>
    </dgm:pt>
    <dgm:pt modelId="{3FDB0BED-7CB6-41BD-8DD4-03677F3B63E1}" type="pres">
      <dgm:prSet presAssocID="{B3146682-6172-439C-A0FD-BD6623AA8524}" presName="txAndLines1" presStyleCnt="0"/>
      <dgm:spPr/>
    </dgm:pt>
    <dgm:pt modelId="{42CE3A38-A19C-4CD9-9589-39C9779FAA48}" type="pres">
      <dgm:prSet presAssocID="{B3146682-6172-439C-A0FD-BD6623AA8524}" presName="anchor1" presStyleCnt="0"/>
      <dgm:spPr/>
    </dgm:pt>
    <dgm:pt modelId="{70B684D4-AA5F-4AFB-B341-6E2B9C84691C}" type="pres">
      <dgm:prSet presAssocID="{B3146682-6172-439C-A0FD-BD6623AA8524}" presName="backup1" presStyleCnt="0"/>
      <dgm:spPr/>
    </dgm:pt>
    <dgm:pt modelId="{47CAEC75-78E8-447A-A87C-9F105C9E55CC}" type="pres">
      <dgm:prSet presAssocID="{B3146682-6172-439C-A0FD-BD6623AA8524}" presName="preLine1" presStyleLbl="parChTrans1D1" presStyleIdx="18" presStyleCnt="44"/>
      <dgm:spPr/>
    </dgm:pt>
    <dgm:pt modelId="{34FA173B-516B-4679-A782-5B3F25BE47C1}" type="pres">
      <dgm:prSet presAssocID="{B3146682-6172-439C-A0FD-BD6623AA8524}" presName="desTx1" presStyleLbl="revTx" presStyleIdx="0" presStyleCnt="0">
        <dgm:presLayoutVars>
          <dgm:bulletEnabled val="1"/>
        </dgm:presLayoutVars>
      </dgm:prSet>
      <dgm:spPr/>
      <dgm:t>
        <a:bodyPr/>
        <a:lstStyle/>
        <a:p>
          <a:endParaRPr lang="zh-CN" altLang="en-US"/>
        </a:p>
      </dgm:t>
    </dgm:pt>
    <dgm:pt modelId="{F2AD019C-F5BD-470F-8BA5-C718E620919D}" type="pres">
      <dgm:prSet presAssocID="{B3146682-6172-439C-A0FD-BD6623AA8524}" presName="postLine1" presStyleLbl="parChTrans1D1" presStyleIdx="19" presStyleCnt="44"/>
      <dgm:spPr/>
    </dgm:pt>
    <dgm:pt modelId="{74BE21EE-4C75-49F2-AF99-2373E1D137A9}" type="pres">
      <dgm:prSet presAssocID="{66EE0851-2A56-4106-9703-110AAA71B391}" presName="Name11" presStyleLbl="parChTrans1D1" presStyleIdx="20" presStyleCnt="44"/>
      <dgm:spPr/>
    </dgm:pt>
    <dgm:pt modelId="{A674A087-E60C-4BA7-8690-3A661EC83A3E}" type="pres">
      <dgm:prSet presAssocID="{66EE0851-2A56-4106-9703-110AAA71B391}" presName="Name31" presStyleLbl="parChTrans1D1" presStyleIdx="21" presStyleCnt="44"/>
      <dgm:spPr/>
    </dgm:pt>
    <dgm:pt modelId="{3B422E3A-6B67-4172-B71B-42FD5627CED5}" type="pres">
      <dgm:prSet presAssocID="{D52DCDE7-F6DA-4332-9E7D-C42CD59F5452}" presName="txAndLines1" presStyleCnt="0"/>
      <dgm:spPr/>
    </dgm:pt>
    <dgm:pt modelId="{39CEAC4C-86D7-4C50-AB5B-250755EA8012}" type="pres">
      <dgm:prSet presAssocID="{D52DCDE7-F6DA-4332-9E7D-C42CD59F5452}" presName="anchor1" presStyleCnt="0"/>
      <dgm:spPr/>
    </dgm:pt>
    <dgm:pt modelId="{6B70A754-82DF-4A5E-963E-3FE7C24BD483}" type="pres">
      <dgm:prSet presAssocID="{D52DCDE7-F6DA-4332-9E7D-C42CD59F5452}" presName="backup1" presStyleCnt="0"/>
      <dgm:spPr/>
    </dgm:pt>
    <dgm:pt modelId="{785C2894-9A5C-425E-B11E-2027CA50C04E}" type="pres">
      <dgm:prSet presAssocID="{D52DCDE7-F6DA-4332-9E7D-C42CD59F5452}" presName="preLine1" presStyleLbl="parChTrans1D1" presStyleIdx="22" presStyleCnt="44"/>
      <dgm:spPr/>
    </dgm:pt>
    <dgm:pt modelId="{1C944D71-7337-4E49-A229-C97D5FC920C6}" type="pres">
      <dgm:prSet presAssocID="{D52DCDE7-F6DA-4332-9E7D-C42CD59F5452}" presName="desTx1" presStyleLbl="revTx" presStyleIdx="0" presStyleCnt="0">
        <dgm:presLayoutVars>
          <dgm:bulletEnabled val="1"/>
        </dgm:presLayoutVars>
      </dgm:prSet>
      <dgm:spPr/>
      <dgm:t>
        <a:bodyPr/>
        <a:lstStyle/>
        <a:p>
          <a:endParaRPr lang="zh-CN" altLang="en-US"/>
        </a:p>
      </dgm:t>
    </dgm:pt>
    <dgm:pt modelId="{52BA79E2-728D-4DAD-9042-8B0B660736A2}" type="pres">
      <dgm:prSet presAssocID="{D52DCDE7-F6DA-4332-9E7D-C42CD59F5452}" presName="postLine1" presStyleLbl="parChTrans1D1" presStyleIdx="23" presStyleCnt="44"/>
      <dgm:spPr/>
    </dgm:pt>
    <dgm:pt modelId="{5A6D78DA-2CB6-4D8F-AD2C-E842B5A56433}" type="pres">
      <dgm:prSet presAssocID="{F053CE63-8175-4B70-B935-999E8F8CF870}" presName="Name11" presStyleLbl="parChTrans1D1" presStyleIdx="24" presStyleCnt="44"/>
      <dgm:spPr/>
    </dgm:pt>
    <dgm:pt modelId="{35473FE9-5050-4940-BB82-17A6D628DE0F}" type="pres">
      <dgm:prSet presAssocID="{F053CE63-8175-4B70-B935-999E8F8CF870}" presName="Name31" presStyleLbl="parChTrans1D1" presStyleIdx="25" presStyleCnt="44"/>
      <dgm:spPr/>
    </dgm:pt>
    <dgm:pt modelId="{010096BB-B479-4F6B-A993-CC69DFE4815F}" type="pres">
      <dgm:prSet presAssocID="{D9DC8C44-830A-47C6-A610-292DEEDF1C62}" presName="txAndLines1" presStyleCnt="0"/>
      <dgm:spPr/>
    </dgm:pt>
    <dgm:pt modelId="{0BA860C2-AEAD-48FB-B9B6-97EFA1A76E8A}" type="pres">
      <dgm:prSet presAssocID="{D9DC8C44-830A-47C6-A610-292DEEDF1C62}" presName="anchor1" presStyleCnt="0"/>
      <dgm:spPr/>
    </dgm:pt>
    <dgm:pt modelId="{9CD0AA9B-7AF0-437D-9C7A-420C98126418}" type="pres">
      <dgm:prSet presAssocID="{D9DC8C44-830A-47C6-A610-292DEEDF1C62}" presName="backup1" presStyleCnt="0"/>
      <dgm:spPr/>
    </dgm:pt>
    <dgm:pt modelId="{46CA5B4D-29B6-4F14-ADE6-E60D6521540B}" type="pres">
      <dgm:prSet presAssocID="{D9DC8C44-830A-47C6-A610-292DEEDF1C62}" presName="preLine1" presStyleLbl="parChTrans1D1" presStyleIdx="26" presStyleCnt="44"/>
      <dgm:spPr/>
    </dgm:pt>
    <dgm:pt modelId="{074F6A6E-8681-4DE0-BE79-2397C234D6DA}" type="pres">
      <dgm:prSet presAssocID="{D9DC8C44-830A-47C6-A610-292DEEDF1C62}" presName="desTx1" presStyleLbl="revTx" presStyleIdx="0" presStyleCnt="0">
        <dgm:presLayoutVars>
          <dgm:bulletEnabled val="1"/>
        </dgm:presLayoutVars>
      </dgm:prSet>
      <dgm:spPr/>
      <dgm:t>
        <a:bodyPr/>
        <a:lstStyle/>
        <a:p>
          <a:endParaRPr lang="zh-CN" altLang="en-US"/>
        </a:p>
      </dgm:t>
    </dgm:pt>
    <dgm:pt modelId="{7BEB28DF-72C2-4FEC-BE6E-56DF9CFD74AE}" type="pres">
      <dgm:prSet presAssocID="{D9DC8C44-830A-47C6-A610-292DEEDF1C62}" presName="postLine1" presStyleLbl="parChTrans1D1" presStyleIdx="27" presStyleCnt="44"/>
      <dgm:spPr/>
    </dgm:pt>
    <dgm:pt modelId="{FA0AD4C2-6CE5-4167-8519-4CFA5B220C05}" type="pres">
      <dgm:prSet presAssocID="{2EE2E263-9438-46A3-859A-7863447C8905}" presName="spPost1" presStyleCnt="0"/>
      <dgm:spPr/>
    </dgm:pt>
    <dgm:pt modelId="{CC544145-7D43-4AA9-AF3E-B8E3A3D712D5}" type="pres">
      <dgm:prSet presAssocID="{A0FA7F8C-88A7-496B-B2BA-700D5248528A}" presName="parTx2" presStyleLbl="node1" presStyleIdx="1" presStyleCnt="2"/>
      <dgm:spPr/>
      <dgm:t>
        <a:bodyPr/>
        <a:lstStyle/>
        <a:p>
          <a:endParaRPr lang="zh-CN" altLang="en-US"/>
        </a:p>
      </dgm:t>
    </dgm:pt>
    <dgm:pt modelId="{D0CED6BC-34D0-4F7E-900E-EA675F481823}" type="pres">
      <dgm:prSet presAssocID="{A0FA7F8C-88A7-496B-B2BA-700D5248528A}" presName="spPre2" presStyleCnt="0"/>
      <dgm:spPr/>
    </dgm:pt>
    <dgm:pt modelId="{B45FAE89-01B8-4369-B126-CB985ED0FB64}" type="pres">
      <dgm:prSet presAssocID="{A0FA7F8C-88A7-496B-B2BA-700D5248528A}" presName="chLin2" presStyleCnt="0"/>
      <dgm:spPr/>
    </dgm:pt>
    <dgm:pt modelId="{DA184080-38EE-46C5-A87C-ABF072AF4FD6}" type="pres">
      <dgm:prSet presAssocID="{A954F4D4-9DEC-47A0-AA87-DC101EC8E44F}" presName="Name45" presStyleLbl="parChTrans1D1" presStyleIdx="28" presStyleCnt="44"/>
      <dgm:spPr/>
    </dgm:pt>
    <dgm:pt modelId="{6B10AD76-5F9A-43A0-93BC-394081E16246}" type="pres">
      <dgm:prSet presAssocID="{5F135EB0-C5B7-49F5-A44F-0CE31B0B17C5}" presName="txAndLines2" presStyleCnt="0"/>
      <dgm:spPr/>
    </dgm:pt>
    <dgm:pt modelId="{D6164B29-765D-4B57-8A98-3744BE6DC1BA}" type="pres">
      <dgm:prSet presAssocID="{5F135EB0-C5B7-49F5-A44F-0CE31B0B17C5}" presName="anchor2" presStyleCnt="0"/>
      <dgm:spPr/>
    </dgm:pt>
    <dgm:pt modelId="{1C37AB59-2D98-4B6A-9B24-AAD15C0E64C7}" type="pres">
      <dgm:prSet presAssocID="{5F135EB0-C5B7-49F5-A44F-0CE31B0B17C5}" presName="backup2" presStyleCnt="0"/>
      <dgm:spPr/>
    </dgm:pt>
    <dgm:pt modelId="{468DE467-CC9E-4FF7-B24F-8310795B7828}" type="pres">
      <dgm:prSet presAssocID="{5F135EB0-C5B7-49F5-A44F-0CE31B0B17C5}" presName="preLine2" presStyleLbl="parChTrans1D1" presStyleIdx="29" presStyleCnt="44"/>
      <dgm:spPr/>
    </dgm:pt>
    <dgm:pt modelId="{6C0E343C-59EF-4BB6-82FF-F0791753A465}" type="pres">
      <dgm:prSet presAssocID="{5F135EB0-C5B7-49F5-A44F-0CE31B0B17C5}" presName="desTx2" presStyleLbl="revTx" presStyleIdx="0" presStyleCnt="0">
        <dgm:presLayoutVars>
          <dgm:bulletEnabled val="1"/>
        </dgm:presLayoutVars>
      </dgm:prSet>
      <dgm:spPr/>
      <dgm:t>
        <a:bodyPr/>
        <a:lstStyle/>
        <a:p>
          <a:endParaRPr lang="zh-CN" altLang="en-US"/>
        </a:p>
      </dgm:t>
    </dgm:pt>
    <dgm:pt modelId="{0A882162-8C0D-4E5E-842E-BC7C21D8679E}" type="pres">
      <dgm:prSet presAssocID="{989C859E-592E-4887-88A2-6251376712C4}" presName="Name45" presStyleLbl="parChTrans1D1" presStyleIdx="30" presStyleCnt="44"/>
      <dgm:spPr/>
    </dgm:pt>
    <dgm:pt modelId="{95873385-BB73-4285-AA4B-DE34524E4A47}" type="pres">
      <dgm:prSet presAssocID="{AB442883-2662-4517-8CF5-3EBE9BE08311}" presName="txAndLines2" presStyleCnt="0"/>
      <dgm:spPr/>
    </dgm:pt>
    <dgm:pt modelId="{6F37DB20-B27B-4967-AE8A-EFC787E8974B}" type="pres">
      <dgm:prSet presAssocID="{AB442883-2662-4517-8CF5-3EBE9BE08311}" presName="anchor2" presStyleCnt="0"/>
      <dgm:spPr/>
    </dgm:pt>
    <dgm:pt modelId="{8C172731-98E1-4A35-B9F2-2875C020ABA8}" type="pres">
      <dgm:prSet presAssocID="{AB442883-2662-4517-8CF5-3EBE9BE08311}" presName="backup2" presStyleCnt="0"/>
      <dgm:spPr/>
    </dgm:pt>
    <dgm:pt modelId="{33E77BE9-F47A-45C5-8109-A0A9147334F4}" type="pres">
      <dgm:prSet presAssocID="{AB442883-2662-4517-8CF5-3EBE9BE08311}" presName="preLine2" presStyleLbl="parChTrans1D1" presStyleIdx="31" presStyleCnt="44"/>
      <dgm:spPr/>
    </dgm:pt>
    <dgm:pt modelId="{C1920E0D-8654-473D-8063-EF645BD89481}" type="pres">
      <dgm:prSet presAssocID="{AB442883-2662-4517-8CF5-3EBE9BE08311}" presName="desTx2" presStyleLbl="revTx" presStyleIdx="0" presStyleCnt="0">
        <dgm:presLayoutVars>
          <dgm:bulletEnabled val="1"/>
        </dgm:presLayoutVars>
      </dgm:prSet>
      <dgm:spPr/>
      <dgm:t>
        <a:bodyPr/>
        <a:lstStyle/>
        <a:p>
          <a:endParaRPr lang="zh-CN" altLang="en-US"/>
        </a:p>
      </dgm:t>
    </dgm:pt>
    <dgm:pt modelId="{D1901D3B-CC46-44F4-A343-9D77E9AE6ABD}" type="pres">
      <dgm:prSet presAssocID="{050CD7AD-B98D-4180-B57C-EF792C26315E}" presName="Name45" presStyleLbl="parChTrans1D1" presStyleIdx="32" presStyleCnt="44"/>
      <dgm:spPr/>
    </dgm:pt>
    <dgm:pt modelId="{D00DD33A-AC5B-43E7-901B-918A5981B5C1}" type="pres">
      <dgm:prSet presAssocID="{9D33EE3E-1FDA-4A98-ABB6-E0CB6BA9589C}" presName="txAndLines2" presStyleCnt="0"/>
      <dgm:spPr/>
    </dgm:pt>
    <dgm:pt modelId="{38AF9D85-AE9D-442E-AF88-19AD692015CB}" type="pres">
      <dgm:prSet presAssocID="{9D33EE3E-1FDA-4A98-ABB6-E0CB6BA9589C}" presName="anchor2" presStyleCnt="0"/>
      <dgm:spPr/>
    </dgm:pt>
    <dgm:pt modelId="{00BA432E-59B3-4F4D-B5D8-B01E9672B350}" type="pres">
      <dgm:prSet presAssocID="{9D33EE3E-1FDA-4A98-ABB6-E0CB6BA9589C}" presName="backup2" presStyleCnt="0"/>
      <dgm:spPr/>
    </dgm:pt>
    <dgm:pt modelId="{AE862AB9-03FE-4FCE-833D-E8B1D5C674E0}" type="pres">
      <dgm:prSet presAssocID="{9D33EE3E-1FDA-4A98-ABB6-E0CB6BA9589C}" presName="preLine2" presStyleLbl="parChTrans1D1" presStyleIdx="33" presStyleCnt="44"/>
      <dgm:spPr/>
    </dgm:pt>
    <dgm:pt modelId="{07818414-730B-4FB2-8608-524FADF7B3A7}" type="pres">
      <dgm:prSet presAssocID="{9D33EE3E-1FDA-4A98-ABB6-E0CB6BA9589C}" presName="desTx2" presStyleLbl="revTx" presStyleIdx="0" presStyleCnt="0">
        <dgm:presLayoutVars>
          <dgm:bulletEnabled val="1"/>
        </dgm:presLayoutVars>
      </dgm:prSet>
      <dgm:spPr/>
      <dgm:t>
        <a:bodyPr/>
        <a:lstStyle/>
        <a:p>
          <a:endParaRPr lang="zh-CN" altLang="en-US"/>
        </a:p>
      </dgm:t>
    </dgm:pt>
    <dgm:pt modelId="{025C2DD9-13F6-46A9-B64D-EBE914A2AD7E}" type="pres">
      <dgm:prSet presAssocID="{B3131A86-13B5-482A-8CD7-495463176F8C}" presName="Name45" presStyleLbl="parChTrans1D1" presStyleIdx="34" presStyleCnt="44"/>
      <dgm:spPr/>
    </dgm:pt>
    <dgm:pt modelId="{EEE11D39-5455-4B4E-ABBD-61C41C0ACA44}" type="pres">
      <dgm:prSet presAssocID="{8364BA85-1089-4D73-A0CB-1B14E0EC8C97}" presName="txAndLines2" presStyleCnt="0"/>
      <dgm:spPr/>
    </dgm:pt>
    <dgm:pt modelId="{F9AB5CA6-40EF-46D6-9775-D26BFCC221CA}" type="pres">
      <dgm:prSet presAssocID="{8364BA85-1089-4D73-A0CB-1B14E0EC8C97}" presName="anchor2" presStyleCnt="0"/>
      <dgm:spPr/>
    </dgm:pt>
    <dgm:pt modelId="{773F67C8-B017-46D8-B2BD-8682121DE50C}" type="pres">
      <dgm:prSet presAssocID="{8364BA85-1089-4D73-A0CB-1B14E0EC8C97}" presName="backup2" presStyleCnt="0"/>
      <dgm:spPr/>
    </dgm:pt>
    <dgm:pt modelId="{A2848FEC-05DA-43A3-B2E3-D0847DBCEB41}" type="pres">
      <dgm:prSet presAssocID="{8364BA85-1089-4D73-A0CB-1B14E0EC8C97}" presName="preLine2" presStyleLbl="parChTrans1D1" presStyleIdx="35" presStyleCnt="44"/>
      <dgm:spPr/>
    </dgm:pt>
    <dgm:pt modelId="{96410DA6-9342-45D0-A991-11F640E12A35}" type="pres">
      <dgm:prSet presAssocID="{8364BA85-1089-4D73-A0CB-1B14E0EC8C97}" presName="desTx2" presStyleLbl="revTx" presStyleIdx="0" presStyleCnt="0">
        <dgm:presLayoutVars>
          <dgm:bulletEnabled val="1"/>
        </dgm:presLayoutVars>
      </dgm:prSet>
      <dgm:spPr/>
      <dgm:t>
        <a:bodyPr/>
        <a:lstStyle/>
        <a:p>
          <a:endParaRPr lang="zh-CN" altLang="en-US"/>
        </a:p>
      </dgm:t>
    </dgm:pt>
    <dgm:pt modelId="{BC719D5A-6762-455A-9158-13AECB6B6C3A}" type="pres">
      <dgm:prSet presAssocID="{83CDC77B-649A-46E5-BFE4-E406D76A3F55}" presName="Name45" presStyleLbl="parChTrans1D1" presStyleIdx="36" presStyleCnt="44"/>
      <dgm:spPr/>
    </dgm:pt>
    <dgm:pt modelId="{33AA9872-EF1E-4DB3-857E-B4151F6551DD}" type="pres">
      <dgm:prSet presAssocID="{F8A8B875-D4FD-4BD0-AFC1-753C37E9D132}" presName="txAndLines2" presStyleCnt="0"/>
      <dgm:spPr/>
    </dgm:pt>
    <dgm:pt modelId="{D84A052A-E6CE-48C6-837A-843448A2A632}" type="pres">
      <dgm:prSet presAssocID="{F8A8B875-D4FD-4BD0-AFC1-753C37E9D132}" presName="anchor2" presStyleCnt="0"/>
      <dgm:spPr/>
    </dgm:pt>
    <dgm:pt modelId="{F8A15F0D-30C1-4373-8D64-9B1E8F50690F}" type="pres">
      <dgm:prSet presAssocID="{F8A8B875-D4FD-4BD0-AFC1-753C37E9D132}" presName="backup2" presStyleCnt="0"/>
      <dgm:spPr/>
    </dgm:pt>
    <dgm:pt modelId="{54B0C6C9-FCA1-41D5-BFB0-B27E191942DE}" type="pres">
      <dgm:prSet presAssocID="{F8A8B875-D4FD-4BD0-AFC1-753C37E9D132}" presName="preLine2" presStyleLbl="parChTrans1D1" presStyleIdx="37" presStyleCnt="44"/>
      <dgm:spPr/>
    </dgm:pt>
    <dgm:pt modelId="{6A4D20FE-125B-4EA6-9DFC-00B0273CA6DE}" type="pres">
      <dgm:prSet presAssocID="{F8A8B875-D4FD-4BD0-AFC1-753C37E9D132}" presName="desTx2" presStyleLbl="revTx" presStyleIdx="0" presStyleCnt="0">
        <dgm:presLayoutVars>
          <dgm:bulletEnabled val="1"/>
        </dgm:presLayoutVars>
      </dgm:prSet>
      <dgm:spPr/>
      <dgm:t>
        <a:bodyPr/>
        <a:lstStyle/>
        <a:p>
          <a:endParaRPr lang="zh-CN" altLang="en-US"/>
        </a:p>
      </dgm:t>
    </dgm:pt>
    <dgm:pt modelId="{EBD60EF0-0F4B-4459-832B-264A7626E281}" type="pres">
      <dgm:prSet presAssocID="{212A831B-0EFF-4DBA-A601-52E45A0E444E}" presName="Name45" presStyleLbl="parChTrans1D1" presStyleIdx="38" presStyleCnt="44"/>
      <dgm:spPr/>
    </dgm:pt>
    <dgm:pt modelId="{D74AFE78-24E6-4D9D-AE46-3D94D21353E0}" type="pres">
      <dgm:prSet presAssocID="{75063312-5E13-47D1-ABAD-D6F150AF3134}" presName="txAndLines2" presStyleCnt="0"/>
      <dgm:spPr/>
    </dgm:pt>
    <dgm:pt modelId="{29A8CA1C-9D60-4D4D-924A-39E098FF2094}" type="pres">
      <dgm:prSet presAssocID="{75063312-5E13-47D1-ABAD-D6F150AF3134}" presName="anchor2" presStyleCnt="0"/>
      <dgm:spPr/>
    </dgm:pt>
    <dgm:pt modelId="{0671EDEB-3829-4245-86D7-85D8009E47B5}" type="pres">
      <dgm:prSet presAssocID="{75063312-5E13-47D1-ABAD-D6F150AF3134}" presName="backup2" presStyleCnt="0"/>
      <dgm:spPr/>
    </dgm:pt>
    <dgm:pt modelId="{9E90020B-534A-4920-855B-74611A92C7A2}" type="pres">
      <dgm:prSet presAssocID="{75063312-5E13-47D1-ABAD-D6F150AF3134}" presName="preLine2" presStyleLbl="parChTrans1D1" presStyleIdx="39" presStyleCnt="44"/>
      <dgm:spPr/>
    </dgm:pt>
    <dgm:pt modelId="{16DE19D8-FFD4-41FC-B207-5A864C35E6D7}" type="pres">
      <dgm:prSet presAssocID="{75063312-5E13-47D1-ABAD-D6F150AF3134}" presName="desTx2" presStyleLbl="revTx" presStyleIdx="0" presStyleCnt="0">
        <dgm:presLayoutVars>
          <dgm:bulletEnabled val="1"/>
        </dgm:presLayoutVars>
      </dgm:prSet>
      <dgm:spPr/>
      <dgm:t>
        <a:bodyPr/>
        <a:lstStyle/>
        <a:p>
          <a:endParaRPr lang="zh-CN" altLang="en-US"/>
        </a:p>
      </dgm:t>
    </dgm:pt>
    <dgm:pt modelId="{FEB314EF-597E-49AB-9754-56A3D6183AA0}" type="pres">
      <dgm:prSet presAssocID="{91B6F97A-06ED-498C-B5BF-AC8356CE6A73}" presName="Name45" presStyleLbl="parChTrans1D1" presStyleIdx="40" presStyleCnt="44"/>
      <dgm:spPr/>
    </dgm:pt>
    <dgm:pt modelId="{E1A21261-3CFE-4789-8C88-BDD6B55B5D5C}" type="pres">
      <dgm:prSet presAssocID="{3D23A4E9-7A62-4E19-9CB0-B5FFCF06D5DC}" presName="txAndLines2" presStyleCnt="0"/>
      <dgm:spPr/>
    </dgm:pt>
    <dgm:pt modelId="{B31E3B27-B638-42F0-A340-CD174AF76943}" type="pres">
      <dgm:prSet presAssocID="{3D23A4E9-7A62-4E19-9CB0-B5FFCF06D5DC}" presName="anchor2" presStyleCnt="0"/>
      <dgm:spPr/>
    </dgm:pt>
    <dgm:pt modelId="{A743A761-9797-4C6E-9857-D71157F18C41}" type="pres">
      <dgm:prSet presAssocID="{3D23A4E9-7A62-4E19-9CB0-B5FFCF06D5DC}" presName="backup2" presStyleCnt="0"/>
      <dgm:spPr/>
    </dgm:pt>
    <dgm:pt modelId="{DF4DAA70-E844-4836-B0EF-4A2951B95B27}" type="pres">
      <dgm:prSet presAssocID="{3D23A4E9-7A62-4E19-9CB0-B5FFCF06D5DC}" presName="preLine2" presStyleLbl="parChTrans1D1" presStyleIdx="41" presStyleCnt="44"/>
      <dgm:spPr/>
    </dgm:pt>
    <dgm:pt modelId="{74280395-52C3-4A69-AC6E-F9CFE231D355}" type="pres">
      <dgm:prSet presAssocID="{3D23A4E9-7A62-4E19-9CB0-B5FFCF06D5DC}" presName="desTx2" presStyleLbl="revTx" presStyleIdx="0" presStyleCnt="0">
        <dgm:presLayoutVars>
          <dgm:bulletEnabled val="1"/>
        </dgm:presLayoutVars>
      </dgm:prSet>
      <dgm:spPr/>
      <dgm:t>
        <a:bodyPr/>
        <a:lstStyle/>
        <a:p>
          <a:endParaRPr lang="zh-CN" altLang="en-US"/>
        </a:p>
      </dgm:t>
    </dgm:pt>
    <dgm:pt modelId="{3C27CC67-BBA6-4427-8140-43957BF59CCD}" type="pres">
      <dgm:prSet presAssocID="{5B3D2169-2DB5-4FB3-AB43-37CA0B028B92}" presName="Name45" presStyleLbl="parChTrans1D1" presStyleIdx="42" presStyleCnt="44"/>
      <dgm:spPr/>
    </dgm:pt>
    <dgm:pt modelId="{70A8139E-C7FC-4D21-8D94-7F401ABB201F}" type="pres">
      <dgm:prSet presAssocID="{DA60C72D-C663-4381-9869-C01B925AD1EC}" presName="txAndLines2" presStyleCnt="0"/>
      <dgm:spPr/>
    </dgm:pt>
    <dgm:pt modelId="{96AD13F9-129E-4807-9F8F-821014F95F7B}" type="pres">
      <dgm:prSet presAssocID="{DA60C72D-C663-4381-9869-C01B925AD1EC}" presName="anchor2" presStyleCnt="0"/>
      <dgm:spPr/>
    </dgm:pt>
    <dgm:pt modelId="{1C7604FD-EB27-407F-93C7-DBF16B4864D7}" type="pres">
      <dgm:prSet presAssocID="{DA60C72D-C663-4381-9869-C01B925AD1EC}" presName="backup2" presStyleCnt="0"/>
      <dgm:spPr/>
    </dgm:pt>
    <dgm:pt modelId="{01B0AA41-8725-4FB1-BC0F-098493A69C2E}" type="pres">
      <dgm:prSet presAssocID="{DA60C72D-C663-4381-9869-C01B925AD1EC}" presName="preLine2" presStyleLbl="parChTrans1D1" presStyleIdx="43" presStyleCnt="44"/>
      <dgm:spPr/>
    </dgm:pt>
    <dgm:pt modelId="{2541979A-CAF5-4CA3-9DE5-DE50D097BA76}" type="pres">
      <dgm:prSet presAssocID="{DA60C72D-C663-4381-9869-C01B925AD1EC}" presName="desTx2" presStyleLbl="revTx" presStyleIdx="0" presStyleCnt="0">
        <dgm:presLayoutVars>
          <dgm:bulletEnabled val="1"/>
        </dgm:presLayoutVars>
      </dgm:prSet>
      <dgm:spPr/>
      <dgm:t>
        <a:bodyPr/>
        <a:lstStyle/>
        <a:p>
          <a:endParaRPr lang="zh-CN" altLang="en-US"/>
        </a:p>
      </dgm:t>
    </dgm:pt>
  </dgm:ptLst>
  <dgm:cxnLst>
    <dgm:cxn modelId="{E5025763-A6B1-450F-BF94-E518FD94772A}" type="presOf" srcId="{75063312-5E13-47D1-ABAD-D6F150AF3134}" destId="{16DE19D8-FFD4-41FC-B207-5A864C35E6D7}" srcOrd="0" destOrd="0" presId="urn:microsoft.com/office/officeart/2009/3/layout/SubStepProcess"/>
    <dgm:cxn modelId="{1518D0C5-35FD-45E3-BCF1-35CAB3E6B5AE}" srcId="{2EE2E263-9438-46A3-859A-7863447C8905}" destId="{B0A95868-C3B7-406C-80D1-CB90B43CC93C}" srcOrd="0" destOrd="0" parTransId="{70335E66-2F7B-4693-B7C3-11DF6197AD34}" sibTransId="{3979334D-3261-4059-B351-339C24972D78}"/>
    <dgm:cxn modelId="{35FCF519-FCC3-4ECB-819F-59ECAEC58D37}" type="presOf" srcId="{A0FA7F8C-88A7-496B-B2BA-700D5248528A}" destId="{CC544145-7D43-4AA9-AF3E-B8E3A3D712D5}" srcOrd="0" destOrd="0" presId="urn:microsoft.com/office/officeart/2009/3/layout/SubStepProcess"/>
    <dgm:cxn modelId="{96683116-B1D7-49AE-9744-E80ED517058C}" srcId="{A0FA7F8C-88A7-496B-B2BA-700D5248528A}" destId="{AB442883-2662-4517-8CF5-3EBE9BE08311}" srcOrd="1" destOrd="0" parTransId="{989C859E-592E-4887-88A2-6251376712C4}" sibTransId="{FA0E6E95-595B-4C6C-916C-482A842F8966}"/>
    <dgm:cxn modelId="{61D980BC-3D1E-4B5C-B07D-6956F412D607}" type="presOf" srcId="{2EE2E263-9438-46A3-859A-7863447C8905}" destId="{718FCB0D-D700-4934-9BEF-916F8540A749}" srcOrd="0" destOrd="0" presId="urn:microsoft.com/office/officeart/2009/3/layout/SubStepProcess"/>
    <dgm:cxn modelId="{565373B9-CAED-4F4F-A54D-840E8AC1E8C8}" srcId="{A0FA7F8C-88A7-496B-B2BA-700D5248528A}" destId="{75063312-5E13-47D1-ABAD-D6F150AF3134}" srcOrd="5" destOrd="0" parTransId="{212A831B-0EFF-4DBA-A601-52E45A0E444E}" sibTransId="{5411A90A-474A-4F34-AA68-8A094A5258FA}"/>
    <dgm:cxn modelId="{ADA37E3E-4C75-4A74-9308-F0736D200137}" srcId="{2EE2E263-9438-46A3-859A-7863447C8905}" destId="{D9DC8C44-830A-47C6-A610-292DEEDF1C62}" srcOrd="6" destOrd="0" parTransId="{F053CE63-8175-4B70-B935-999E8F8CF870}" sibTransId="{A8F70F64-7ACA-4970-8C02-226144E769A0}"/>
    <dgm:cxn modelId="{F2DA20FC-C153-4D74-A5F0-82446247A190}" srcId="{A0FA7F8C-88A7-496B-B2BA-700D5248528A}" destId="{9D33EE3E-1FDA-4A98-ABB6-E0CB6BA9589C}" srcOrd="2" destOrd="0" parTransId="{050CD7AD-B98D-4180-B57C-EF792C26315E}" sibTransId="{DF5CDD34-9020-45F2-9E9E-664815C737D8}"/>
    <dgm:cxn modelId="{CC1FE879-2F4B-420A-9A4D-1A239A00A518}" type="presOf" srcId="{8364BA85-1089-4D73-A0CB-1B14E0EC8C97}" destId="{96410DA6-9342-45D0-A991-11F640E12A35}" srcOrd="0" destOrd="0" presId="urn:microsoft.com/office/officeart/2009/3/layout/SubStepProcess"/>
    <dgm:cxn modelId="{77CD0EED-19AD-420C-A769-ADA52697C664}" srcId="{48441239-A9AC-4A17-B1D9-D544A2DF50FA}" destId="{2EE2E263-9438-46A3-859A-7863447C8905}" srcOrd="0" destOrd="0" parTransId="{625DB827-AC79-4DC0-8B8B-0F464D5C111D}" sibTransId="{541BDBFF-58B3-4802-8B4C-43A925D6CF87}"/>
    <dgm:cxn modelId="{76534AF9-4672-482D-BAE7-2553086E4782}" type="presOf" srcId="{B0A95868-C3B7-406C-80D1-CB90B43CC93C}" destId="{48D76FC9-4A8B-40B6-A6D8-3E74405C6816}" srcOrd="0" destOrd="0" presId="urn:microsoft.com/office/officeart/2009/3/layout/SubStepProcess"/>
    <dgm:cxn modelId="{A83D2104-AAA2-4EB8-A838-83DCB2A343D5}" type="presOf" srcId="{9D33EE3E-1FDA-4A98-ABB6-E0CB6BA9589C}" destId="{07818414-730B-4FB2-8608-524FADF7B3A7}" srcOrd="0" destOrd="0" presId="urn:microsoft.com/office/officeart/2009/3/layout/SubStepProcess"/>
    <dgm:cxn modelId="{4F3F684B-A0E3-42B8-A053-71D8C235916E}" type="presOf" srcId="{DA60C72D-C663-4381-9869-C01B925AD1EC}" destId="{2541979A-CAF5-4CA3-9DE5-DE50D097BA76}" srcOrd="0" destOrd="0" presId="urn:microsoft.com/office/officeart/2009/3/layout/SubStepProcess"/>
    <dgm:cxn modelId="{E9A7B901-88E0-4B29-BC91-E22C27549315}" type="presOf" srcId="{3D23A4E9-7A62-4E19-9CB0-B5FFCF06D5DC}" destId="{74280395-52C3-4A69-AC6E-F9CFE231D355}" srcOrd="0" destOrd="0" presId="urn:microsoft.com/office/officeart/2009/3/layout/SubStepProcess"/>
    <dgm:cxn modelId="{645878A0-0A34-49ED-A5DD-C6AAD04F50C2}" srcId="{48441239-A9AC-4A17-B1D9-D544A2DF50FA}" destId="{A0FA7F8C-88A7-496B-B2BA-700D5248528A}" srcOrd="1" destOrd="0" parTransId="{131EFBCF-9ED0-48D6-B272-5BCF514521BC}" sibTransId="{5063CD2D-E62E-4619-851F-AE5C2DCBA949}"/>
    <dgm:cxn modelId="{C3C3760C-18B6-439D-978C-9E2528E5CAFE}" srcId="{A0FA7F8C-88A7-496B-B2BA-700D5248528A}" destId="{F8A8B875-D4FD-4BD0-AFC1-753C37E9D132}" srcOrd="4" destOrd="0" parTransId="{83CDC77B-649A-46E5-BFE4-E406D76A3F55}" sibTransId="{CF5AE967-787B-44A6-A3D9-27CCD447D740}"/>
    <dgm:cxn modelId="{9AD39129-8540-4E98-8A98-2D2F542E5BBF}" srcId="{A0FA7F8C-88A7-496B-B2BA-700D5248528A}" destId="{5F135EB0-C5B7-49F5-A44F-0CE31B0B17C5}" srcOrd="0" destOrd="0" parTransId="{A954F4D4-9DEC-47A0-AA87-DC101EC8E44F}" sibTransId="{6091CBEC-A9F8-4EBF-BAC3-B07ABA8F38BD}"/>
    <dgm:cxn modelId="{B508C67D-6604-4C8E-AE3D-0C24E02E2117}" srcId="{2EE2E263-9438-46A3-859A-7863447C8905}" destId="{FD6B28E6-35E2-4CB6-ABBB-DBBECE808BAD}" srcOrd="3" destOrd="0" parTransId="{1ECC388B-8232-4256-BED3-C7F7CC058BC2}" sibTransId="{661B617C-4515-4507-8984-0AE5D70709EF}"/>
    <dgm:cxn modelId="{7D193661-9B54-4CBC-8C17-934B537F071B}" srcId="{A0FA7F8C-88A7-496B-B2BA-700D5248528A}" destId="{3D23A4E9-7A62-4E19-9CB0-B5FFCF06D5DC}" srcOrd="6" destOrd="0" parTransId="{91B6F97A-06ED-498C-B5BF-AC8356CE6A73}" sibTransId="{056DDAE9-3B16-4909-912A-DBB7C124D38D}"/>
    <dgm:cxn modelId="{B97AF1E0-C4FC-4F2B-B2E6-3CED6D19FDDD}" srcId="{2EE2E263-9438-46A3-859A-7863447C8905}" destId="{D52DCDE7-F6DA-4332-9E7D-C42CD59F5452}" srcOrd="5" destOrd="0" parTransId="{66EE0851-2A56-4106-9703-110AAA71B391}" sibTransId="{60BFAE1C-29B6-4E9A-AD26-13060C826870}"/>
    <dgm:cxn modelId="{01BC8074-3ED4-4ED9-80CF-A1E8BA6CB8C9}" type="presOf" srcId="{48441239-A9AC-4A17-B1D9-D544A2DF50FA}" destId="{8EBA1B9F-4BD7-4330-AC05-DE4AABF676BB}" srcOrd="0" destOrd="0" presId="urn:microsoft.com/office/officeart/2009/3/layout/SubStepProcess"/>
    <dgm:cxn modelId="{9F0DCD93-0159-4266-8CE0-D683694CE18C}" srcId="{2EE2E263-9438-46A3-859A-7863447C8905}" destId="{B3146682-6172-439C-A0FD-BD6623AA8524}" srcOrd="4" destOrd="0" parTransId="{8C72B178-2870-4363-8023-5F0776BC7BC5}" sibTransId="{168DE46C-0817-4058-B4D5-3A623A9EDA38}"/>
    <dgm:cxn modelId="{8F387362-DF34-47FB-96DF-FFE6ACD8E115}" type="presOf" srcId="{D9DC8C44-830A-47C6-A610-292DEEDF1C62}" destId="{074F6A6E-8681-4DE0-BE79-2397C234D6DA}" srcOrd="0" destOrd="0" presId="urn:microsoft.com/office/officeart/2009/3/layout/SubStepProcess"/>
    <dgm:cxn modelId="{FEFD681B-D3A5-4E1D-99D3-538DBE6FEF03}" type="presOf" srcId="{FD6B28E6-35E2-4CB6-ABBB-DBBECE808BAD}" destId="{71B3F7F3-93C6-4167-A5BF-E9FB60AE8FD1}" srcOrd="0" destOrd="0" presId="urn:microsoft.com/office/officeart/2009/3/layout/SubStepProcess"/>
    <dgm:cxn modelId="{FF094919-99FE-4DBD-B14E-263D45EA6AB3}" type="presOf" srcId="{D52DCDE7-F6DA-4332-9E7D-C42CD59F5452}" destId="{1C944D71-7337-4E49-A229-C97D5FC920C6}" srcOrd="0" destOrd="0" presId="urn:microsoft.com/office/officeart/2009/3/layout/SubStepProcess"/>
    <dgm:cxn modelId="{AC5ECA88-A087-4D22-BB31-BF4C3E86C1A7}" type="presOf" srcId="{AB442883-2662-4517-8CF5-3EBE9BE08311}" destId="{C1920E0D-8654-473D-8063-EF645BD89481}" srcOrd="0" destOrd="0" presId="urn:microsoft.com/office/officeart/2009/3/layout/SubStepProcess"/>
    <dgm:cxn modelId="{415AC1B0-0283-417D-BDE4-60D4839F3F85}" type="presOf" srcId="{F8A8B875-D4FD-4BD0-AFC1-753C37E9D132}" destId="{6A4D20FE-125B-4EA6-9DFC-00B0273CA6DE}" srcOrd="0" destOrd="0" presId="urn:microsoft.com/office/officeart/2009/3/layout/SubStepProcess"/>
    <dgm:cxn modelId="{A3639D38-BD0E-4E75-8C5A-FD32AEF97BB3}" srcId="{2EE2E263-9438-46A3-859A-7863447C8905}" destId="{9AA574CB-8BD6-4B60-9457-7F32A38BC259}" srcOrd="2" destOrd="0" parTransId="{3D6FB2E1-2607-406D-8CE4-3F72C4E2BA7C}" sibTransId="{4A652E1D-2EE7-4BC2-8CB9-E0474E09EDEF}"/>
    <dgm:cxn modelId="{A758C116-0355-44C4-BB45-CB14E52C5924}" srcId="{A0FA7F8C-88A7-496B-B2BA-700D5248528A}" destId="{8364BA85-1089-4D73-A0CB-1B14E0EC8C97}" srcOrd="3" destOrd="0" parTransId="{B3131A86-13B5-482A-8CD7-495463176F8C}" sibTransId="{98BBDE26-606B-4093-9AE9-45937547B981}"/>
    <dgm:cxn modelId="{AB96ED2E-C653-481A-BB87-5767BC09DA51}" type="presOf" srcId="{5F135EB0-C5B7-49F5-A44F-0CE31B0B17C5}" destId="{6C0E343C-59EF-4BB6-82FF-F0791753A465}" srcOrd="0" destOrd="0" presId="urn:microsoft.com/office/officeart/2009/3/layout/SubStepProcess"/>
    <dgm:cxn modelId="{181B0BA8-4788-40FF-99C6-1B5DB9E12DBE}" type="presOf" srcId="{0919E080-317F-4113-A6AA-A322A622ABD2}" destId="{EC1BAD51-CB35-4510-B24F-A499FA34D92E}" srcOrd="0" destOrd="0" presId="urn:microsoft.com/office/officeart/2009/3/layout/SubStepProcess"/>
    <dgm:cxn modelId="{186B35C5-0808-4628-B575-D1E8D8089BDE}" srcId="{2EE2E263-9438-46A3-859A-7863447C8905}" destId="{0919E080-317F-4113-A6AA-A322A622ABD2}" srcOrd="1" destOrd="0" parTransId="{66AF1F25-BB65-4EDF-9713-450D15FBB5BE}" sibTransId="{CB9870FE-E301-41D6-867E-CA669164C2E8}"/>
    <dgm:cxn modelId="{5ED2EF9D-799A-4C3F-85ED-3AE6A41AD720}" srcId="{A0FA7F8C-88A7-496B-B2BA-700D5248528A}" destId="{DA60C72D-C663-4381-9869-C01B925AD1EC}" srcOrd="7" destOrd="0" parTransId="{5B3D2169-2DB5-4FB3-AB43-37CA0B028B92}" sibTransId="{2DBCBC7D-C46B-4503-8D4C-DF32962B1ED9}"/>
    <dgm:cxn modelId="{39EEFD7C-E3F7-423C-90DB-6FF42301D4F5}" type="presOf" srcId="{B3146682-6172-439C-A0FD-BD6623AA8524}" destId="{34FA173B-516B-4679-A782-5B3F25BE47C1}" srcOrd="0" destOrd="0" presId="urn:microsoft.com/office/officeart/2009/3/layout/SubStepProcess"/>
    <dgm:cxn modelId="{1804B41A-942F-413C-94C7-B6DEB226CD9D}" type="presOf" srcId="{9AA574CB-8BD6-4B60-9457-7F32A38BC259}" destId="{AEB3BC1D-D79F-4985-A788-B53F0A84D9BF}" srcOrd="0" destOrd="0" presId="urn:microsoft.com/office/officeart/2009/3/layout/SubStepProcess"/>
    <dgm:cxn modelId="{B45A2F1E-2DAF-4D29-9AF7-2A27EC869C86}" type="presParOf" srcId="{8EBA1B9F-4BD7-4330-AC05-DE4AABF676BB}" destId="{718FCB0D-D700-4934-9BEF-916F8540A749}" srcOrd="0" destOrd="0" presId="urn:microsoft.com/office/officeart/2009/3/layout/SubStepProcess"/>
    <dgm:cxn modelId="{E9626293-D913-4B25-BD6D-0C36B7F96E37}" type="presParOf" srcId="{8EBA1B9F-4BD7-4330-AC05-DE4AABF676BB}" destId="{E6CB0C21-5CD7-4E3C-BCCD-7134FEA39152}" srcOrd="1" destOrd="0" presId="urn:microsoft.com/office/officeart/2009/3/layout/SubStepProcess"/>
    <dgm:cxn modelId="{7F50DAA6-105E-4328-97F6-6F06B3D3CEE9}" type="presParOf" srcId="{8EBA1B9F-4BD7-4330-AC05-DE4AABF676BB}" destId="{E049128D-DA5F-4403-966E-1222F7C07202}" srcOrd="2" destOrd="0" presId="urn:microsoft.com/office/officeart/2009/3/layout/SubStepProcess"/>
    <dgm:cxn modelId="{B0BAA48A-2C4D-4040-A449-00CA039B94AE}" type="presParOf" srcId="{E049128D-DA5F-4403-966E-1222F7C07202}" destId="{A51A7ABC-08A7-4071-BD2B-DE97ED639B38}" srcOrd="0" destOrd="0" presId="urn:microsoft.com/office/officeart/2009/3/layout/SubStepProcess"/>
    <dgm:cxn modelId="{F206995C-BE18-4AE7-B5B0-87F52817FF0E}" type="presParOf" srcId="{E049128D-DA5F-4403-966E-1222F7C07202}" destId="{ECECCA9D-6509-4B2C-9189-33C7B7D36A15}" srcOrd="1" destOrd="0" presId="urn:microsoft.com/office/officeart/2009/3/layout/SubStepProcess"/>
    <dgm:cxn modelId="{6F7F4B52-2DA0-45E4-A432-F29CF3191D0F}" type="presParOf" srcId="{E049128D-DA5F-4403-966E-1222F7C07202}" destId="{7651A336-B3E2-477B-A92D-5142373C6E84}" srcOrd="2" destOrd="0" presId="urn:microsoft.com/office/officeart/2009/3/layout/SubStepProcess"/>
    <dgm:cxn modelId="{05669C35-885C-4E55-941B-482040906E7F}" type="presParOf" srcId="{7651A336-B3E2-477B-A92D-5142373C6E84}" destId="{158D2257-914C-447A-A1CB-EE04BC52DDE3}" srcOrd="0" destOrd="0" presId="urn:microsoft.com/office/officeart/2009/3/layout/SubStepProcess"/>
    <dgm:cxn modelId="{49CA79D2-81FD-4605-9AAC-F65AC563CC2E}" type="presParOf" srcId="{7651A336-B3E2-477B-A92D-5142373C6E84}" destId="{AAFF51A9-FB99-45C1-8637-800BB739C3EE}" srcOrd="1" destOrd="0" presId="urn:microsoft.com/office/officeart/2009/3/layout/SubStepProcess"/>
    <dgm:cxn modelId="{1FAFE907-A66F-44E8-8D11-646842DD1435}" type="presParOf" srcId="{7651A336-B3E2-477B-A92D-5142373C6E84}" destId="{81034D6E-DDC2-4591-95E6-49D22F00C91F}" srcOrd="2" destOrd="0" presId="urn:microsoft.com/office/officeart/2009/3/layout/SubStepProcess"/>
    <dgm:cxn modelId="{97DB7B0D-7F38-400F-A9BC-8030A2061FCF}" type="presParOf" srcId="{7651A336-B3E2-477B-A92D-5142373C6E84}" destId="{48D76FC9-4A8B-40B6-A6D8-3E74405C6816}" srcOrd="3" destOrd="0" presId="urn:microsoft.com/office/officeart/2009/3/layout/SubStepProcess"/>
    <dgm:cxn modelId="{4C7A6BC7-01CC-4257-A930-22CDA0243936}" type="presParOf" srcId="{7651A336-B3E2-477B-A92D-5142373C6E84}" destId="{F364A555-1DFB-4D71-B8FE-087D3007F668}" srcOrd="4" destOrd="0" presId="urn:microsoft.com/office/officeart/2009/3/layout/SubStepProcess"/>
    <dgm:cxn modelId="{69716F4F-7A51-49FC-A446-BA105B5056B2}" type="presParOf" srcId="{E049128D-DA5F-4403-966E-1222F7C07202}" destId="{E925931E-B973-4BF2-AB30-A76A7DE6F012}" srcOrd="3" destOrd="0" presId="urn:microsoft.com/office/officeart/2009/3/layout/SubStepProcess"/>
    <dgm:cxn modelId="{10420503-274D-460B-A16D-74B1306278C4}" type="presParOf" srcId="{E049128D-DA5F-4403-966E-1222F7C07202}" destId="{7967136D-7DFE-4D09-8BA5-BBCD77A00CC0}" srcOrd="4" destOrd="0" presId="urn:microsoft.com/office/officeart/2009/3/layout/SubStepProcess"/>
    <dgm:cxn modelId="{591018BA-79DD-49EB-A88E-25FD516D91EC}" type="presParOf" srcId="{E049128D-DA5F-4403-966E-1222F7C07202}" destId="{54DD81CF-A4A9-456B-AF1F-B544D8CE0E80}" srcOrd="5" destOrd="0" presId="urn:microsoft.com/office/officeart/2009/3/layout/SubStepProcess"/>
    <dgm:cxn modelId="{F3BE907C-3F46-4B24-B369-8B5F3D0F89E6}" type="presParOf" srcId="{54DD81CF-A4A9-456B-AF1F-B544D8CE0E80}" destId="{E5CEA1D5-71D6-446B-96A3-BDCE2BBEDE09}" srcOrd="0" destOrd="0" presId="urn:microsoft.com/office/officeart/2009/3/layout/SubStepProcess"/>
    <dgm:cxn modelId="{07825F07-7494-4161-B0CE-87CD6E56B8BC}" type="presParOf" srcId="{54DD81CF-A4A9-456B-AF1F-B544D8CE0E80}" destId="{FC68663C-350C-49F2-84EA-7D298783D963}" srcOrd="1" destOrd="0" presId="urn:microsoft.com/office/officeart/2009/3/layout/SubStepProcess"/>
    <dgm:cxn modelId="{08E2C43B-18D7-4C00-8CD5-B8F7CD8D3334}" type="presParOf" srcId="{54DD81CF-A4A9-456B-AF1F-B544D8CE0E80}" destId="{3DD5561D-C8E8-4337-A83E-B341C633F8E0}" srcOrd="2" destOrd="0" presId="urn:microsoft.com/office/officeart/2009/3/layout/SubStepProcess"/>
    <dgm:cxn modelId="{23EEF7F2-030C-4344-B5E8-F7AEA1E9160D}" type="presParOf" srcId="{54DD81CF-A4A9-456B-AF1F-B544D8CE0E80}" destId="{EC1BAD51-CB35-4510-B24F-A499FA34D92E}" srcOrd="3" destOrd="0" presId="urn:microsoft.com/office/officeart/2009/3/layout/SubStepProcess"/>
    <dgm:cxn modelId="{B9298140-2791-4D86-A857-8481C40272CF}" type="presParOf" srcId="{54DD81CF-A4A9-456B-AF1F-B544D8CE0E80}" destId="{435F4CDF-4B91-4242-8847-766BB7355F2A}" srcOrd="4" destOrd="0" presId="urn:microsoft.com/office/officeart/2009/3/layout/SubStepProcess"/>
    <dgm:cxn modelId="{721B1AE1-F256-446E-9A2F-92C7B20839FA}" type="presParOf" srcId="{E049128D-DA5F-4403-966E-1222F7C07202}" destId="{2162A935-4E40-448F-B09C-3B0A31309EC5}" srcOrd="6" destOrd="0" presId="urn:microsoft.com/office/officeart/2009/3/layout/SubStepProcess"/>
    <dgm:cxn modelId="{682C4E9A-168F-4353-A260-2B1103ABF1F6}" type="presParOf" srcId="{E049128D-DA5F-4403-966E-1222F7C07202}" destId="{08378266-6BDD-4FD2-82F9-C2C348C88FEE}" srcOrd="7" destOrd="0" presId="urn:microsoft.com/office/officeart/2009/3/layout/SubStepProcess"/>
    <dgm:cxn modelId="{C88AD80E-67BD-465A-9FAD-15F9D4E47A00}" type="presParOf" srcId="{E049128D-DA5F-4403-966E-1222F7C07202}" destId="{6D7C37CC-C54A-4218-8350-B4C999CCB50D}" srcOrd="8" destOrd="0" presId="urn:microsoft.com/office/officeart/2009/3/layout/SubStepProcess"/>
    <dgm:cxn modelId="{1765C72A-3EAB-4C7E-B721-E2BDEE354890}" type="presParOf" srcId="{6D7C37CC-C54A-4218-8350-B4C999CCB50D}" destId="{D861AAF4-2719-40BB-A55B-7E43B17EECC2}" srcOrd="0" destOrd="0" presId="urn:microsoft.com/office/officeart/2009/3/layout/SubStepProcess"/>
    <dgm:cxn modelId="{B9052DD5-A0E9-4707-9874-7D61D5117FF3}" type="presParOf" srcId="{6D7C37CC-C54A-4218-8350-B4C999CCB50D}" destId="{6DFD9490-F5DF-454E-A201-9D5DF5A33A2D}" srcOrd="1" destOrd="0" presId="urn:microsoft.com/office/officeart/2009/3/layout/SubStepProcess"/>
    <dgm:cxn modelId="{980D1D0B-1D22-43B9-9C9C-731E011F09E1}" type="presParOf" srcId="{6D7C37CC-C54A-4218-8350-B4C999CCB50D}" destId="{6202FC86-8E5F-4E93-9783-8C245467D7D8}" srcOrd="2" destOrd="0" presId="urn:microsoft.com/office/officeart/2009/3/layout/SubStepProcess"/>
    <dgm:cxn modelId="{1D0879D9-19BD-4CA1-B19D-03930C3F667B}" type="presParOf" srcId="{6D7C37CC-C54A-4218-8350-B4C999CCB50D}" destId="{AEB3BC1D-D79F-4985-A788-B53F0A84D9BF}" srcOrd="3" destOrd="0" presId="urn:microsoft.com/office/officeart/2009/3/layout/SubStepProcess"/>
    <dgm:cxn modelId="{F87336E1-D205-4C0D-9252-167F925342ED}" type="presParOf" srcId="{6D7C37CC-C54A-4218-8350-B4C999CCB50D}" destId="{97737B40-F96F-4D7F-98E9-E691A455E7AC}" srcOrd="4" destOrd="0" presId="urn:microsoft.com/office/officeart/2009/3/layout/SubStepProcess"/>
    <dgm:cxn modelId="{565B6E0A-9F65-4B86-B46E-44234FB51410}" type="presParOf" srcId="{E049128D-DA5F-4403-966E-1222F7C07202}" destId="{AFA45A0C-EA29-4ABB-BF49-5831EBCC5B7D}" srcOrd="9" destOrd="0" presId="urn:microsoft.com/office/officeart/2009/3/layout/SubStepProcess"/>
    <dgm:cxn modelId="{E48E9807-5175-4875-AEB5-B27FC444441B}" type="presParOf" srcId="{E049128D-DA5F-4403-966E-1222F7C07202}" destId="{3912D361-63AB-4F26-982D-D3BDAB42F9E3}" srcOrd="10" destOrd="0" presId="urn:microsoft.com/office/officeart/2009/3/layout/SubStepProcess"/>
    <dgm:cxn modelId="{5015FAE1-7C7E-4D39-BB3F-CDBD4A55C48C}" type="presParOf" srcId="{E049128D-DA5F-4403-966E-1222F7C07202}" destId="{71A3EBD6-20E1-4760-81E7-C7E527A32D27}" srcOrd="11" destOrd="0" presId="urn:microsoft.com/office/officeart/2009/3/layout/SubStepProcess"/>
    <dgm:cxn modelId="{FAF3DA16-C282-4FA5-9FF0-F29503D2765F}" type="presParOf" srcId="{71A3EBD6-20E1-4760-81E7-C7E527A32D27}" destId="{751F95A2-1B2F-454D-BE8B-8BCAB68FD45A}" srcOrd="0" destOrd="0" presId="urn:microsoft.com/office/officeart/2009/3/layout/SubStepProcess"/>
    <dgm:cxn modelId="{57F9BF50-F02B-4A47-8B7F-4180FC8BE7BB}" type="presParOf" srcId="{71A3EBD6-20E1-4760-81E7-C7E527A32D27}" destId="{C395C025-1394-4C29-A781-B48F429667FF}" srcOrd="1" destOrd="0" presId="urn:microsoft.com/office/officeart/2009/3/layout/SubStepProcess"/>
    <dgm:cxn modelId="{C5C0C95E-E2AD-40B5-9D6C-92204886447B}" type="presParOf" srcId="{71A3EBD6-20E1-4760-81E7-C7E527A32D27}" destId="{8D25E663-CB94-4B4E-B93E-8698F1D93126}" srcOrd="2" destOrd="0" presId="urn:microsoft.com/office/officeart/2009/3/layout/SubStepProcess"/>
    <dgm:cxn modelId="{2DB48BD6-5844-4420-8A6C-134C10C78CE0}" type="presParOf" srcId="{71A3EBD6-20E1-4760-81E7-C7E527A32D27}" destId="{71B3F7F3-93C6-4167-A5BF-E9FB60AE8FD1}" srcOrd="3" destOrd="0" presId="urn:microsoft.com/office/officeart/2009/3/layout/SubStepProcess"/>
    <dgm:cxn modelId="{016505E1-E092-4296-AE7B-AC05BF3553B3}" type="presParOf" srcId="{71A3EBD6-20E1-4760-81E7-C7E527A32D27}" destId="{32911B3C-36BB-4AC3-8A04-3AB024253A6F}" srcOrd="4" destOrd="0" presId="urn:microsoft.com/office/officeart/2009/3/layout/SubStepProcess"/>
    <dgm:cxn modelId="{8D1C15D5-1CF4-4F29-A117-CFE2739D910E}" type="presParOf" srcId="{E049128D-DA5F-4403-966E-1222F7C07202}" destId="{0244E6AF-D008-42E6-860C-62F7E47763D3}" srcOrd="12" destOrd="0" presId="urn:microsoft.com/office/officeart/2009/3/layout/SubStepProcess"/>
    <dgm:cxn modelId="{6F8CD71F-DA76-48A7-B889-588946148077}" type="presParOf" srcId="{E049128D-DA5F-4403-966E-1222F7C07202}" destId="{AA1042D6-86EB-4076-8BE0-F186F2849E43}" srcOrd="13" destOrd="0" presId="urn:microsoft.com/office/officeart/2009/3/layout/SubStepProcess"/>
    <dgm:cxn modelId="{4E9C8B5A-C4B2-4BA5-A91D-E1474D2F10BC}" type="presParOf" srcId="{E049128D-DA5F-4403-966E-1222F7C07202}" destId="{3FDB0BED-7CB6-41BD-8DD4-03677F3B63E1}" srcOrd="14" destOrd="0" presId="urn:microsoft.com/office/officeart/2009/3/layout/SubStepProcess"/>
    <dgm:cxn modelId="{B63E4715-9C5B-41B6-A81C-BA531BB83C35}" type="presParOf" srcId="{3FDB0BED-7CB6-41BD-8DD4-03677F3B63E1}" destId="{42CE3A38-A19C-4CD9-9589-39C9779FAA48}" srcOrd="0" destOrd="0" presId="urn:microsoft.com/office/officeart/2009/3/layout/SubStepProcess"/>
    <dgm:cxn modelId="{5880996D-6C98-4EA4-AD25-2F5F6430F08D}" type="presParOf" srcId="{3FDB0BED-7CB6-41BD-8DD4-03677F3B63E1}" destId="{70B684D4-AA5F-4AFB-B341-6E2B9C84691C}" srcOrd="1" destOrd="0" presId="urn:microsoft.com/office/officeart/2009/3/layout/SubStepProcess"/>
    <dgm:cxn modelId="{753A030A-CB80-4EA1-BF2A-C0992ECBBB74}" type="presParOf" srcId="{3FDB0BED-7CB6-41BD-8DD4-03677F3B63E1}" destId="{47CAEC75-78E8-447A-A87C-9F105C9E55CC}" srcOrd="2" destOrd="0" presId="urn:microsoft.com/office/officeart/2009/3/layout/SubStepProcess"/>
    <dgm:cxn modelId="{0BABE14C-9B73-4E1F-9A01-44582E7C5B19}" type="presParOf" srcId="{3FDB0BED-7CB6-41BD-8DD4-03677F3B63E1}" destId="{34FA173B-516B-4679-A782-5B3F25BE47C1}" srcOrd="3" destOrd="0" presId="urn:microsoft.com/office/officeart/2009/3/layout/SubStepProcess"/>
    <dgm:cxn modelId="{102BA890-D24B-40F4-96B6-1C6D21EE864B}" type="presParOf" srcId="{3FDB0BED-7CB6-41BD-8DD4-03677F3B63E1}" destId="{F2AD019C-F5BD-470F-8BA5-C718E620919D}" srcOrd="4" destOrd="0" presId="urn:microsoft.com/office/officeart/2009/3/layout/SubStepProcess"/>
    <dgm:cxn modelId="{951C800F-89D1-4287-B517-1E841572B58D}" type="presParOf" srcId="{E049128D-DA5F-4403-966E-1222F7C07202}" destId="{74BE21EE-4C75-49F2-AF99-2373E1D137A9}" srcOrd="15" destOrd="0" presId="urn:microsoft.com/office/officeart/2009/3/layout/SubStepProcess"/>
    <dgm:cxn modelId="{4FDB186B-41A4-4E25-AA01-384AA3A93FB3}" type="presParOf" srcId="{E049128D-DA5F-4403-966E-1222F7C07202}" destId="{A674A087-E60C-4BA7-8690-3A661EC83A3E}" srcOrd="16" destOrd="0" presId="urn:microsoft.com/office/officeart/2009/3/layout/SubStepProcess"/>
    <dgm:cxn modelId="{76EADC05-9C25-4557-9D1A-84617745A1B8}" type="presParOf" srcId="{E049128D-DA5F-4403-966E-1222F7C07202}" destId="{3B422E3A-6B67-4172-B71B-42FD5627CED5}" srcOrd="17" destOrd="0" presId="urn:microsoft.com/office/officeart/2009/3/layout/SubStepProcess"/>
    <dgm:cxn modelId="{2286C885-E720-4B4B-94C8-BC43A7194A37}" type="presParOf" srcId="{3B422E3A-6B67-4172-B71B-42FD5627CED5}" destId="{39CEAC4C-86D7-4C50-AB5B-250755EA8012}" srcOrd="0" destOrd="0" presId="urn:microsoft.com/office/officeart/2009/3/layout/SubStepProcess"/>
    <dgm:cxn modelId="{354F0DCF-3DB6-4E8A-B933-338376C80DF4}" type="presParOf" srcId="{3B422E3A-6B67-4172-B71B-42FD5627CED5}" destId="{6B70A754-82DF-4A5E-963E-3FE7C24BD483}" srcOrd="1" destOrd="0" presId="urn:microsoft.com/office/officeart/2009/3/layout/SubStepProcess"/>
    <dgm:cxn modelId="{C96FB4AD-FF25-4B30-BDC0-D384246932A2}" type="presParOf" srcId="{3B422E3A-6B67-4172-B71B-42FD5627CED5}" destId="{785C2894-9A5C-425E-B11E-2027CA50C04E}" srcOrd="2" destOrd="0" presId="urn:microsoft.com/office/officeart/2009/3/layout/SubStepProcess"/>
    <dgm:cxn modelId="{1A6B22E8-1583-4B3D-B676-096C4ABC2DBD}" type="presParOf" srcId="{3B422E3A-6B67-4172-B71B-42FD5627CED5}" destId="{1C944D71-7337-4E49-A229-C97D5FC920C6}" srcOrd="3" destOrd="0" presId="urn:microsoft.com/office/officeart/2009/3/layout/SubStepProcess"/>
    <dgm:cxn modelId="{B48498A6-9C6C-4BAD-9E5E-38232CDF7A67}" type="presParOf" srcId="{3B422E3A-6B67-4172-B71B-42FD5627CED5}" destId="{52BA79E2-728D-4DAD-9042-8B0B660736A2}" srcOrd="4" destOrd="0" presId="urn:microsoft.com/office/officeart/2009/3/layout/SubStepProcess"/>
    <dgm:cxn modelId="{BF13B0DC-333A-42CD-B0DC-3FD88F2C6342}" type="presParOf" srcId="{E049128D-DA5F-4403-966E-1222F7C07202}" destId="{5A6D78DA-2CB6-4D8F-AD2C-E842B5A56433}" srcOrd="18" destOrd="0" presId="urn:microsoft.com/office/officeart/2009/3/layout/SubStepProcess"/>
    <dgm:cxn modelId="{5F4FD100-A89A-437C-A941-B41BD089BDA9}" type="presParOf" srcId="{E049128D-DA5F-4403-966E-1222F7C07202}" destId="{35473FE9-5050-4940-BB82-17A6D628DE0F}" srcOrd="19" destOrd="0" presId="urn:microsoft.com/office/officeart/2009/3/layout/SubStepProcess"/>
    <dgm:cxn modelId="{BDC30559-E180-4F22-A953-4C1F1CF471FF}" type="presParOf" srcId="{E049128D-DA5F-4403-966E-1222F7C07202}" destId="{010096BB-B479-4F6B-A993-CC69DFE4815F}" srcOrd="20" destOrd="0" presId="urn:microsoft.com/office/officeart/2009/3/layout/SubStepProcess"/>
    <dgm:cxn modelId="{C29FBDE4-F47A-4185-A43A-21A47FF81A15}" type="presParOf" srcId="{010096BB-B479-4F6B-A993-CC69DFE4815F}" destId="{0BA860C2-AEAD-48FB-B9B6-97EFA1A76E8A}" srcOrd="0" destOrd="0" presId="urn:microsoft.com/office/officeart/2009/3/layout/SubStepProcess"/>
    <dgm:cxn modelId="{F13C7A6A-1137-45D9-8AF6-D584C1F13685}" type="presParOf" srcId="{010096BB-B479-4F6B-A993-CC69DFE4815F}" destId="{9CD0AA9B-7AF0-437D-9C7A-420C98126418}" srcOrd="1" destOrd="0" presId="urn:microsoft.com/office/officeart/2009/3/layout/SubStepProcess"/>
    <dgm:cxn modelId="{990445B2-82E2-4AAE-A713-D1B45141E7F6}" type="presParOf" srcId="{010096BB-B479-4F6B-A993-CC69DFE4815F}" destId="{46CA5B4D-29B6-4F14-ADE6-E60D6521540B}" srcOrd="2" destOrd="0" presId="urn:microsoft.com/office/officeart/2009/3/layout/SubStepProcess"/>
    <dgm:cxn modelId="{D9FF9000-9868-45B6-A2F7-458E8C7C93BB}" type="presParOf" srcId="{010096BB-B479-4F6B-A993-CC69DFE4815F}" destId="{074F6A6E-8681-4DE0-BE79-2397C234D6DA}" srcOrd="3" destOrd="0" presId="urn:microsoft.com/office/officeart/2009/3/layout/SubStepProcess"/>
    <dgm:cxn modelId="{DEC4E033-ABCE-40D7-8DE7-513641E68332}" type="presParOf" srcId="{010096BB-B479-4F6B-A993-CC69DFE4815F}" destId="{7BEB28DF-72C2-4FEC-BE6E-56DF9CFD74AE}" srcOrd="4" destOrd="0" presId="urn:microsoft.com/office/officeart/2009/3/layout/SubStepProcess"/>
    <dgm:cxn modelId="{E940E668-7696-4E27-B608-E38D46EE9ED9}" type="presParOf" srcId="{8EBA1B9F-4BD7-4330-AC05-DE4AABF676BB}" destId="{FA0AD4C2-6CE5-4167-8519-4CFA5B220C05}" srcOrd="3" destOrd="0" presId="urn:microsoft.com/office/officeart/2009/3/layout/SubStepProcess"/>
    <dgm:cxn modelId="{66BEDC37-2159-44D4-97C0-2525CA9727FD}" type="presParOf" srcId="{8EBA1B9F-4BD7-4330-AC05-DE4AABF676BB}" destId="{CC544145-7D43-4AA9-AF3E-B8E3A3D712D5}" srcOrd="4" destOrd="0" presId="urn:microsoft.com/office/officeart/2009/3/layout/SubStepProcess"/>
    <dgm:cxn modelId="{10ADA511-F465-496E-A423-008BB10623F1}" type="presParOf" srcId="{8EBA1B9F-4BD7-4330-AC05-DE4AABF676BB}" destId="{D0CED6BC-34D0-4F7E-900E-EA675F481823}" srcOrd="5" destOrd="0" presId="urn:microsoft.com/office/officeart/2009/3/layout/SubStepProcess"/>
    <dgm:cxn modelId="{A8A11BC2-A1EB-4F0C-A142-B00B6792AD8F}" type="presParOf" srcId="{8EBA1B9F-4BD7-4330-AC05-DE4AABF676BB}" destId="{B45FAE89-01B8-4369-B126-CB985ED0FB64}" srcOrd="6" destOrd="0" presId="urn:microsoft.com/office/officeart/2009/3/layout/SubStepProcess"/>
    <dgm:cxn modelId="{A0FD727E-FE53-4AA4-8486-D4CA728EC52D}" type="presParOf" srcId="{B45FAE89-01B8-4369-B126-CB985ED0FB64}" destId="{DA184080-38EE-46C5-A87C-ABF072AF4FD6}" srcOrd="0" destOrd="0" presId="urn:microsoft.com/office/officeart/2009/3/layout/SubStepProcess"/>
    <dgm:cxn modelId="{04C41008-AF03-4A3F-B602-1D811214E91D}" type="presParOf" srcId="{B45FAE89-01B8-4369-B126-CB985ED0FB64}" destId="{6B10AD76-5F9A-43A0-93BC-394081E16246}" srcOrd="1" destOrd="0" presId="urn:microsoft.com/office/officeart/2009/3/layout/SubStepProcess"/>
    <dgm:cxn modelId="{DE46C3A1-DEF0-44A8-BDA3-C9E11A7DBCAC}" type="presParOf" srcId="{6B10AD76-5F9A-43A0-93BC-394081E16246}" destId="{D6164B29-765D-4B57-8A98-3744BE6DC1BA}" srcOrd="0" destOrd="0" presId="urn:microsoft.com/office/officeart/2009/3/layout/SubStepProcess"/>
    <dgm:cxn modelId="{CEC4B482-B6C8-4B7C-B62F-ABDADDC1DC5F}" type="presParOf" srcId="{6B10AD76-5F9A-43A0-93BC-394081E16246}" destId="{1C37AB59-2D98-4B6A-9B24-AAD15C0E64C7}" srcOrd="1" destOrd="0" presId="urn:microsoft.com/office/officeart/2009/3/layout/SubStepProcess"/>
    <dgm:cxn modelId="{F2E2BC04-4B9E-4094-8826-7A4992096B02}" type="presParOf" srcId="{6B10AD76-5F9A-43A0-93BC-394081E16246}" destId="{468DE467-CC9E-4FF7-B24F-8310795B7828}" srcOrd="2" destOrd="0" presId="urn:microsoft.com/office/officeart/2009/3/layout/SubStepProcess"/>
    <dgm:cxn modelId="{AACF18FD-DC88-453A-BA93-7EFC54367013}" type="presParOf" srcId="{6B10AD76-5F9A-43A0-93BC-394081E16246}" destId="{6C0E343C-59EF-4BB6-82FF-F0791753A465}" srcOrd="3" destOrd="0" presId="urn:microsoft.com/office/officeart/2009/3/layout/SubStepProcess"/>
    <dgm:cxn modelId="{F6272CE0-F41F-41CB-A772-4C5165B9A649}" type="presParOf" srcId="{B45FAE89-01B8-4369-B126-CB985ED0FB64}" destId="{0A882162-8C0D-4E5E-842E-BC7C21D8679E}" srcOrd="2" destOrd="0" presId="urn:microsoft.com/office/officeart/2009/3/layout/SubStepProcess"/>
    <dgm:cxn modelId="{9DD9E6DC-C51D-4153-A0AE-28A5B97C7314}" type="presParOf" srcId="{B45FAE89-01B8-4369-B126-CB985ED0FB64}" destId="{95873385-BB73-4285-AA4B-DE34524E4A47}" srcOrd="3" destOrd="0" presId="urn:microsoft.com/office/officeart/2009/3/layout/SubStepProcess"/>
    <dgm:cxn modelId="{ECD904E0-521F-4C7E-97EC-A308560D2C17}" type="presParOf" srcId="{95873385-BB73-4285-AA4B-DE34524E4A47}" destId="{6F37DB20-B27B-4967-AE8A-EFC787E8974B}" srcOrd="0" destOrd="0" presId="urn:microsoft.com/office/officeart/2009/3/layout/SubStepProcess"/>
    <dgm:cxn modelId="{7C64BEBB-3A5F-49F1-8D22-58CF5CE23FF9}" type="presParOf" srcId="{95873385-BB73-4285-AA4B-DE34524E4A47}" destId="{8C172731-98E1-4A35-B9F2-2875C020ABA8}" srcOrd="1" destOrd="0" presId="urn:microsoft.com/office/officeart/2009/3/layout/SubStepProcess"/>
    <dgm:cxn modelId="{1E71BC64-749F-4ABB-882C-C432D7E48A61}" type="presParOf" srcId="{95873385-BB73-4285-AA4B-DE34524E4A47}" destId="{33E77BE9-F47A-45C5-8109-A0A9147334F4}" srcOrd="2" destOrd="0" presId="urn:microsoft.com/office/officeart/2009/3/layout/SubStepProcess"/>
    <dgm:cxn modelId="{AF5295B2-EED1-43AF-A35B-D88E2277ED5A}" type="presParOf" srcId="{95873385-BB73-4285-AA4B-DE34524E4A47}" destId="{C1920E0D-8654-473D-8063-EF645BD89481}" srcOrd="3" destOrd="0" presId="urn:microsoft.com/office/officeart/2009/3/layout/SubStepProcess"/>
    <dgm:cxn modelId="{6EE78AE9-C333-4AD7-BF1F-11B1FB16DDD5}" type="presParOf" srcId="{B45FAE89-01B8-4369-B126-CB985ED0FB64}" destId="{D1901D3B-CC46-44F4-A343-9D77E9AE6ABD}" srcOrd="4" destOrd="0" presId="urn:microsoft.com/office/officeart/2009/3/layout/SubStepProcess"/>
    <dgm:cxn modelId="{382C56A4-D4B1-4BC0-B002-0E3925A0C53E}" type="presParOf" srcId="{B45FAE89-01B8-4369-B126-CB985ED0FB64}" destId="{D00DD33A-AC5B-43E7-901B-918A5981B5C1}" srcOrd="5" destOrd="0" presId="urn:microsoft.com/office/officeart/2009/3/layout/SubStepProcess"/>
    <dgm:cxn modelId="{C3680DEB-7664-4C8E-ABAF-5925BED14022}" type="presParOf" srcId="{D00DD33A-AC5B-43E7-901B-918A5981B5C1}" destId="{38AF9D85-AE9D-442E-AF88-19AD692015CB}" srcOrd="0" destOrd="0" presId="urn:microsoft.com/office/officeart/2009/3/layout/SubStepProcess"/>
    <dgm:cxn modelId="{0464E672-7194-4251-B218-D2E9B4D10ADA}" type="presParOf" srcId="{D00DD33A-AC5B-43E7-901B-918A5981B5C1}" destId="{00BA432E-59B3-4F4D-B5D8-B01E9672B350}" srcOrd="1" destOrd="0" presId="urn:microsoft.com/office/officeart/2009/3/layout/SubStepProcess"/>
    <dgm:cxn modelId="{43090534-83F0-498E-8B96-29E82F490F35}" type="presParOf" srcId="{D00DD33A-AC5B-43E7-901B-918A5981B5C1}" destId="{AE862AB9-03FE-4FCE-833D-E8B1D5C674E0}" srcOrd="2" destOrd="0" presId="urn:microsoft.com/office/officeart/2009/3/layout/SubStepProcess"/>
    <dgm:cxn modelId="{3BD24906-0AD7-4475-9357-9FFDB588BB3B}" type="presParOf" srcId="{D00DD33A-AC5B-43E7-901B-918A5981B5C1}" destId="{07818414-730B-4FB2-8608-524FADF7B3A7}" srcOrd="3" destOrd="0" presId="urn:microsoft.com/office/officeart/2009/3/layout/SubStepProcess"/>
    <dgm:cxn modelId="{21617175-08AB-4360-B55F-070F6E363599}" type="presParOf" srcId="{B45FAE89-01B8-4369-B126-CB985ED0FB64}" destId="{025C2DD9-13F6-46A9-B64D-EBE914A2AD7E}" srcOrd="6" destOrd="0" presId="urn:microsoft.com/office/officeart/2009/3/layout/SubStepProcess"/>
    <dgm:cxn modelId="{E6D87F4A-936A-47CA-935A-18F7F6F6D408}" type="presParOf" srcId="{B45FAE89-01B8-4369-B126-CB985ED0FB64}" destId="{EEE11D39-5455-4B4E-ABBD-61C41C0ACA44}" srcOrd="7" destOrd="0" presId="urn:microsoft.com/office/officeart/2009/3/layout/SubStepProcess"/>
    <dgm:cxn modelId="{80F94906-B0C2-40AD-A5EC-FFF2F80C878B}" type="presParOf" srcId="{EEE11D39-5455-4B4E-ABBD-61C41C0ACA44}" destId="{F9AB5CA6-40EF-46D6-9775-D26BFCC221CA}" srcOrd="0" destOrd="0" presId="urn:microsoft.com/office/officeart/2009/3/layout/SubStepProcess"/>
    <dgm:cxn modelId="{F04FC24C-2522-4601-9B64-6B65D5842976}" type="presParOf" srcId="{EEE11D39-5455-4B4E-ABBD-61C41C0ACA44}" destId="{773F67C8-B017-46D8-B2BD-8682121DE50C}" srcOrd="1" destOrd="0" presId="urn:microsoft.com/office/officeart/2009/3/layout/SubStepProcess"/>
    <dgm:cxn modelId="{FF52CA7A-FE16-4D0A-A506-3E951F3D6777}" type="presParOf" srcId="{EEE11D39-5455-4B4E-ABBD-61C41C0ACA44}" destId="{A2848FEC-05DA-43A3-B2E3-D0847DBCEB41}" srcOrd="2" destOrd="0" presId="urn:microsoft.com/office/officeart/2009/3/layout/SubStepProcess"/>
    <dgm:cxn modelId="{81E2D558-C6E2-42F6-AE16-01E4A9547283}" type="presParOf" srcId="{EEE11D39-5455-4B4E-ABBD-61C41C0ACA44}" destId="{96410DA6-9342-45D0-A991-11F640E12A35}" srcOrd="3" destOrd="0" presId="urn:microsoft.com/office/officeart/2009/3/layout/SubStepProcess"/>
    <dgm:cxn modelId="{DE521D21-486A-4D22-A935-BDA889F9282A}" type="presParOf" srcId="{B45FAE89-01B8-4369-B126-CB985ED0FB64}" destId="{BC719D5A-6762-455A-9158-13AECB6B6C3A}" srcOrd="8" destOrd="0" presId="urn:microsoft.com/office/officeart/2009/3/layout/SubStepProcess"/>
    <dgm:cxn modelId="{AC4470F8-9289-4998-B1E1-E289E0A06211}" type="presParOf" srcId="{B45FAE89-01B8-4369-B126-CB985ED0FB64}" destId="{33AA9872-EF1E-4DB3-857E-B4151F6551DD}" srcOrd="9" destOrd="0" presId="urn:microsoft.com/office/officeart/2009/3/layout/SubStepProcess"/>
    <dgm:cxn modelId="{99E1D7F3-D8FA-480F-BFCA-3E16AFC8C6A0}" type="presParOf" srcId="{33AA9872-EF1E-4DB3-857E-B4151F6551DD}" destId="{D84A052A-E6CE-48C6-837A-843448A2A632}" srcOrd="0" destOrd="0" presId="urn:microsoft.com/office/officeart/2009/3/layout/SubStepProcess"/>
    <dgm:cxn modelId="{E559A860-88D4-42ED-81F2-4B4193A586E1}" type="presParOf" srcId="{33AA9872-EF1E-4DB3-857E-B4151F6551DD}" destId="{F8A15F0D-30C1-4373-8D64-9B1E8F50690F}" srcOrd="1" destOrd="0" presId="urn:microsoft.com/office/officeart/2009/3/layout/SubStepProcess"/>
    <dgm:cxn modelId="{9495D0A7-A041-40F0-9756-365DAE97582E}" type="presParOf" srcId="{33AA9872-EF1E-4DB3-857E-B4151F6551DD}" destId="{54B0C6C9-FCA1-41D5-BFB0-B27E191942DE}" srcOrd="2" destOrd="0" presId="urn:microsoft.com/office/officeart/2009/3/layout/SubStepProcess"/>
    <dgm:cxn modelId="{7E67FE38-7750-4D60-8F8E-2794793144C0}" type="presParOf" srcId="{33AA9872-EF1E-4DB3-857E-B4151F6551DD}" destId="{6A4D20FE-125B-4EA6-9DFC-00B0273CA6DE}" srcOrd="3" destOrd="0" presId="urn:microsoft.com/office/officeart/2009/3/layout/SubStepProcess"/>
    <dgm:cxn modelId="{910570E6-AC08-4A54-909A-1747D881BA14}" type="presParOf" srcId="{B45FAE89-01B8-4369-B126-CB985ED0FB64}" destId="{EBD60EF0-0F4B-4459-832B-264A7626E281}" srcOrd="10" destOrd="0" presId="urn:microsoft.com/office/officeart/2009/3/layout/SubStepProcess"/>
    <dgm:cxn modelId="{FBB477CA-60F3-45E1-A992-E750401EA9E6}" type="presParOf" srcId="{B45FAE89-01B8-4369-B126-CB985ED0FB64}" destId="{D74AFE78-24E6-4D9D-AE46-3D94D21353E0}" srcOrd="11" destOrd="0" presId="urn:microsoft.com/office/officeart/2009/3/layout/SubStepProcess"/>
    <dgm:cxn modelId="{A102BC6C-FB18-47C4-9031-C629C8C6B6AD}" type="presParOf" srcId="{D74AFE78-24E6-4D9D-AE46-3D94D21353E0}" destId="{29A8CA1C-9D60-4D4D-924A-39E098FF2094}" srcOrd="0" destOrd="0" presId="urn:microsoft.com/office/officeart/2009/3/layout/SubStepProcess"/>
    <dgm:cxn modelId="{55B60436-9BD8-4403-B518-DEB68C5779CB}" type="presParOf" srcId="{D74AFE78-24E6-4D9D-AE46-3D94D21353E0}" destId="{0671EDEB-3829-4245-86D7-85D8009E47B5}" srcOrd="1" destOrd="0" presId="urn:microsoft.com/office/officeart/2009/3/layout/SubStepProcess"/>
    <dgm:cxn modelId="{572EDA75-B7A1-40CC-98AB-2A79EA39F374}" type="presParOf" srcId="{D74AFE78-24E6-4D9D-AE46-3D94D21353E0}" destId="{9E90020B-534A-4920-855B-74611A92C7A2}" srcOrd="2" destOrd="0" presId="urn:microsoft.com/office/officeart/2009/3/layout/SubStepProcess"/>
    <dgm:cxn modelId="{8D3C5D43-D8DB-45F7-A066-83A3C4B80812}" type="presParOf" srcId="{D74AFE78-24E6-4D9D-AE46-3D94D21353E0}" destId="{16DE19D8-FFD4-41FC-B207-5A864C35E6D7}" srcOrd="3" destOrd="0" presId="urn:microsoft.com/office/officeart/2009/3/layout/SubStepProcess"/>
    <dgm:cxn modelId="{7E7E5C1B-7B83-4B95-8144-7E5FCEA8233B}" type="presParOf" srcId="{B45FAE89-01B8-4369-B126-CB985ED0FB64}" destId="{FEB314EF-597E-49AB-9754-56A3D6183AA0}" srcOrd="12" destOrd="0" presId="urn:microsoft.com/office/officeart/2009/3/layout/SubStepProcess"/>
    <dgm:cxn modelId="{F6CFC2AE-31A0-42BA-8BE2-87006DE6D97A}" type="presParOf" srcId="{B45FAE89-01B8-4369-B126-CB985ED0FB64}" destId="{E1A21261-3CFE-4789-8C88-BDD6B55B5D5C}" srcOrd="13" destOrd="0" presId="urn:microsoft.com/office/officeart/2009/3/layout/SubStepProcess"/>
    <dgm:cxn modelId="{61C0AA6E-94BF-4B1A-99DD-075D7F0DA450}" type="presParOf" srcId="{E1A21261-3CFE-4789-8C88-BDD6B55B5D5C}" destId="{B31E3B27-B638-42F0-A340-CD174AF76943}" srcOrd="0" destOrd="0" presId="urn:microsoft.com/office/officeart/2009/3/layout/SubStepProcess"/>
    <dgm:cxn modelId="{B401824B-4D05-47D0-9AD1-8030CF5FE6C8}" type="presParOf" srcId="{E1A21261-3CFE-4789-8C88-BDD6B55B5D5C}" destId="{A743A761-9797-4C6E-9857-D71157F18C41}" srcOrd="1" destOrd="0" presId="urn:microsoft.com/office/officeart/2009/3/layout/SubStepProcess"/>
    <dgm:cxn modelId="{61D3ADA7-D54C-4980-9D0A-B2CE5754D371}" type="presParOf" srcId="{E1A21261-3CFE-4789-8C88-BDD6B55B5D5C}" destId="{DF4DAA70-E844-4836-B0EF-4A2951B95B27}" srcOrd="2" destOrd="0" presId="urn:microsoft.com/office/officeart/2009/3/layout/SubStepProcess"/>
    <dgm:cxn modelId="{6F9CC376-4C32-4E29-B1B6-BCFE603E4C96}" type="presParOf" srcId="{E1A21261-3CFE-4789-8C88-BDD6B55B5D5C}" destId="{74280395-52C3-4A69-AC6E-F9CFE231D355}" srcOrd="3" destOrd="0" presId="urn:microsoft.com/office/officeart/2009/3/layout/SubStepProcess"/>
    <dgm:cxn modelId="{E2008010-AF47-47A6-9ACD-958F91BDF72D}" type="presParOf" srcId="{B45FAE89-01B8-4369-B126-CB985ED0FB64}" destId="{3C27CC67-BBA6-4427-8140-43957BF59CCD}" srcOrd="14" destOrd="0" presId="urn:microsoft.com/office/officeart/2009/3/layout/SubStepProcess"/>
    <dgm:cxn modelId="{443594C9-0F65-459B-8ED0-F52C619C3154}" type="presParOf" srcId="{B45FAE89-01B8-4369-B126-CB985ED0FB64}" destId="{70A8139E-C7FC-4D21-8D94-7F401ABB201F}" srcOrd="15" destOrd="0" presId="urn:microsoft.com/office/officeart/2009/3/layout/SubStepProcess"/>
    <dgm:cxn modelId="{95B61A69-9AA4-4DDF-990F-24071A291A3B}" type="presParOf" srcId="{70A8139E-C7FC-4D21-8D94-7F401ABB201F}" destId="{96AD13F9-129E-4807-9F8F-821014F95F7B}" srcOrd="0" destOrd="0" presId="urn:microsoft.com/office/officeart/2009/3/layout/SubStepProcess"/>
    <dgm:cxn modelId="{23C42CE5-D0CD-4151-A416-76F586360EB9}" type="presParOf" srcId="{70A8139E-C7FC-4D21-8D94-7F401ABB201F}" destId="{1C7604FD-EB27-407F-93C7-DBF16B4864D7}" srcOrd="1" destOrd="0" presId="urn:microsoft.com/office/officeart/2009/3/layout/SubStepProcess"/>
    <dgm:cxn modelId="{E870906C-8FB8-48DB-9A8B-E5F187AC8FDE}" type="presParOf" srcId="{70A8139E-C7FC-4D21-8D94-7F401ABB201F}" destId="{01B0AA41-8725-4FB1-BC0F-098493A69C2E}" srcOrd="2" destOrd="0" presId="urn:microsoft.com/office/officeart/2009/3/layout/SubStepProcess"/>
    <dgm:cxn modelId="{9DC11151-94C6-41E1-BC04-374C92593353}" type="presParOf" srcId="{70A8139E-C7FC-4D21-8D94-7F401ABB201F}" destId="{2541979A-CAF5-4CA3-9DE5-DE50D097BA76}" srcOrd="3"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8441239-A9AC-4A17-B1D9-D544A2DF50FA}" type="doc">
      <dgm:prSet loTypeId="urn:microsoft.com/office/officeart/2009/3/layout/SubStepProcess" loCatId="process" qsTypeId="urn:microsoft.com/office/officeart/2005/8/quickstyle/simple1" qsCatId="simple" csTypeId="urn:microsoft.com/office/officeart/2005/8/colors/accent1_2" csCatId="accent1" phldr="1"/>
      <dgm:spPr/>
    </dgm:pt>
    <dgm:pt modelId="{9AA574CB-8BD6-4B60-9457-7F32A38BC259}">
      <dgm:prSet phldrT="[文本]"/>
      <dgm:spPr/>
      <dgm:t>
        <a:bodyPr/>
        <a:lstStyle/>
        <a:p>
          <a:r>
            <a:rPr lang="zh-CN" altLang="en-US" dirty="0" smtClean="0">
              <a:solidFill>
                <a:schemeClr val="tx1"/>
              </a:solidFill>
            </a:rPr>
            <a:t>情报搜集阶段</a:t>
          </a:r>
          <a:endParaRPr lang="zh-CN" altLang="en-US" dirty="0">
            <a:solidFill>
              <a:schemeClr val="tx1"/>
            </a:solidFill>
          </a:endParaRPr>
        </a:p>
      </dgm:t>
    </dgm:pt>
    <dgm:pt modelId="{3D6FB2E1-2607-406D-8CE4-3F72C4E2BA7C}" type="parTrans" cxnId="{A3639D38-BD0E-4E75-8C5A-FD32AEF97BB3}">
      <dgm:prSet/>
      <dgm:spPr/>
      <dgm:t>
        <a:bodyPr/>
        <a:lstStyle/>
        <a:p>
          <a:endParaRPr lang="zh-CN" altLang="en-US">
            <a:solidFill>
              <a:schemeClr val="tx1"/>
            </a:solidFill>
          </a:endParaRPr>
        </a:p>
      </dgm:t>
    </dgm:pt>
    <dgm:pt modelId="{4A652E1D-2EE7-4BC2-8CB9-E0474E09EDEF}" type="sibTrans" cxnId="{A3639D38-BD0E-4E75-8C5A-FD32AEF97BB3}">
      <dgm:prSet/>
      <dgm:spPr/>
      <dgm:t>
        <a:bodyPr/>
        <a:lstStyle/>
        <a:p>
          <a:endParaRPr lang="zh-CN" altLang="en-US">
            <a:solidFill>
              <a:schemeClr val="tx1"/>
            </a:solidFill>
          </a:endParaRPr>
        </a:p>
      </dgm:t>
    </dgm:pt>
    <dgm:pt modelId="{FD6B28E6-35E2-4CB6-ABBB-DBBECE808BAD}">
      <dgm:prSet phldrT="[文本]"/>
      <dgm:spPr/>
      <dgm:t>
        <a:bodyPr/>
        <a:lstStyle/>
        <a:p>
          <a:r>
            <a:rPr lang="zh-CN" altLang="en-US" dirty="0" smtClean="0">
              <a:solidFill>
                <a:schemeClr val="tx1"/>
              </a:solidFill>
            </a:rPr>
            <a:t>目标选择</a:t>
          </a:r>
          <a:endParaRPr lang="zh-CN" altLang="en-US" dirty="0">
            <a:solidFill>
              <a:schemeClr val="tx1"/>
            </a:solidFill>
          </a:endParaRPr>
        </a:p>
      </dgm:t>
    </dgm:pt>
    <dgm:pt modelId="{1ECC388B-8232-4256-BED3-C7F7CC058BC2}" type="parTrans" cxnId="{B508C67D-6604-4C8E-AE3D-0C24E02E2117}">
      <dgm:prSet/>
      <dgm:spPr/>
      <dgm:t>
        <a:bodyPr/>
        <a:lstStyle/>
        <a:p>
          <a:endParaRPr lang="zh-CN" altLang="en-US">
            <a:solidFill>
              <a:schemeClr val="tx1"/>
            </a:solidFill>
          </a:endParaRPr>
        </a:p>
      </dgm:t>
    </dgm:pt>
    <dgm:pt modelId="{661B617C-4515-4507-8984-0AE5D70709EF}" type="sibTrans" cxnId="{B508C67D-6604-4C8E-AE3D-0C24E02E2117}">
      <dgm:prSet/>
      <dgm:spPr/>
      <dgm:t>
        <a:bodyPr/>
        <a:lstStyle/>
        <a:p>
          <a:endParaRPr lang="zh-CN" altLang="en-US">
            <a:solidFill>
              <a:schemeClr val="tx1"/>
            </a:solidFill>
          </a:endParaRPr>
        </a:p>
      </dgm:t>
    </dgm:pt>
    <dgm:pt modelId="{A0FA7F8C-88A7-496B-B2BA-700D5248528A}">
      <dgm:prSet phldrT="[文本]"/>
      <dgm:spPr/>
      <dgm:t>
        <a:bodyPr/>
        <a:lstStyle/>
        <a:p>
          <a:r>
            <a:rPr lang="zh-CN" altLang="en-US" dirty="0" smtClean="0">
              <a:solidFill>
                <a:schemeClr val="tx1"/>
              </a:solidFill>
            </a:rPr>
            <a:t>侦查</a:t>
          </a:r>
          <a:endParaRPr lang="en-US" altLang="zh-CN" dirty="0" smtClean="0">
            <a:solidFill>
              <a:schemeClr val="tx1"/>
            </a:solidFill>
          </a:endParaRPr>
        </a:p>
        <a:p>
          <a:r>
            <a:rPr lang="zh-CN" altLang="en-US" dirty="0" smtClean="0">
              <a:solidFill>
                <a:schemeClr val="tx1"/>
              </a:solidFill>
            </a:rPr>
            <a:t>工作</a:t>
          </a:r>
          <a:endParaRPr lang="zh-CN" altLang="en-US" dirty="0">
            <a:solidFill>
              <a:schemeClr val="tx1"/>
            </a:solidFill>
          </a:endParaRPr>
        </a:p>
      </dgm:t>
    </dgm:pt>
    <dgm:pt modelId="{131EFBCF-9ED0-48D6-B272-5BCF514521BC}" type="parTrans" cxnId="{645878A0-0A34-49ED-A5DD-C6AAD04F50C2}">
      <dgm:prSet/>
      <dgm:spPr/>
      <dgm:t>
        <a:bodyPr/>
        <a:lstStyle/>
        <a:p>
          <a:endParaRPr lang="zh-CN" altLang="en-US">
            <a:solidFill>
              <a:schemeClr val="tx1"/>
            </a:solidFill>
          </a:endParaRPr>
        </a:p>
      </dgm:t>
    </dgm:pt>
    <dgm:pt modelId="{5063CD2D-E62E-4619-851F-AE5C2DCBA949}" type="sibTrans" cxnId="{645878A0-0A34-49ED-A5DD-C6AAD04F50C2}">
      <dgm:prSet/>
      <dgm:spPr/>
      <dgm:t>
        <a:bodyPr/>
        <a:lstStyle/>
        <a:p>
          <a:endParaRPr lang="zh-CN" altLang="en-US">
            <a:solidFill>
              <a:schemeClr val="tx1"/>
            </a:solidFill>
          </a:endParaRPr>
        </a:p>
      </dgm:t>
    </dgm:pt>
    <dgm:pt modelId="{5F135EB0-C5B7-49F5-A44F-0CE31B0B17C5}">
      <dgm:prSet phldrT="[文本]"/>
      <dgm:spPr/>
      <dgm:t>
        <a:bodyPr/>
        <a:lstStyle/>
        <a:p>
          <a:r>
            <a:rPr lang="zh-CN" altLang="en-US" dirty="0" smtClean="0">
              <a:solidFill>
                <a:schemeClr val="tx1"/>
              </a:solidFill>
            </a:rPr>
            <a:t>调研结果分析</a:t>
          </a:r>
          <a:endParaRPr lang="en-US" altLang="zh-CN" dirty="0" smtClean="0">
            <a:solidFill>
              <a:schemeClr val="tx1"/>
            </a:solidFill>
          </a:endParaRPr>
        </a:p>
      </dgm:t>
    </dgm:pt>
    <dgm:pt modelId="{A954F4D4-9DEC-47A0-AA87-DC101EC8E44F}" type="parTrans" cxnId="{9AD39129-8540-4E98-8A98-2D2F542E5BBF}">
      <dgm:prSet/>
      <dgm:spPr/>
      <dgm:t>
        <a:bodyPr/>
        <a:lstStyle/>
        <a:p>
          <a:endParaRPr lang="zh-CN" altLang="en-US">
            <a:solidFill>
              <a:schemeClr val="tx1"/>
            </a:solidFill>
          </a:endParaRPr>
        </a:p>
      </dgm:t>
    </dgm:pt>
    <dgm:pt modelId="{6091CBEC-A9F8-4EBF-BAC3-B07ABA8F38BD}" type="sibTrans" cxnId="{9AD39129-8540-4E98-8A98-2D2F542E5BBF}">
      <dgm:prSet/>
      <dgm:spPr/>
      <dgm:t>
        <a:bodyPr/>
        <a:lstStyle/>
        <a:p>
          <a:endParaRPr lang="zh-CN" altLang="en-US">
            <a:solidFill>
              <a:schemeClr val="tx1"/>
            </a:solidFill>
          </a:endParaRPr>
        </a:p>
      </dgm:t>
    </dgm:pt>
    <dgm:pt modelId="{F03DB7EC-094A-4FC1-91DE-28DBD3E4BDA5}">
      <dgm:prSet phldrT="[文本]"/>
      <dgm:spPr/>
      <dgm:t>
        <a:bodyPr/>
        <a:lstStyle/>
        <a:p>
          <a:r>
            <a:rPr lang="zh-CN" altLang="en-US" dirty="0" smtClean="0">
              <a:solidFill>
                <a:schemeClr val="tx1"/>
              </a:solidFill>
            </a:rPr>
            <a:t>开放渠道情报</a:t>
          </a:r>
          <a:endParaRPr lang="en-US" altLang="zh-CN" dirty="0" smtClean="0">
            <a:solidFill>
              <a:schemeClr val="tx1"/>
            </a:solidFill>
          </a:endParaRPr>
        </a:p>
      </dgm:t>
    </dgm:pt>
    <dgm:pt modelId="{F4E44745-DC18-4BFB-9E29-ACCD4E12125A}" type="parTrans" cxnId="{336D1841-37E6-48F7-B49B-FCD36B130F95}">
      <dgm:prSet/>
      <dgm:spPr/>
      <dgm:t>
        <a:bodyPr/>
        <a:lstStyle/>
        <a:p>
          <a:endParaRPr lang="zh-CN" altLang="en-US">
            <a:solidFill>
              <a:schemeClr val="tx1"/>
            </a:solidFill>
          </a:endParaRPr>
        </a:p>
      </dgm:t>
    </dgm:pt>
    <dgm:pt modelId="{47D9BAE8-FF4F-4369-9BAF-FC6A2DADEE1D}" type="sibTrans" cxnId="{336D1841-37E6-48F7-B49B-FCD36B130F95}">
      <dgm:prSet/>
      <dgm:spPr/>
      <dgm:t>
        <a:bodyPr/>
        <a:lstStyle/>
        <a:p>
          <a:endParaRPr lang="zh-CN" altLang="en-US">
            <a:solidFill>
              <a:schemeClr val="tx1"/>
            </a:solidFill>
          </a:endParaRPr>
        </a:p>
      </dgm:t>
    </dgm:pt>
    <dgm:pt modelId="{69D3DD40-3419-4A27-8732-D7949E2E28EF}">
      <dgm:prSet phldrT="[文本]"/>
      <dgm:spPr/>
      <dgm:t>
        <a:bodyPr/>
        <a:lstStyle/>
        <a:p>
          <a:r>
            <a:rPr lang="zh-CN" altLang="en-US" dirty="0" smtClean="0">
              <a:solidFill>
                <a:schemeClr val="tx1"/>
              </a:solidFill>
            </a:rPr>
            <a:t>白盒搜集</a:t>
          </a:r>
          <a:endParaRPr lang="en-US" altLang="zh-CN" dirty="0" smtClean="0">
            <a:solidFill>
              <a:schemeClr val="tx1"/>
            </a:solidFill>
          </a:endParaRPr>
        </a:p>
      </dgm:t>
    </dgm:pt>
    <dgm:pt modelId="{641550FF-DCF9-4AA0-8C25-455EECD6CF84}" type="parTrans" cxnId="{1FA93C7C-2F0E-4254-A5CC-F4ED972F54D9}">
      <dgm:prSet/>
      <dgm:spPr/>
      <dgm:t>
        <a:bodyPr/>
        <a:lstStyle/>
        <a:p>
          <a:endParaRPr lang="zh-CN" altLang="en-US">
            <a:solidFill>
              <a:schemeClr val="tx1"/>
            </a:solidFill>
          </a:endParaRPr>
        </a:p>
      </dgm:t>
    </dgm:pt>
    <dgm:pt modelId="{D0F7A517-6E9C-4D17-BB35-FABD11865F0C}" type="sibTrans" cxnId="{1FA93C7C-2F0E-4254-A5CC-F4ED972F54D9}">
      <dgm:prSet/>
      <dgm:spPr/>
      <dgm:t>
        <a:bodyPr/>
        <a:lstStyle/>
        <a:p>
          <a:endParaRPr lang="zh-CN" altLang="en-US">
            <a:solidFill>
              <a:schemeClr val="tx1"/>
            </a:solidFill>
          </a:endParaRPr>
        </a:p>
      </dgm:t>
    </dgm:pt>
    <dgm:pt modelId="{92E6A1E3-AEFB-4378-8632-EE55EECA7384}">
      <dgm:prSet phldrT="[文本]"/>
      <dgm:spPr/>
      <dgm:t>
        <a:bodyPr/>
        <a:lstStyle/>
        <a:p>
          <a:r>
            <a:rPr lang="en-US" altLang="zh-CN" dirty="0" smtClean="0">
              <a:solidFill>
                <a:schemeClr val="tx1"/>
              </a:solidFill>
            </a:rPr>
            <a:t> </a:t>
          </a:r>
          <a:r>
            <a:rPr lang="zh-CN" altLang="en-US" dirty="0" smtClean="0">
              <a:solidFill>
                <a:schemeClr val="tx1"/>
              </a:solidFill>
            </a:rPr>
            <a:t>人力资源情报</a:t>
          </a:r>
          <a:endParaRPr lang="en-US" altLang="zh-CN" dirty="0" smtClean="0">
            <a:solidFill>
              <a:schemeClr val="tx1"/>
            </a:solidFill>
          </a:endParaRPr>
        </a:p>
      </dgm:t>
    </dgm:pt>
    <dgm:pt modelId="{E8FD089F-2991-4CB9-8139-AD5DC5E5A415}" type="parTrans" cxnId="{0DC3A8DC-6B62-4B50-8911-BE98C8827A0C}">
      <dgm:prSet/>
      <dgm:spPr/>
      <dgm:t>
        <a:bodyPr/>
        <a:lstStyle/>
        <a:p>
          <a:endParaRPr lang="zh-CN" altLang="en-US">
            <a:solidFill>
              <a:schemeClr val="tx1"/>
            </a:solidFill>
          </a:endParaRPr>
        </a:p>
      </dgm:t>
    </dgm:pt>
    <dgm:pt modelId="{2C8DD342-53F9-46CF-96D9-904E0EB247FB}" type="sibTrans" cxnId="{0DC3A8DC-6B62-4B50-8911-BE98C8827A0C}">
      <dgm:prSet/>
      <dgm:spPr/>
      <dgm:t>
        <a:bodyPr/>
        <a:lstStyle/>
        <a:p>
          <a:endParaRPr lang="zh-CN" altLang="en-US">
            <a:solidFill>
              <a:schemeClr val="tx1"/>
            </a:solidFill>
          </a:endParaRPr>
        </a:p>
      </dgm:t>
    </dgm:pt>
    <dgm:pt modelId="{96233C4C-1BEB-4538-9D33-6FFF6307D837}">
      <dgm:prSet phldrT="[文本]"/>
      <dgm:spPr/>
      <dgm:t>
        <a:bodyPr/>
        <a:lstStyle/>
        <a:p>
          <a:r>
            <a:rPr lang="zh-CN" altLang="en-US" dirty="0" smtClean="0">
              <a:solidFill>
                <a:schemeClr val="tx1"/>
              </a:solidFill>
            </a:rPr>
            <a:t>踩点</a:t>
          </a:r>
          <a:endParaRPr lang="en-US" altLang="zh-CN" dirty="0" smtClean="0">
            <a:solidFill>
              <a:schemeClr val="tx1"/>
            </a:solidFill>
          </a:endParaRPr>
        </a:p>
      </dgm:t>
    </dgm:pt>
    <dgm:pt modelId="{E830C7BB-7C76-402F-8970-DD05362D5F2A}" type="parTrans" cxnId="{5AF49F18-2CAE-40D7-9602-E09F15AEC6B0}">
      <dgm:prSet/>
      <dgm:spPr/>
      <dgm:t>
        <a:bodyPr/>
        <a:lstStyle/>
        <a:p>
          <a:endParaRPr lang="zh-CN" altLang="en-US">
            <a:solidFill>
              <a:schemeClr val="tx1"/>
            </a:solidFill>
          </a:endParaRPr>
        </a:p>
      </dgm:t>
    </dgm:pt>
    <dgm:pt modelId="{E3C2B9B9-47B1-4A1E-8FCF-8BD185A68BFE}" type="sibTrans" cxnId="{5AF49F18-2CAE-40D7-9602-E09F15AEC6B0}">
      <dgm:prSet/>
      <dgm:spPr/>
      <dgm:t>
        <a:bodyPr/>
        <a:lstStyle/>
        <a:p>
          <a:endParaRPr lang="zh-CN" altLang="en-US">
            <a:solidFill>
              <a:schemeClr val="tx1"/>
            </a:solidFill>
          </a:endParaRPr>
        </a:p>
      </dgm:t>
    </dgm:pt>
    <dgm:pt modelId="{16219EA0-D2B9-4096-A42B-FE4598C31913}">
      <dgm:prSet phldrT="[文本]"/>
      <dgm:spPr/>
      <dgm:t>
        <a:bodyPr/>
        <a:lstStyle/>
        <a:p>
          <a:r>
            <a:rPr lang="zh-CN" altLang="en-US" smtClean="0">
              <a:solidFill>
                <a:schemeClr val="tx1"/>
              </a:solidFill>
            </a:rPr>
            <a:t>识别防御机制</a:t>
          </a:r>
          <a:endParaRPr lang="en-US" altLang="zh-CN" dirty="0" smtClean="0">
            <a:solidFill>
              <a:schemeClr val="tx1"/>
            </a:solidFill>
          </a:endParaRPr>
        </a:p>
      </dgm:t>
    </dgm:pt>
    <dgm:pt modelId="{AF8AAD6E-B103-422A-ABFD-22CE6EE052D6}" type="parTrans" cxnId="{0E42B37E-23C6-46E1-B7DA-532549C3CD3C}">
      <dgm:prSet/>
      <dgm:spPr/>
      <dgm:t>
        <a:bodyPr/>
        <a:lstStyle/>
        <a:p>
          <a:endParaRPr lang="zh-CN" altLang="en-US">
            <a:solidFill>
              <a:schemeClr val="tx1"/>
            </a:solidFill>
          </a:endParaRPr>
        </a:p>
      </dgm:t>
    </dgm:pt>
    <dgm:pt modelId="{BF7E7DD3-4E6E-45A4-9B71-26988027ABE5}" type="sibTrans" cxnId="{0E42B37E-23C6-46E1-B7DA-532549C3CD3C}">
      <dgm:prSet/>
      <dgm:spPr/>
      <dgm:t>
        <a:bodyPr/>
        <a:lstStyle/>
        <a:p>
          <a:endParaRPr lang="zh-CN" altLang="en-US">
            <a:solidFill>
              <a:schemeClr val="tx1"/>
            </a:solidFill>
          </a:endParaRPr>
        </a:p>
      </dgm:t>
    </dgm:pt>
    <dgm:pt modelId="{50F5C146-11B6-4AA1-8EC7-EFDF9378E4AB}">
      <dgm:prSet phldrT="[文本]"/>
      <dgm:spPr/>
      <dgm:t>
        <a:bodyPr/>
        <a:lstStyle/>
        <a:p>
          <a:r>
            <a:rPr lang="zh-CN" altLang="en-US" dirty="0" smtClean="0">
              <a:solidFill>
                <a:schemeClr val="tx1"/>
              </a:solidFill>
            </a:rPr>
            <a:t>与测试对象相关的内外部信息搜集</a:t>
          </a:r>
          <a:endParaRPr lang="en-US" altLang="zh-CN" dirty="0" smtClean="0">
            <a:solidFill>
              <a:schemeClr val="tx1"/>
            </a:solidFill>
          </a:endParaRPr>
        </a:p>
      </dgm:t>
    </dgm:pt>
    <dgm:pt modelId="{0C33CF6F-6DEF-480D-8CFB-E971E0C35E43}" type="parTrans" cxnId="{F4C4C48D-C712-4FA1-8378-87CE46F9DF8D}">
      <dgm:prSet/>
      <dgm:spPr/>
      <dgm:t>
        <a:bodyPr/>
        <a:lstStyle/>
        <a:p>
          <a:endParaRPr lang="zh-CN" altLang="en-US">
            <a:solidFill>
              <a:schemeClr val="tx1"/>
            </a:solidFill>
          </a:endParaRPr>
        </a:p>
      </dgm:t>
    </dgm:pt>
    <dgm:pt modelId="{CA6852A1-857A-4F13-BFCA-B165A9B5F7F3}" type="sibTrans" cxnId="{F4C4C48D-C712-4FA1-8378-87CE46F9DF8D}">
      <dgm:prSet/>
      <dgm:spPr/>
      <dgm:t>
        <a:bodyPr/>
        <a:lstStyle/>
        <a:p>
          <a:endParaRPr lang="zh-CN" altLang="en-US">
            <a:solidFill>
              <a:schemeClr val="tx1"/>
            </a:solidFill>
          </a:endParaRPr>
        </a:p>
      </dgm:t>
    </dgm:pt>
    <dgm:pt modelId="{116E5077-D891-4AC8-A516-687022FC0FF7}">
      <dgm:prSet phldrT="[文本]"/>
      <dgm:spPr/>
      <dgm:t>
        <a:bodyPr/>
        <a:lstStyle/>
        <a:p>
          <a:r>
            <a:rPr lang="zh-CN" altLang="en-US" dirty="0" smtClean="0">
              <a:solidFill>
                <a:schemeClr val="tx1"/>
              </a:solidFill>
            </a:rPr>
            <a:t>技术层信息搜集与验证</a:t>
          </a:r>
          <a:endParaRPr lang="en-US" altLang="zh-CN" dirty="0" smtClean="0">
            <a:solidFill>
              <a:schemeClr val="tx1"/>
            </a:solidFill>
          </a:endParaRPr>
        </a:p>
      </dgm:t>
    </dgm:pt>
    <dgm:pt modelId="{F895778E-ACBD-4495-8177-A98D4D3A2E71}" type="parTrans" cxnId="{4432F30D-D036-4309-A670-BB61199A5A7B}">
      <dgm:prSet/>
      <dgm:spPr/>
      <dgm:t>
        <a:bodyPr/>
        <a:lstStyle/>
        <a:p>
          <a:endParaRPr lang="zh-CN" altLang="en-US">
            <a:solidFill>
              <a:schemeClr val="tx1"/>
            </a:solidFill>
          </a:endParaRPr>
        </a:p>
      </dgm:t>
    </dgm:pt>
    <dgm:pt modelId="{1D973918-16AE-4863-AF8C-2FE0BF615107}" type="sibTrans" cxnId="{4432F30D-D036-4309-A670-BB61199A5A7B}">
      <dgm:prSet/>
      <dgm:spPr/>
      <dgm:t>
        <a:bodyPr/>
        <a:lstStyle/>
        <a:p>
          <a:endParaRPr lang="zh-CN" altLang="en-US">
            <a:solidFill>
              <a:schemeClr val="tx1"/>
            </a:solidFill>
          </a:endParaRPr>
        </a:p>
      </dgm:t>
    </dgm:pt>
    <dgm:pt modelId="{960FBC63-57C1-4AF8-AC3D-387435C512A8}">
      <dgm:prSet phldrT="[文本]"/>
      <dgm:spPr/>
      <dgm:t>
        <a:bodyPr/>
        <a:lstStyle/>
        <a:p>
          <a:r>
            <a:rPr lang="zh-CN" altLang="en-US" dirty="0" smtClean="0">
              <a:solidFill>
                <a:schemeClr val="tx1"/>
              </a:solidFill>
            </a:rPr>
            <a:t>防御措施</a:t>
          </a:r>
          <a:endParaRPr lang="en-US" altLang="zh-CN" dirty="0" smtClean="0">
            <a:solidFill>
              <a:schemeClr val="tx1"/>
            </a:solidFill>
          </a:endParaRPr>
        </a:p>
      </dgm:t>
    </dgm:pt>
    <dgm:pt modelId="{4FB25A6D-B705-4A56-9E92-51FC5F319458}" type="parTrans" cxnId="{6E6F80BE-C716-46CE-8F41-3FE3C7453CB4}">
      <dgm:prSet/>
      <dgm:spPr/>
      <dgm:t>
        <a:bodyPr/>
        <a:lstStyle/>
        <a:p>
          <a:endParaRPr lang="zh-CN" altLang="en-US">
            <a:solidFill>
              <a:schemeClr val="tx1"/>
            </a:solidFill>
          </a:endParaRPr>
        </a:p>
      </dgm:t>
    </dgm:pt>
    <dgm:pt modelId="{7236EEE3-3E77-48C1-8BCC-E8C39678AAFC}" type="sibTrans" cxnId="{6E6F80BE-C716-46CE-8F41-3FE3C7453CB4}">
      <dgm:prSet/>
      <dgm:spPr/>
      <dgm:t>
        <a:bodyPr/>
        <a:lstStyle/>
        <a:p>
          <a:endParaRPr lang="zh-CN" altLang="en-US">
            <a:solidFill>
              <a:schemeClr val="tx1"/>
            </a:solidFill>
          </a:endParaRPr>
        </a:p>
      </dgm:t>
    </dgm:pt>
    <dgm:pt modelId="{8EBA1B9F-4BD7-4330-AC05-DE4AABF676BB}" type="pres">
      <dgm:prSet presAssocID="{48441239-A9AC-4A17-B1D9-D544A2DF50FA}" presName="Name0" presStyleCnt="0">
        <dgm:presLayoutVars>
          <dgm:chMax val="7"/>
          <dgm:dir/>
          <dgm:animOne val="branch"/>
        </dgm:presLayoutVars>
      </dgm:prSet>
      <dgm:spPr/>
    </dgm:pt>
    <dgm:pt modelId="{F2B8CC0C-4BAB-433E-9C0D-859B89A55943}" type="pres">
      <dgm:prSet presAssocID="{9AA574CB-8BD6-4B60-9457-7F32A38BC259}" presName="parTx1" presStyleLbl="node1" presStyleIdx="0" presStyleCnt="2"/>
      <dgm:spPr/>
      <dgm:t>
        <a:bodyPr/>
        <a:lstStyle/>
        <a:p>
          <a:endParaRPr lang="zh-CN" altLang="en-US"/>
        </a:p>
      </dgm:t>
    </dgm:pt>
    <dgm:pt modelId="{499F60E1-1548-4621-BDF2-D6765242C059}" type="pres">
      <dgm:prSet presAssocID="{9AA574CB-8BD6-4B60-9457-7F32A38BC259}" presName="spPre1" presStyleCnt="0"/>
      <dgm:spPr/>
    </dgm:pt>
    <dgm:pt modelId="{D5558784-69AE-47A6-8454-A7116A20F705}" type="pres">
      <dgm:prSet presAssocID="{9AA574CB-8BD6-4B60-9457-7F32A38BC259}" presName="chLin1" presStyleCnt="0"/>
      <dgm:spPr/>
    </dgm:pt>
    <dgm:pt modelId="{AFA45A0C-EA29-4ABB-BF49-5831EBCC5B7D}" type="pres">
      <dgm:prSet presAssocID="{1ECC388B-8232-4256-BED3-C7F7CC058BC2}" presName="Name11" presStyleLbl="parChTrans1D1" presStyleIdx="0" presStyleCnt="32"/>
      <dgm:spPr/>
    </dgm:pt>
    <dgm:pt modelId="{3912D361-63AB-4F26-982D-D3BDAB42F9E3}" type="pres">
      <dgm:prSet presAssocID="{1ECC388B-8232-4256-BED3-C7F7CC058BC2}" presName="Name31" presStyleLbl="parChTrans1D1" presStyleIdx="1" presStyleCnt="32"/>
      <dgm:spPr/>
    </dgm:pt>
    <dgm:pt modelId="{71A3EBD6-20E1-4760-81E7-C7E527A32D27}" type="pres">
      <dgm:prSet presAssocID="{FD6B28E6-35E2-4CB6-ABBB-DBBECE808BAD}" presName="txAndLines1" presStyleCnt="0"/>
      <dgm:spPr/>
    </dgm:pt>
    <dgm:pt modelId="{751F95A2-1B2F-454D-BE8B-8BCAB68FD45A}" type="pres">
      <dgm:prSet presAssocID="{FD6B28E6-35E2-4CB6-ABBB-DBBECE808BAD}" presName="anchor1" presStyleCnt="0"/>
      <dgm:spPr/>
    </dgm:pt>
    <dgm:pt modelId="{C395C025-1394-4C29-A781-B48F429667FF}" type="pres">
      <dgm:prSet presAssocID="{FD6B28E6-35E2-4CB6-ABBB-DBBECE808BAD}" presName="backup1" presStyleCnt="0"/>
      <dgm:spPr/>
    </dgm:pt>
    <dgm:pt modelId="{8D25E663-CB94-4B4E-B93E-8698F1D93126}" type="pres">
      <dgm:prSet presAssocID="{FD6B28E6-35E2-4CB6-ABBB-DBBECE808BAD}" presName="preLine1" presStyleLbl="parChTrans1D1" presStyleIdx="2" presStyleCnt="32"/>
      <dgm:spPr/>
    </dgm:pt>
    <dgm:pt modelId="{71B3F7F3-93C6-4167-A5BF-E9FB60AE8FD1}" type="pres">
      <dgm:prSet presAssocID="{FD6B28E6-35E2-4CB6-ABBB-DBBECE808BAD}" presName="desTx1" presStyleLbl="revTx" presStyleIdx="0" presStyleCnt="0">
        <dgm:presLayoutVars>
          <dgm:bulletEnabled val="1"/>
        </dgm:presLayoutVars>
      </dgm:prSet>
      <dgm:spPr/>
      <dgm:t>
        <a:bodyPr/>
        <a:lstStyle/>
        <a:p>
          <a:endParaRPr lang="zh-CN" altLang="en-US"/>
        </a:p>
      </dgm:t>
    </dgm:pt>
    <dgm:pt modelId="{32911B3C-36BB-4AC3-8A04-3AB024253A6F}" type="pres">
      <dgm:prSet presAssocID="{FD6B28E6-35E2-4CB6-ABBB-DBBECE808BAD}" presName="postLine1" presStyleLbl="parChTrans1D1" presStyleIdx="3" presStyleCnt="32"/>
      <dgm:spPr/>
    </dgm:pt>
    <dgm:pt modelId="{67E65136-ECA1-465D-B829-43D9A7405F83}" type="pres">
      <dgm:prSet presAssocID="{F4E44745-DC18-4BFB-9E29-ACCD4E12125A}" presName="Name11" presStyleLbl="parChTrans1D1" presStyleIdx="4" presStyleCnt="32"/>
      <dgm:spPr/>
    </dgm:pt>
    <dgm:pt modelId="{463EAC93-B927-4B03-BC6F-D81DDC495075}" type="pres">
      <dgm:prSet presAssocID="{F4E44745-DC18-4BFB-9E29-ACCD4E12125A}" presName="Name31" presStyleLbl="parChTrans1D1" presStyleIdx="5" presStyleCnt="32"/>
      <dgm:spPr/>
    </dgm:pt>
    <dgm:pt modelId="{8FECDBF2-C23E-4CA9-9099-98CBFE15F74F}" type="pres">
      <dgm:prSet presAssocID="{F03DB7EC-094A-4FC1-91DE-28DBD3E4BDA5}" presName="txAndLines1" presStyleCnt="0"/>
      <dgm:spPr/>
    </dgm:pt>
    <dgm:pt modelId="{9D60A329-C5BA-407E-9A05-55A5FC2CC7ED}" type="pres">
      <dgm:prSet presAssocID="{F03DB7EC-094A-4FC1-91DE-28DBD3E4BDA5}" presName="anchor1" presStyleCnt="0"/>
      <dgm:spPr/>
    </dgm:pt>
    <dgm:pt modelId="{D48A82E6-062F-4569-A0DD-8B2AB62B83A1}" type="pres">
      <dgm:prSet presAssocID="{F03DB7EC-094A-4FC1-91DE-28DBD3E4BDA5}" presName="backup1" presStyleCnt="0"/>
      <dgm:spPr/>
    </dgm:pt>
    <dgm:pt modelId="{5F79CF11-7990-4C43-8F71-7D4EE2A8B480}" type="pres">
      <dgm:prSet presAssocID="{F03DB7EC-094A-4FC1-91DE-28DBD3E4BDA5}" presName="preLine1" presStyleLbl="parChTrans1D1" presStyleIdx="6" presStyleCnt="32"/>
      <dgm:spPr/>
    </dgm:pt>
    <dgm:pt modelId="{35A3D9D0-59FB-492C-A2EB-B724D0ED8FAF}" type="pres">
      <dgm:prSet presAssocID="{F03DB7EC-094A-4FC1-91DE-28DBD3E4BDA5}" presName="desTx1" presStyleLbl="revTx" presStyleIdx="0" presStyleCnt="0">
        <dgm:presLayoutVars>
          <dgm:bulletEnabled val="1"/>
        </dgm:presLayoutVars>
      </dgm:prSet>
      <dgm:spPr/>
      <dgm:t>
        <a:bodyPr/>
        <a:lstStyle/>
        <a:p>
          <a:endParaRPr lang="zh-CN" altLang="en-US"/>
        </a:p>
      </dgm:t>
    </dgm:pt>
    <dgm:pt modelId="{C8297EC1-9A20-42A9-AF11-65F3B0A514C5}" type="pres">
      <dgm:prSet presAssocID="{F03DB7EC-094A-4FC1-91DE-28DBD3E4BDA5}" presName="postLine1" presStyleLbl="parChTrans1D1" presStyleIdx="7" presStyleCnt="32"/>
      <dgm:spPr/>
    </dgm:pt>
    <dgm:pt modelId="{72179D18-2C83-472F-8EFD-65CA0DC82E61}" type="pres">
      <dgm:prSet presAssocID="{641550FF-DCF9-4AA0-8C25-455EECD6CF84}" presName="Name11" presStyleLbl="parChTrans1D1" presStyleIdx="8" presStyleCnt="32"/>
      <dgm:spPr/>
    </dgm:pt>
    <dgm:pt modelId="{6030EB5C-B687-4D72-A401-805C13CDA539}" type="pres">
      <dgm:prSet presAssocID="{641550FF-DCF9-4AA0-8C25-455EECD6CF84}" presName="Name31" presStyleLbl="parChTrans1D1" presStyleIdx="9" presStyleCnt="32"/>
      <dgm:spPr/>
    </dgm:pt>
    <dgm:pt modelId="{387C9ADB-98CB-4021-A500-22A128DD6D48}" type="pres">
      <dgm:prSet presAssocID="{69D3DD40-3419-4A27-8732-D7949E2E28EF}" presName="txAndLines1" presStyleCnt="0"/>
      <dgm:spPr/>
    </dgm:pt>
    <dgm:pt modelId="{56C1E6CC-D90D-4FF8-ABEA-C768A0134F51}" type="pres">
      <dgm:prSet presAssocID="{69D3DD40-3419-4A27-8732-D7949E2E28EF}" presName="anchor1" presStyleCnt="0"/>
      <dgm:spPr/>
    </dgm:pt>
    <dgm:pt modelId="{A73936DD-18D0-4684-A16E-CE9BA7D89A25}" type="pres">
      <dgm:prSet presAssocID="{69D3DD40-3419-4A27-8732-D7949E2E28EF}" presName="backup1" presStyleCnt="0"/>
      <dgm:spPr/>
    </dgm:pt>
    <dgm:pt modelId="{A8E47495-675F-4CAE-AB83-A03A3F2C22BE}" type="pres">
      <dgm:prSet presAssocID="{69D3DD40-3419-4A27-8732-D7949E2E28EF}" presName="preLine1" presStyleLbl="parChTrans1D1" presStyleIdx="10" presStyleCnt="32"/>
      <dgm:spPr/>
    </dgm:pt>
    <dgm:pt modelId="{E7D11117-42AA-49CB-82F3-8E9381D5CFC2}" type="pres">
      <dgm:prSet presAssocID="{69D3DD40-3419-4A27-8732-D7949E2E28EF}" presName="desTx1" presStyleLbl="revTx" presStyleIdx="0" presStyleCnt="0">
        <dgm:presLayoutVars>
          <dgm:bulletEnabled val="1"/>
        </dgm:presLayoutVars>
      </dgm:prSet>
      <dgm:spPr/>
      <dgm:t>
        <a:bodyPr/>
        <a:lstStyle/>
        <a:p>
          <a:endParaRPr lang="zh-CN" altLang="en-US"/>
        </a:p>
      </dgm:t>
    </dgm:pt>
    <dgm:pt modelId="{01CAA824-9153-4652-882C-6003E11A9CCB}" type="pres">
      <dgm:prSet presAssocID="{69D3DD40-3419-4A27-8732-D7949E2E28EF}" presName="postLine1" presStyleLbl="parChTrans1D1" presStyleIdx="11" presStyleCnt="32"/>
      <dgm:spPr/>
    </dgm:pt>
    <dgm:pt modelId="{1021019A-D243-4B43-A917-F9EF0C0D4DE0}" type="pres">
      <dgm:prSet presAssocID="{E8FD089F-2991-4CB9-8139-AD5DC5E5A415}" presName="Name11" presStyleLbl="parChTrans1D1" presStyleIdx="12" presStyleCnt="32"/>
      <dgm:spPr/>
    </dgm:pt>
    <dgm:pt modelId="{9C28B74A-4CC5-4A09-BCD8-1A46A2F3709B}" type="pres">
      <dgm:prSet presAssocID="{E8FD089F-2991-4CB9-8139-AD5DC5E5A415}" presName="Name31" presStyleLbl="parChTrans1D1" presStyleIdx="13" presStyleCnt="32"/>
      <dgm:spPr/>
    </dgm:pt>
    <dgm:pt modelId="{0B479BFF-2690-40AF-918F-F2E4E1E42C3D}" type="pres">
      <dgm:prSet presAssocID="{92E6A1E3-AEFB-4378-8632-EE55EECA7384}" presName="txAndLines1" presStyleCnt="0"/>
      <dgm:spPr/>
    </dgm:pt>
    <dgm:pt modelId="{B1D70280-A38E-4E35-BD37-0F375021A58B}" type="pres">
      <dgm:prSet presAssocID="{92E6A1E3-AEFB-4378-8632-EE55EECA7384}" presName="anchor1" presStyleCnt="0"/>
      <dgm:spPr/>
    </dgm:pt>
    <dgm:pt modelId="{B0326535-DD9A-4DCA-8965-597501997AA5}" type="pres">
      <dgm:prSet presAssocID="{92E6A1E3-AEFB-4378-8632-EE55EECA7384}" presName="backup1" presStyleCnt="0"/>
      <dgm:spPr/>
    </dgm:pt>
    <dgm:pt modelId="{6E607DF0-363D-42D5-87E2-0A05F196E564}" type="pres">
      <dgm:prSet presAssocID="{92E6A1E3-AEFB-4378-8632-EE55EECA7384}" presName="preLine1" presStyleLbl="parChTrans1D1" presStyleIdx="14" presStyleCnt="32"/>
      <dgm:spPr/>
    </dgm:pt>
    <dgm:pt modelId="{9BE5B8B7-ED91-43AC-A947-4B21A567A528}" type="pres">
      <dgm:prSet presAssocID="{92E6A1E3-AEFB-4378-8632-EE55EECA7384}" presName="desTx1" presStyleLbl="revTx" presStyleIdx="0" presStyleCnt="0">
        <dgm:presLayoutVars>
          <dgm:bulletEnabled val="1"/>
        </dgm:presLayoutVars>
      </dgm:prSet>
      <dgm:spPr/>
      <dgm:t>
        <a:bodyPr/>
        <a:lstStyle/>
        <a:p>
          <a:endParaRPr lang="zh-CN" altLang="en-US"/>
        </a:p>
      </dgm:t>
    </dgm:pt>
    <dgm:pt modelId="{8446AFEC-3EDA-4625-B990-C0BA4C3A7AD9}" type="pres">
      <dgm:prSet presAssocID="{92E6A1E3-AEFB-4378-8632-EE55EECA7384}" presName="postLine1" presStyleLbl="parChTrans1D1" presStyleIdx="15" presStyleCnt="32"/>
      <dgm:spPr/>
    </dgm:pt>
    <dgm:pt modelId="{016CE43F-CB40-4D31-94F3-A78C7AF8C622}" type="pres">
      <dgm:prSet presAssocID="{E830C7BB-7C76-402F-8970-DD05362D5F2A}" presName="Name11" presStyleLbl="parChTrans1D1" presStyleIdx="16" presStyleCnt="32"/>
      <dgm:spPr/>
    </dgm:pt>
    <dgm:pt modelId="{DF0D0DF2-3C43-47FD-9EA4-0ABA4E664AD7}" type="pres">
      <dgm:prSet presAssocID="{E830C7BB-7C76-402F-8970-DD05362D5F2A}" presName="Name31" presStyleLbl="parChTrans1D1" presStyleIdx="17" presStyleCnt="32"/>
      <dgm:spPr/>
    </dgm:pt>
    <dgm:pt modelId="{B9B18705-AA63-469F-952B-22BB316ADF2E}" type="pres">
      <dgm:prSet presAssocID="{96233C4C-1BEB-4538-9D33-6FFF6307D837}" presName="txAndLines1" presStyleCnt="0"/>
      <dgm:spPr/>
    </dgm:pt>
    <dgm:pt modelId="{EF592E63-E0A5-4E6A-AEE6-79C9A1978E1B}" type="pres">
      <dgm:prSet presAssocID="{96233C4C-1BEB-4538-9D33-6FFF6307D837}" presName="anchor1" presStyleCnt="0"/>
      <dgm:spPr/>
    </dgm:pt>
    <dgm:pt modelId="{FFA1D856-56B9-40E6-9C1A-B77103B57D4D}" type="pres">
      <dgm:prSet presAssocID="{96233C4C-1BEB-4538-9D33-6FFF6307D837}" presName="backup1" presStyleCnt="0"/>
      <dgm:spPr/>
    </dgm:pt>
    <dgm:pt modelId="{DD0BF52A-D429-4BC9-BD99-704DF5B481E7}" type="pres">
      <dgm:prSet presAssocID="{96233C4C-1BEB-4538-9D33-6FFF6307D837}" presName="preLine1" presStyleLbl="parChTrans1D1" presStyleIdx="18" presStyleCnt="32"/>
      <dgm:spPr/>
    </dgm:pt>
    <dgm:pt modelId="{125A695C-DA70-44D6-9622-677DE41D3558}" type="pres">
      <dgm:prSet presAssocID="{96233C4C-1BEB-4538-9D33-6FFF6307D837}" presName="desTx1" presStyleLbl="revTx" presStyleIdx="0" presStyleCnt="0">
        <dgm:presLayoutVars>
          <dgm:bulletEnabled val="1"/>
        </dgm:presLayoutVars>
      </dgm:prSet>
      <dgm:spPr/>
      <dgm:t>
        <a:bodyPr/>
        <a:lstStyle/>
        <a:p>
          <a:endParaRPr lang="zh-CN" altLang="en-US"/>
        </a:p>
      </dgm:t>
    </dgm:pt>
    <dgm:pt modelId="{D1022BB3-6892-40A5-AD7D-F10028431AEC}" type="pres">
      <dgm:prSet presAssocID="{96233C4C-1BEB-4538-9D33-6FFF6307D837}" presName="postLine1" presStyleLbl="parChTrans1D1" presStyleIdx="19" presStyleCnt="32"/>
      <dgm:spPr/>
    </dgm:pt>
    <dgm:pt modelId="{FC1D2C1A-0A77-48D6-9EE8-8444A7EA3464}" type="pres">
      <dgm:prSet presAssocID="{AF8AAD6E-B103-422A-ABFD-22CE6EE052D6}" presName="Name11" presStyleLbl="parChTrans1D1" presStyleIdx="20" presStyleCnt="32"/>
      <dgm:spPr/>
    </dgm:pt>
    <dgm:pt modelId="{978E6C9F-83A7-4C07-B675-4D9191339158}" type="pres">
      <dgm:prSet presAssocID="{AF8AAD6E-B103-422A-ABFD-22CE6EE052D6}" presName="Name31" presStyleLbl="parChTrans1D1" presStyleIdx="21" presStyleCnt="32"/>
      <dgm:spPr/>
    </dgm:pt>
    <dgm:pt modelId="{D20EB701-6D72-431A-B01A-D2E1ACDA46F6}" type="pres">
      <dgm:prSet presAssocID="{16219EA0-D2B9-4096-A42B-FE4598C31913}" presName="txAndLines1" presStyleCnt="0"/>
      <dgm:spPr/>
    </dgm:pt>
    <dgm:pt modelId="{63DFF97F-9D07-42C9-95F1-57E6F47C2D29}" type="pres">
      <dgm:prSet presAssocID="{16219EA0-D2B9-4096-A42B-FE4598C31913}" presName="anchor1" presStyleCnt="0"/>
      <dgm:spPr/>
    </dgm:pt>
    <dgm:pt modelId="{2B45C7C7-D2E6-4009-B7E3-8494612E7D0D}" type="pres">
      <dgm:prSet presAssocID="{16219EA0-D2B9-4096-A42B-FE4598C31913}" presName="backup1" presStyleCnt="0"/>
      <dgm:spPr/>
    </dgm:pt>
    <dgm:pt modelId="{877696C9-1687-4E78-8F60-44BE5952849C}" type="pres">
      <dgm:prSet presAssocID="{16219EA0-D2B9-4096-A42B-FE4598C31913}" presName="preLine1" presStyleLbl="parChTrans1D1" presStyleIdx="22" presStyleCnt="32"/>
      <dgm:spPr/>
    </dgm:pt>
    <dgm:pt modelId="{F7B3D18C-7B7A-47F2-8485-40F922D885BA}" type="pres">
      <dgm:prSet presAssocID="{16219EA0-D2B9-4096-A42B-FE4598C31913}" presName="desTx1" presStyleLbl="revTx" presStyleIdx="0" presStyleCnt="0">
        <dgm:presLayoutVars>
          <dgm:bulletEnabled val="1"/>
        </dgm:presLayoutVars>
      </dgm:prSet>
      <dgm:spPr/>
      <dgm:t>
        <a:bodyPr/>
        <a:lstStyle/>
        <a:p>
          <a:endParaRPr lang="zh-CN" altLang="en-US"/>
        </a:p>
      </dgm:t>
    </dgm:pt>
    <dgm:pt modelId="{FCBF7250-B1D3-40B3-9BAE-E399D3448EF6}" type="pres">
      <dgm:prSet presAssocID="{16219EA0-D2B9-4096-A42B-FE4598C31913}" presName="postLine1" presStyleLbl="parChTrans1D1" presStyleIdx="23" presStyleCnt="32"/>
      <dgm:spPr/>
    </dgm:pt>
    <dgm:pt modelId="{54DB97C3-91B1-4D1A-89C6-19FF6E874AA5}" type="pres">
      <dgm:prSet presAssocID="{9AA574CB-8BD6-4B60-9457-7F32A38BC259}" presName="spPost1" presStyleCnt="0"/>
      <dgm:spPr/>
    </dgm:pt>
    <dgm:pt modelId="{CC544145-7D43-4AA9-AF3E-B8E3A3D712D5}" type="pres">
      <dgm:prSet presAssocID="{A0FA7F8C-88A7-496B-B2BA-700D5248528A}" presName="parTx2" presStyleLbl="node1" presStyleIdx="1" presStyleCnt="2"/>
      <dgm:spPr/>
      <dgm:t>
        <a:bodyPr/>
        <a:lstStyle/>
        <a:p>
          <a:endParaRPr lang="zh-CN" altLang="en-US"/>
        </a:p>
      </dgm:t>
    </dgm:pt>
    <dgm:pt modelId="{D0CED6BC-34D0-4F7E-900E-EA675F481823}" type="pres">
      <dgm:prSet presAssocID="{A0FA7F8C-88A7-496B-B2BA-700D5248528A}" presName="spPre2" presStyleCnt="0"/>
      <dgm:spPr/>
    </dgm:pt>
    <dgm:pt modelId="{B45FAE89-01B8-4369-B126-CB985ED0FB64}" type="pres">
      <dgm:prSet presAssocID="{A0FA7F8C-88A7-496B-B2BA-700D5248528A}" presName="chLin2" presStyleCnt="0"/>
      <dgm:spPr/>
    </dgm:pt>
    <dgm:pt modelId="{DA184080-38EE-46C5-A87C-ABF072AF4FD6}" type="pres">
      <dgm:prSet presAssocID="{A954F4D4-9DEC-47A0-AA87-DC101EC8E44F}" presName="Name45" presStyleLbl="parChTrans1D1" presStyleIdx="24" presStyleCnt="32"/>
      <dgm:spPr/>
    </dgm:pt>
    <dgm:pt modelId="{6B10AD76-5F9A-43A0-93BC-394081E16246}" type="pres">
      <dgm:prSet presAssocID="{5F135EB0-C5B7-49F5-A44F-0CE31B0B17C5}" presName="txAndLines2" presStyleCnt="0"/>
      <dgm:spPr/>
    </dgm:pt>
    <dgm:pt modelId="{D6164B29-765D-4B57-8A98-3744BE6DC1BA}" type="pres">
      <dgm:prSet presAssocID="{5F135EB0-C5B7-49F5-A44F-0CE31B0B17C5}" presName="anchor2" presStyleCnt="0"/>
      <dgm:spPr/>
    </dgm:pt>
    <dgm:pt modelId="{1C37AB59-2D98-4B6A-9B24-AAD15C0E64C7}" type="pres">
      <dgm:prSet presAssocID="{5F135EB0-C5B7-49F5-A44F-0CE31B0B17C5}" presName="backup2" presStyleCnt="0"/>
      <dgm:spPr/>
    </dgm:pt>
    <dgm:pt modelId="{468DE467-CC9E-4FF7-B24F-8310795B7828}" type="pres">
      <dgm:prSet presAssocID="{5F135EB0-C5B7-49F5-A44F-0CE31B0B17C5}" presName="preLine2" presStyleLbl="parChTrans1D1" presStyleIdx="25" presStyleCnt="32"/>
      <dgm:spPr/>
    </dgm:pt>
    <dgm:pt modelId="{6C0E343C-59EF-4BB6-82FF-F0791753A465}" type="pres">
      <dgm:prSet presAssocID="{5F135EB0-C5B7-49F5-A44F-0CE31B0B17C5}" presName="desTx2" presStyleLbl="revTx" presStyleIdx="0" presStyleCnt="0">
        <dgm:presLayoutVars>
          <dgm:bulletEnabled val="1"/>
        </dgm:presLayoutVars>
      </dgm:prSet>
      <dgm:spPr/>
      <dgm:t>
        <a:bodyPr/>
        <a:lstStyle/>
        <a:p>
          <a:endParaRPr lang="zh-CN" altLang="en-US"/>
        </a:p>
      </dgm:t>
    </dgm:pt>
    <dgm:pt modelId="{19869159-5D69-4D73-806D-EFF017795A87}" type="pres">
      <dgm:prSet presAssocID="{0C33CF6F-6DEF-480D-8CFB-E971E0C35E43}" presName="Name45" presStyleLbl="parChTrans1D1" presStyleIdx="26" presStyleCnt="32"/>
      <dgm:spPr/>
    </dgm:pt>
    <dgm:pt modelId="{646D8D71-1243-4678-95E9-237453D449B3}" type="pres">
      <dgm:prSet presAssocID="{50F5C146-11B6-4AA1-8EC7-EFDF9378E4AB}" presName="txAndLines2" presStyleCnt="0"/>
      <dgm:spPr/>
    </dgm:pt>
    <dgm:pt modelId="{8F35C8BA-9484-4262-BC4A-923A8425BB81}" type="pres">
      <dgm:prSet presAssocID="{50F5C146-11B6-4AA1-8EC7-EFDF9378E4AB}" presName="anchor2" presStyleCnt="0"/>
      <dgm:spPr/>
    </dgm:pt>
    <dgm:pt modelId="{7E094065-0B95-4C01-9DAB-0FB198AE47C5}" type="pres">
      <dgm:prSet presAssocID="{50F5C146-11B6-4AA1-8EC7-EFDF9378E4AB}" presName="backup2" presStyleCnt="0"/>
      <dgm:spPr/>
    </dgm:pt>
    <dgm:pt modelId="{9E035A9A-AB02-40D3-8E66-E6B1580427E2}" type="pres">
      <dgm:prSet presAssocID="{50F5C146-11B6-4AA1-8EC7-EFDF9378E4AB}" presName="preLine2" presStyleLbl="parChTrans1D1" presStyleIdx="27" presStyleCnt="32"/>
      <dgm:spPr/>
    </dgm:pt>
    <dgm:pt modelId="{BB9D2D91-59E6-4D29-B5EF-6098868CA1FD}" type="pres">
      <dgm:prSet presAssocID="{50F5C146-11B6-4AA1-8EC7-EFDF9378E4AB}" presName="desTx2" presStyleLbl="revTx" presStyleIdx="0" presStyleCnt="0">
        <dgm:presLayoutVars>
          <dgm:bulletEnabled val="1"/>
        </dgm:presLayoutVars>
      </dgm:prSet>
      <dgm:spPr/>
      <dgm:t>
        <a:bodyPr/>
        <a:lstStyle/>
        <a:p>
          <a:endParaRPr lang="zh-CN" altLang="en-US"/>
        </a:p>
      </dgm:t>
    </dgm:pt>
    <dgm:pt modelId="{E84C4134-481D-4F48-9C94-D44F57F85799}" type="pres">
      <dgm:prSet presAssocID="{F895778E-ACBD-4495-8177-A98D4D3A2E71}" presName="Name45" presStyleLbl="parChTrans1D1" presStyleIdx="28" presStyleCnt="32"/>
      <dgm:spPr/>
    </dgm:pt>
    <dgm:pt modelId="{B2E21918-EEBC-4F24-8C12-07C001BEA08D}" type="pres">
      <dgm:prSet presAssocID="{116E5077-D891-4AC8-A516-687022FC0FF7}" presName="txAndLines2" presStyleCnt="0"/>
      <dgm:spPr/>
    </dgm:pt>
    <dgm:pt modelId="{EE67D47B-5DB0-45EF-A167-C9A85BE388EE}" type="pres">
      <dgm:prSet presAssocID="{116E5077-D891-4AC8-A516-687022FC0FF7}" presName="anchor2" presStyleCnt="0"/>
      <dgm:spPr/>
    </dgm:pt>
    <dgm:pt modelId="{31401A5D-7E7F-4034-8270-9456211BE0F8}" type="pres">
      <dgm:prSet presAssocID="{116E5077-D891-4AC8-A516-687022FC0FF7}" presName="backup2" presStyleCnt="0"/>
      <dgm:spPr/>
    </dgm:pt>
    <dgm:pt modelId="{9A89AD44-3536-4D81-93F6-5A7D68EF9859}" type="pres">
      <dgm:prSet presAssocID="{116E5077-D891-4AC8-A516-687022FC0FF7}" presName="preLine2" presStyleLbl="parChTrans1D1" presStyleIdx="29" presStyleCnt="32"/>
      <dgm:spPr/>
    </dgm:pt>
    <dgm:pt modelId="{8476F0E5-4497-416F-8BEF-88901B4D1E15}" type="pres">
      <dgm:prSet presAssocID="{116E5077-D891-4AC8-A516-687022FC0FF7}" presName="desTx2" presStyleLbl="revTx" presStyleIdx="0" presStyleCnt="0">
        <dgm:presLayoutVars>
          <dgm:bulletEnabled val="1"/>
        </dgm:presLayoutVars>
      </dgm:prSet>
      <dgm:spPr/>
      <dgm:t>
        <a:bodyPr/>
        <a:lstStyle/>
        <a:p>
          <a:endParaRPr lang="zh-CN" altLang="en-US"/>
        </a:p>
      </dgm:t>
    </dgm:pt>
    <dgm:pt modelId="{9F903AF2-2541-4345-9A27-DACABDD7E3F4}" type="pres">
      <dgm:prSet presAssocID="{4FB25A6D-B705-4A56-9E92-51FC5F319458}" presName="Name45" presStyleLbl="parChTrans1D1" presStyleIdx="30" presStyleCnt="32"/>
      <dgm:spPr/>
    </dgm:pt>
    <dgm:pt modelId="{63195F12-0F8A-4CA9-BD64-DFEDCAF7528C}" type="pres">
      <dgm:prSet presAssocID="{960FBC63-57C1-4AF8-AC3D-387435C512A8}" presName="txAndLines2" presStyleCnt="0"/>
      <dgm:spPr/>
    </dgm:pt>
    <dgm:pt modelId="{BCD2F0E4-DFA7-4F6C-9F98-645A5DD0F4FD}" type="pres">
      <dgm:prSet presAssocID="{960FBC63-57C1-4AF8-AC3D-387435C512A8}" presName="anchor2" presStyleCnt="0"/>
      <dgm:spPr/>
    </dgm:pt>
    <dgm:pt modelId="{601B2D90-CF92-4575-8CA9-0D98438B95F3}" type="pres">
      <dgm:prSet presAssocID="{960FBC63-57C1-4AF8-AC3D-387435C512A8}" presName="backup2" presStyleCnt="0"/>
      <dgm:spPr/>
    </dgm:pt>
    <dgm:pt modelId="{8A78A7AE-B959-40EE-9B3F-1E82F74FA82D}" type="pres">
      <dgm:prSet presAssocID="{960FBC63-57C1-4AF8-AC3D-387435C512A8}" presName="preLine2" presStyleLbl="parChTrans1D1" presStyleIdx="31" presStyleCnt="32"/>
      <dgm:spPr/>
    </dgm:pt>
    <dgm:pt modelId="{E4C4727D-AABE-4A65-BB4D-D9FE7F737D06}" type="pres">
      <dgm:prSet presAssocID="{960FBC63-57C1-4AF8-AC3D-387435C512A8}" presName="desTx2" presStyleLbl="revTx" presStyleIdx="0" presStyleCnt="0">
        <dgm:presLayoutVars>
          <dgm:bulletEnabled val="1"/>
        </dgm:presLayoutVars>
      </dgm:prSet>
      <dgm:spPr/>
      <dgm:t>
        <a:bodyPr/>
        <a:lstStyle/>
        <a:p>
          <a:endParaRPr lang="zh-CN" altLang="en-US"/>
        </a:p>
      </dgm:t>
    </dgm:pt>
  </dgm:ptLst>
  <dgm:cxnLst>
    <dgm:cxn modelId="{9AD39129-8540-4E98-8A98-2D2F542E5BBF}" srcId="{A0FA7F8C-88A7-496B-B2BA-700D5248528A}" destId="{5F135EB0-C5B7-49F5-A44F-0CE31B0B17C5}" srcOrd="0" destOrd="0" parTransId="{A954F4D4-9DEC-47A0-AA87-DC101EC8E44F}" sibTransId="{6091CBEC-A9F8-4EBF-BAC3-B07ABA8F38BD}"/>
    <dgm:cxn modelId="{42F333F3-B841-4025-BCA8-71361A71B31B}" type="presOf" srcId="{96233C4C-1BEB-4538-9D33-6FFF6307D837}" destId="{125A695C-DA70-44D6-9622-677DE41D3558}" srcOrd="0" destOrd="0" presId="urn:microsoft.com/office/officeart/2009/3/layout/SubStepProcess"/>
    <dgm:cxn modelId="{5AF49F18-2CAE-40D7-9602-E09F15AEC6B0}" srcId="{9AA574CB-8BD6-4B60-9457-7F32A38BC259}" destId="{96233C4C-1BEB-4538-9D33-6FFF6307D837}" srcOrd="4" destOrd="0" parTransId="{E830C7BB-7C76-402F-8970-DD05362D5F2A}" sibTransId="{E3C2B9B9-47B1-4A1E-8FCF-8BD185A68BFE}"/>
    <dgm:cxn modelId="{292682B8-09EE-4044-9178-7F0AE6C170FC}" type="presOf" srcId="{92E6A1E3-AEFB-4378-8632-EE55EECA7384}" destId="{9BE5B8B7-ED91-43AC-A947-4B21A567A528}" srcOrd="0" destOrd="0" presId="urn:microsoft.com/office/officeart/2009/3/layout/SubStepProcess"/>
    <dgm:cxn modelId="{F4C4C48D-C712-4FA1-8378-87CE46F9DF8D}" srcId="{A0FA7F8C-88A7-496B-B2BA-700D5248528A}" destId="{50F5C146-11B6-4AA1-8EC7-EFDF9378E4AB}" srcOrd="1" destOrd="0" parTransId="{0C33CF6F-6DEF-480D-8CFB-E971E0C35E43}" sibTransId="{CA6852A1-857A-4F13-BFCA-B165A9B5F7F3}"/>
    <dgm:cxn modelId="{13A6B0B2-0B08-4EC8-83E6-FDC478E42460}" type="presOf" srcId="{FD6B28E6-35E2-4CB6-ABBB-DBBECE808BAD}" destId="{71B3F7F3-93C6-4167-A5BF-E9FB60AE8FD1}" srcOrd="0" destOrd="0" presId="urn:microsoft.com/office/officeart/2009/3/layout/SubStepProcess"/>
    <dgm:cxn modelId="{8552FF89-DA62-46A6-9E3C-6949B386F8FB}" type="presOf" srcId="{960FBC63-57C1-4AF8-AC3D-387435C512A8}" destId="{E4C4727D-AABE-4A65-BB4D-D9FE7F737D06}" srcOrd="0" destOrd="0" presId="urn:microsoft.com/office/officeart/2009/3/layout/SubStepProcess"/>
    <dgm:cxn modelId="{4432F30D-D036-4309-A670-BB61199A5A7B}" srcId="{A0FA7F8C-88A7-496B-B2BA-700D5248528A}" destId="{116E5077-D891-4AC8-A516-687022FC0FF7}" srcOrd="2" destOrd="0" parTransId="{F895778E-ACBD-4495-8177-A98D4D3A2E71}" sibTransId="{1D973918-16AE-4863-AF8C-2FE0BF615107}"/>
    <dgm:cxn modelId="{D9E1F066-EC48-4F3E-8E21-2FA1CBA37F89}" type="presOf" srcId="{5F135EB0-C5B7-49F5-A44F-0CE31B0B17C5}" destId="{6C0E343C-59EF-4BB6-82FF-F0791753A465}" srcOrd="0" destOrd="0" presId="urn:microsoft.com/office/officeart/2009/3/layout/SubStepProcess"/>
    <dgm:cxn modelId="{B508C67D-6604-4C8E-AE3D-0C24E02E2117}" srcId="{9AA574CB-8BD6-4B60-9457-7F32A38BC259}" destId="{FD6B28E6-35E2-4CB6-ABBB-DBBECE808BAD}" srcOrd="0" destOrd="0" parTransId="{1ECC388B-8232-4256-BED3-C7F7CC058BC2}" sibTransId="{661B617C-4515-4507-8984-0AE5D70709EF}"/>
    <dgm:cxn modelId="{0C6913AB-693B-42D4-A102-4F70210FCC97}" type="presOf" srcId="{116E5077-D891-4AC8-A516-687022FC0FF7}" destId="{8476F0E5-4497-416F-8BEF-88901B4D1E15}" srcOrd="0" destOrd="0" presId="urn:microsoft.com/office/officeart/2009/3/layout/SubStepProcess"/>
    <dgm:cxn modelId="{68A1BE54-0AE9-434F-81E3-BB1872CD7A39}" type="presOf" srcId="{50F5C146-11B6-4AA1-8EC7-EFDF9378E4AB}" destId="{BB9D2D91-59E6-4D29-B5EF-6098868CA1FD}" srcOrd="0" destOrd="0" presId="urn:microsoft.com/office/officeart/2009/3/layout/SubStepProcess"/>
    <dgm:cxn modelId="{4FAA4EAB-B669-4AAC-B9AD-963057D0ABA4}" type="presOf" srcId="{69D3DD40-3419-4A27-8732-D7949E2E28EF}" destId="{E7D11117-42AA-49CB-82F3-8E9381D5CFC2}" srcOrd="0" destOrd="0" presId="urn:microsoft.com/office/officeart/2009/3/layout/SubStepProcess"/>
    <dgm:cxn modelId="{336D1841-37E6-48F7-B49B-FCD36B130F95}" srcId="{9AA574CB-8BD6-4B60-9457-7F32A38BC259}" destId="{F03DB7EC-094A-4FC1-91DE-28DBD3E4BDA5}" srcOrd="1" destOrd="0" parTransId="{F4E44745-DC18-4BFB-9E29-ACCD4E12125A}" sibTransId="{47D9BAE8-FF4F-4369-9BAF-FC6A2DADEE1D}"/>
    <dgm:cxn modelId="{A3639D38-BD0E-4E75-8C5A-FD32AEF97BB3}" srcId="{48441239-A9AC-4A17-B1D9-D544A2DF50FA}" destId="{9AA574CB-8BD6-4B60-9457-7F32A38BC259}" srcOrd="0" destOrd="0" parTransId="{3D6FB2E1-2607-406D-8CE4-3F72C4E2BA7C}" sibTransId="{4A652E1D-2EE7-4BC2-8CB9-E0474E09EDEF}"/>
    <dgm:cxn modelId="{CAD885C7-0B60-43F3-A31E-56763F4C4195}" type="presOf" srcId="{16219EA0-D2B9-4096-A42B-FE4598C31913}" destId="{F7B3D18C-7B7A-47F2-8485-40F922D885BA}" srcOrd="0" destOrd="0" presId="urn:microsoft.com/office/officeart/2009/3/layout/SubStepProcess"/>
    <dgm:cxn modelId="{0E42B37E-23C6-46E1-B7DA-532549C3CD3C}" srcId="{9AA574CB-8BD6-4B60-9457-7F32A38BC259}" destId="{16219EA0-D2B9-4096-A42B-FE4598C31913}" srcOrd="5" destOrd="0" parTransId="{AF8AAD6E-B103-422A-ABFD-22CE6EE052D6}" sibTransId="{BF7E7DD3-4E6E-45A4-9B71-26988027ABE5}"/>
    <dgm:cxn modelId="{45782E16-B4BD-4560-967A-E75C9092F80A}" type="presOf" srcId="{F03DB7EC-094A-4FC1-91DE-28DBD3E4BDA5}" destId="{35A3D9D0-59FB-492C-A2EB-B724D0ED8FAF}" srcOrd="0" destOrd="0" presId="urn:microsoft.com/office/officeart/2009/3/layout/SubStepProcess"/>
    <dgm:cxn modelId="{6E6F80BE-C716-46CE-8F41-3FE3C7453CB4}" srcId="{A0FA7F8C-88A7-496B-B2BA-700D5248528A}" destId="{960FBC63-57C1-4AF8-AC3D-387435C512A8}" srcOrd="3" destOrd="0" parTransId="{4FB25A6D-B705-4A56-9E92-51FC5F319458}" sibTransId="{7236EEE3-3E77-48C1-8BCC-E8C39678AAFC}"/>
    <dgm:cxn modelId="{645878A0-0A34-49ED-A5DD-C6AAD04F50C2}" srcId="{48441239-A9AC-4A17-B1D9-D544A2DF50FA}" destId="{A0FA7F8C-88A7-496B-B2BA-700D5248528A}" srcOrd="1" destOrd="0" parTransId="{131EFBCF-9ED0-48D6-B272-5BCF514521BC}" sibTransId="{5063CD2D-E62E-4619-851F-AE5C2DCBA949}"/>
    <dgm:cxn modelId="{45BADF30-7D35-420A-AFE8-7E6AF326A345}" type="presOf" srcId="{48441239-A9AC-4A17-B1D9-D544A2DF50FA}" destId="{8EBA1B9F-4BD7-4330-AC05-DE4AABF676BB}" srcOrd="0" destOrd="0" presId="urn:microsoft.com/office/officeart/2009/3/layout/SubStepProcess"/>
    <dgm:cxn modelId="{CB08D112-CBAB-4774-8865-7D22BA8480AF}" type="presOf" srcId="{9AA574CB-8BD6-4B60-9457-7F32A38BC259}" destId="{F2B8CC0C-4BAB-433E-9C0D-859B89A55943}" srcOrd="0" destOrd="0" presId="urn:microsoft.com/office/officeart/2009/3/layout/SubStepProcess"/>
    <dgm:cxn modelId="{1FA93C7C-2F0E-4254-A5CC-F4ED972F54D9}" srcId="{9AA574CB-8BD6-4B60-9457-7F32A38BC259}" destId="{69D3DD40-3419-4A27-8732-D7949E2E28EF}" srcOrd="2" destOrd="0" parTransId="{641550FF-DCF9-4AA0-8C25-455EECD6CF84}" sibTransId="{D0F7A517-6E9C-4D17-BB35-FABD11865F0C}"/>
    <dgm:cxn modelId="{0DC3A8DC-6B62-4B50-8911-BE98C8827A0C}" srcId="{9AA574CB-8BD6-4B60-9457-7F32A38BC259}" destId="{92E6A1E3-AEFB-4378-8632-EE55EECA7384}" srcOrd="3" destOrd="0" parTransId="{E8FD089F-2991-4CB9-8139-AD5DC5E5A415}" sibTransId="{2C8DD342-53F9-46CF-96D9-904E0EB247FB}"/>
    <dgm:cxn modelId="{451EBF7B-6053-4BE0-8228-1EC776EAE3D9}" type="presOf" srcId="{A0FA7F8C-88A7-496B-B2BA-700D5248528A}" destId="{CC544145-7D43-4AA9-AF3E-B8E3A3D712D5}" srcOrd="0" destOrd="0" presId="urn:microsoft.com/office/officeart/2009/3/layout/SubStepProcess"/>
    <dgm:cxn modelId="{8DA13718-5631-489E-AECA-ACFD16CF2D61}" type="presParOf" srcId="{8EBA1B9F-4BD7-4330-AC05-DE4AABF676BB}" destId="{F2B8CC0C-4BAB-433E-9C0D-859B89A55943}" srcOrd="0" destOrd="0" presId="urn:microsoft.com/office/officeart/2009/3/layout/SubStepProcess"/>
    <dgm:cxn modelId="{662B98F9-773F-4CD5-88A7-33DD0BD7D56A}" type="presParOf" srcId="{8EBA1B9F-4BD7-4330-AC05-DE4AABF676BB}" destId="{499F60E1-1548-4621-BDF2-D6765242C059}" srcOrd="1" destOrd="0" presId="urn:microsoft.com/office/officeart/2009/3/layout/SubStepProcess"/>
    <dgm:cxn modelId="{A9C9EA3E-540C-4481-8AD2-37C7D339D5F0}" type="presParOf" srcId="{8EBA1B9F-4BD7-4330-AC05-DE4AABF676BB}" destId="{D5558784-69AE-47A6-8454-A7116A20F705}" srcOrd="2" destOrd="0" presId="urn:microsoft.com/office/officeart/2009/3/layout/SubStepProcess"/>
    <dgm:cxn modelId="{03A30287-3CA2-4A31-88CF-232380275A74}" type="presParOf" srcId="{D5558784-69AE-47A6-8454-A7116A20F705}" destId="{AFA45A0C-EA29-4ABB-BF49-5831EBCC5B7D}" srcOrd="0" destOrd="0" presId="urn:microsoft.com/office/officeart/2009/3/layout/SubStepProcess"/>
    <dgm:cxn modelId="{F32CE28D-7B28-4004-957D-B74820F697C5}" type="presParOf" srcId="{D5558784-69AE-47A6-8454-A7116A20F705}" destId="{3912D361-63AB-4F26-982D-D3BDAB42F9E3}" srcOrd="1" destOrd="0" presId="urn:microsoft.com/office/officeart/2009/3/layout/SubStepProcess"/>
    <dgm:cxn modelId="{3E196A2A-7BD3-48FC-9511-FC419D7C03FA}" type="presParOf" srcId="{D5558784-69AE-47A6-8454-A7116A20F705}" destId="{71A3EBD6-20E1-4760-81E7-C7E527A32D27}" srcOrd="2" destOrd="0" presId="urn:microsoft.com/office/officeart/2009/3/layout/SubStepProcess"/>
    <dgm:cxn modelId="{75945103-B0EB-4836-B416-985B0FE12F7F}" type="presParOf" srcId="{71A3EBD6-20E1-4760-81E7-C7E527A32D27}" destId="{751F95A2-1B2F-454D-BE8B-8BCAB68FD45A}" srcOrd="0" destOrd="0" presId="urn:microsoft.com/office/officeart/2009/3/layout/SubStepProcess"/>
    <dgm:cxn modelId="{8A580891-ED89-4084-ADA0-74550C319622}" type="presParOf" srcId="{71A3EBD6-20E1-4760-81E7-C7E527A32D27}" destId="{C395C025-1394-4C29-A781-B48F429667FF}" srcOrd="1" destOrd="0" presId="urn:microsoft.com/office/officeart/2009/3/layout/SubStepProcess"/>
    <dgm:cxn modelId="{2D162069-0623-4D53-9A9E-C24348C5C118}" type="presParOf" srcId="{71A3EBD6-20E1-4760-81E7-C7E527A32D27}" destId="{8D25E663-CB94-4B4E-B93E-8698F1D93126}" srcOrd="2" destOrd="0" presId="urn:microsoft.com/office/officeart/2009/3/layout/SubStepProcess"/>
    <dgm:cxn modelId="{C22D0826-FB82-403B-95FF-2B3B6A43F333}" type="presParOf" srcId="{71A3EBD6-20E1-4760-81E7-C7E527A32D27}" destId="{71B3F7F3-93C6-4167-A5BF-E9FB60AE8FD1}" srcOrd="3" destOrd="0" presId="urn:microsoft.com/office/officeart/2009/3/layout/SubStepProcess"/>
    <dgm:cxn modelId="{4DA46211-F8EA-463C-BDC3-8C2EC64085B8}" type="presParOf" srcId="{71A3EBD6-20E1-4760-81E7-C7E527A32D27}" destId="{32911B3C-36BB-4AC3-8A04-3AB024253A6F}" srcOrd="4" destOrd="0" presId="urn:microsoft.com/office/officeart/2009/3/layout/SubStepProcess"/>
    <dgm:cxn modelId="{199FBD59-6AA5-4681-B6F4-92158AB514AC}" type="presParOf" srcId="{D5558784-69AE-47A6-8454-A7116A20F705}" destId="{67E65136-ECA1-465D-B829-43D9A7405F83}" srcOrd="3" destOrd="0" presId="urn:microsoft.com/office/officeart/2009/3/layout/SubStepProcess"/>
    <dgm:cxn modelId="{1CD46B37-8936-4712-8234-4575898CFDE2}" type="presParOf" srcId="{D5558784-69AE-47A6-8454-A7116A20F705}" destId="{463EAC93-B927-4B03-BC6F-D81DDC495075}" srcOrd="4" destOrd="0" presId="urn:microsoft.com/office/officeart/2009/3/layout/SubStepProcess"/>
    <dgm:cxn modelId="{CB58461B-2AD6-4E44-9DE1-CB19983386E7}" type="presParOf" srcId="{D5558784-69AE-47A6-8454-A7116A20F705}" destId="{8FECDBF2-C23E-4CA9-9099-98CBFE15F74F}" srcOrd="5" destOrd="0" presId="urn:microsoft.com/office/officeart/2009/3/layout/SubStepProcess"/>
    <dgm:cxn modelId="{21DABF31-DDAF-4EEB-8B51-38C7B5F61804}" type="presParOf" srcId="{8FECDBF2-C23E-4CA9-9099-98CBFE15F74F}" destId="{9D60A329-C5BA-407E-9A05-55A5FC2CC7ED}" srcOrd="0" destOrd="0" presId="urn:microsoft.com/office/officeart/2009/3/layout/SubStepProcess"/>
    <dgm:cxn modelId="{99F28FE2-C2F0-45BE-B642-C0DF2DE6F864}" type="presParOf" srcId="{8FECDBF2-C23E-4CA9-9099-98CBFE15F74F}" destId="{D48A82E6-062F-4569-A0DD-8B2AB62B83A1}" srcOrd="1" destOrd="0" presId="urn:microsoft.com/office/officeart/2009/3/layout/SubStepProcess"/>
    <dgm:cxn modelId="{F5F1D3D7-E28D-4DFF-BEBF-C5E1E7B4F2DA}" type="presParOf" srcId="{8FECDBF2-C23E-4CA9-9099-98CBFE15F74F}" destId="{5F79CF11-7990-4C43-8F71-7D4EE2A8B480}" srcOrd="2" destOrd="0" presId="urn:microsoft.com/office/officeart/2009/3/layout/SubStepProcess"/>
    <dgm:cxn modelId="{607486EB-2E25-4DB9-AE14-709000A9F3CF}" type="presParOf" srcId="{8FECDBF2-C23E-4CA9-9099-98CBFE15F74F}" destId="{35A3D9D0-59FB-492C-A2EB-B724D0ED8FAF}" srcOrd="3" destOrd="0" presId="urn:microsoft.com/office/officeart/2009/3/layout/SubStepProcess"/>
    <dgm:cxn modelId="{6227E0A5-C9FF-44BA-8665-1FF54ADD9C93}" type="presParOf" srcId="{8FECDBF2-C23E-4CA9-9099-98CBFE15F74F}" destId="{C8297EC1-9A20-42A9-AF11-65F3B0A514C5}" srcOrd="4" destOrd="0" presId="urn:microsoft.com/office/officeart/2009/3/layout/SubStepProcess"/>
    <dgm:cxn modelId="{521C5B5B-CA3B-423C-A59F-897D133F8AD7}" type="presParOf" srcId="{D5558784-69AE-47A6-8454-A7116A20F705}" destId="{72179D18-2C83-472F-8EFD-65CA0DC82E61}" srcOrd="6" destOrd="0" presId="urn:microsoft.com/office/officeart/2009/3/layout/SubStepProcess"/>
    <dgm:cxn modelId="{7EF84714-79B6-4B3B-AA06-83206040BD35}" type="presParOf" srcId="{D5558784-69AE-47A6-8454-A7116A20F705}" destId="{6030EB5C-B687-4D72-A401-805C13CDA539}" srcOrd="7" destOrd="0" presId="urn:microsoft.com/office/officeart/2009/3/layout/SubStepProcess"/>
    <dgm:cxn modelId="{A55C12B7-DF7F-4BFD-9E94-D149ADD5BD40}" type="presParOf" srcId="{D5558784-69AE-47A6-8454-A7116A20F705}" destId="{387C9ADB-98CB-4021-A500-22A128DD6D48}" srcOrd="8" destOrd="0" presId="urn:microsoft.com/office/officeart/2009/3/layout/SubStepProcess"/>
    <dgm:cxn modelId="{166633A8-5793-45BA-85E3-B89E1E32372F}" type="presParOf" srcId="{387C9ADB-98CB-4021-A500-22A128DD6D48}" destId="{56C1E6CC-D90D-4FF8-ABEA-C768A0134F51}" srcOrd="0" destOrd="0" presId="urn:microsoft.com/office/officeart/2009/3/layout/SubStepProcess"/>
    <dgm:cxn modelId="{BE1BBEDD-820F-4A72-BB2F-A56C76F97C3D}" type="presParOf" srcId="{387C9ADB-98CB-4021-A500-22A128DD6D48}" destId="{A73936DD-18D0-4684-A16E-CE9BA7D89A25}" srcOrd="1" destOrd="0" presId="urn:microsoft.com/office/officeart/2009/3/layout/SubStepProcess"/>
    <dgm:cxn modelId="{2D3ADE7D-6C29-4F03-837A-3EECC4B9F9E6}" type="presParOf" srcId="{387C9ADB-98CB-4021-A500-22A128DD6D48}" destId="{A8E47495-675F-4CAE-AB83-A03A3F2C22BE}" srcOrd="2" destOrd="0" presId="urn:microsoft.com/office/officeart/2009/3/layout/SubStepProcess"/>
    <dgm:cxn modelId="{5F2F63B9-83AD-407F-B634-2708010C3D0D}" type="presParOf" srcId="{387C9ADB-98CB-4021-A500-22A128DD6D48}" destId="{E7D11117-42AA-49CB-82F3-8E9381D5CFC2}" srcOrd="3" destOrd="0" presId="urn:microsoft.com/office/officeart/2009/3/layout/SubStepProcess"/>
    <dgm:cxn modelId="{87960B30-4FC2-46E2-92A1-0F03B63E99D9}" type="presParOf" srcId="{387C9ADB-98CB-4021-A500-22A128DD6D48}" destId="{01CAA824-9153-4652-882C-6003E11A9CCB}" srcOrd="4" destOrd="0" presId="urn:microsoft.com/office/officeart/2009/3/layout/SubStepProcess"/>
    <dgm:cxn modelId="{631BED1D-C0A2-43BF-A395-291717C28510}" type="presParOf" srcId="{D5558784-69AE-47A6-8454-A7116A20F705}" destId="{1021019A-D243-4B43-A917-F9EF0C0D4DE0}" srcOrd="9" destOrd="0" presId="urn:microsoft.com/office/officeart/2009/3/layout/SubStepProcess"/>
    <dgm:cxn modelId="{70FFB376-A066-47C6-B6F0-2EB9916683FA}" type="presParOf" srcId="{D5558784-69AE-47A6-8454-A7116A20F705}" destId="{9C28B74A-4CC5-4A09-BCD8-1A46A2F3709B}" srcOrd="10" destOrd="0" presId="urn:microsoft.com/office/officeart/2009/3/layout/SubStepProcess"/>
    <dgm:cxn modelId="{8284BCCE-E8B7-48F4-B2A5-6E4C8543472D}" type="presParOf" srcId="{D5558784-69AE-47A6-8454-A7116A20F705}" destId="{0B479BFF-2690-40AF-918F-F2E4E1E42C3D}" srcOrd="11" destOrd="0" presId="urn:microsoft.com/office/officeart/2009/3/layout/SubStepProcess"/>
    <dgm:cxn modelId="{FDEAF403-4BF8-4E2A-9EA2-244D1F67B25F}" type="presParOf" srcId="{0B479BFF-2690-40AF-918F-F2E4E1E42C3D}" destId="{B1D70280-A38E-4E35-BD37-0F375021A58B}" srcOrd="0" destOrd="0" presId="urn:microsoft.com/office/officeart/2009/3/layout/SubStepProcess"/>
    <dgm:cxn modelId="{4E3334B1-4A26-4BB4-9DEB-8B4158EAB41C}" type="presParOf" srcId="{0B479BFF-2690-40AF-918F-F2E4E1E42C3D}" destId="{B0326535-DD9A-4DCA-8965-597501997AA5}" srcOrd="1" destOrd="0" presId="urn:microsoft.com/office/officeart/2009/3/layout/SubStepProcess"/>
    <dgm:cxn modelId="{5AED0452-3D76-4C5E-AFD0-2293F949A8E7}" type="presParOf" srcId="{0B479BFF-2690-40AF-918F-F2E4E1E42C3D}" destId="{6E607DF0-363D-42D5-87E2-0A05F196E564}" srcOrd="2" destOrd="0" presId="urn:microsoft.com/office/officeart/2009/3/layout/SubStepProcess"/>
    <dgm:cxn modelId="{D8F113E6-E35F-4DDA-9ECD-E06DC5D5D93B}" type="presParOf" srcId="{0B479BFF-2690-40AF-918F-F2E4E1E42C3D}" destId="{9BE5B8B7-ED91-43AC-A947-4B21A567A528}" srcOrd="3" destOrd="0" presId="urn:microsoft.com/office/officeart/2009/3/layout/SubStepProcess"/>
    <dgm:cxn modelId="{23C78C9E-B9EE-4628-B757-EB1D1AE5DF97}" type="presParOf" srcId="{0B479BFF-2690-40AF-918F-F2E4E1E42C3D}" destId="{8446AFEC-3EDA-4625-B990-C0BA4C3A7AD9}" srcOrd="4" destOrd="0" presId="urn:microsoft.com/office/officeart/2009/3/layout/SubStepProcess"/>
    <dgm:cxn modelId="{842B2EEF-FC87-451E-82CC-AC812ED4573D}" type="presParOf" srcId="{D5558784-69AE-47A6-8454-A7116A20F705}" destId="{016CE43F-CB40-4D31-94F3-A78C7AF8C622}" srcOrd="12" destOrd="0" presId="urn:microsoft.com/office/officeart/2009/3/layout/SubStepProcess"/>
    <dgm:cxn modelId="{0091F8A5-BE68-465F-9F46-2F066A161607}" type="presParOf" srcId="{D5558784-69AE-47A6-8454-A7116A20F705}" destId="{DF0D0DF2-3C43-47FD-9EA4-0ABA4E664AD7}" srcOrd="13" destOrd="0" presId="urn:microsoft.com/office/officeart/2009/3/layout/SubStepProcess"/>
    <dgm:cxn modelId="{63864BBD-E551-4ACD-92D1-92DC562765E8}" type="presParOf" srcId="{D5558784-69AE-47A6-8454-A7116A20F705}" destId="{B9B18705-AA63-469F-952B-22BB316ADF2E}" srcOrd="14" destOrd="0" presId="urn:microsoft.com/office/officeart/2009/3/layout/SubStepProcess"/>
    <dgm:cxn modelId="{CB4B7C06-B200-404C-91EB-722AF836021B}" type="presParOf" srcId="{B9B18705-AA63-469F-952B-22BB316ADF2E}" destId="{EF592E63-E0A5-4E6A-AEE6-79C9A1978E1B}" srcOrd="0" destOrd="0" presId="urn:microsoft.com/office/officeart/2009/3/layout/SubStepProcess"/>
    <dgm:cxn modelId="{CFA6CB4E-E9AA-41B9-B800-941571908D3A}" type="presParOf" srcId="{B9B18705-AA63-469F-952B-22BB316ADF2E}" destId="{FFA1D856-56B9-40E6-9C1A-B77103B57D4D}" srcOrd="1" destOrd="0" presId="urn:microsoft.com/office/officeart/2009/3/layout/SubStepProcess"/>
    <dgm:cxn modelId="{3A3D79A3-5608-4768-954F-2D9D41995899}" type="presParOf" srcId="{B9B18705-AA63-469F-952B-22BB316ADF2E}" destId="{DD0BF52A-D429-4BC9-BD99-704DF5B481E7}" srcOrd="2" destOrd="0" presId="urn:microsoft.com/office/officeart/2009/3/layout/SubStepProcess"/>
    <dgm:cxn modelId="{072CE4E1-8BB8-45DD-90D9-7F1200EC79A6}" type="presParOf" srcId="{B9B18705-AA63-469F-952B-22BB316ADF2E}" destId="{125A695C-DA70-44D6-9622-677DE41D3558}" srcOrd="3" destOrd="0" presId="urn:microsoft.com/office/officeart/2009/3/layout/SubStepProcess"/>
    <dgm:cxn modelId="{B78142C1-27B5-4B93-807A-B9E41A719FBD}" type="presParOf" srcId="{B9B18705-AA63-469F-952B-22BB316ADF2E}" destId="{D1022BB3-6892-40A5-AD7D-F10028431AEC}" srcOrd="4" destOrd="0" presId="urn:microsoft.com/office/officeart/2009/3/layout/SubStepProcess"/>
    <dgm:cxn modelId="{7C8A1547-237F-4A9B-A81D-01F63F095481}" type="presParOf" srcId="{D5558784-69AE-47A6-8454-A7116A20F705}" destId="{FC1D2C1A-0A77-48D6-9EE8-8444A7EA3464}" srcOrd="15" destOrd="0" presId="urn:microsoft.com/office/officeart/2009/3/layout/SubStepProcess"/>
    <dgm:cxn modelId="{EBCCEA5A-868D-4B71-A743-7A4B9AB2B817}" type="presParOf" srcId="{D5558784-69AE-47A6-8454-A7116A20F705}" destId="{978E6C9F-83A7-4C07-B675-4D9191339158}" srcOrd="16" destOrd="0" presId="urn:microsoft.com/office/officeart/2009/3/layout/SubStepProcess"/>
    <dgm:cxn modelId="{AF37FE63-ED61-4007-B615-86B512F8B584}" type="presParOf" srcId="{D5558784-69AE-47A6-8454-A7116A20F705}" destId="{D20EB701-6D72-431A-B01A-D2E1ACDA46F6}" srcOrd="17" destOrd="0" presId="urn:microsoft.com/office/officeart/2009/3/layout/SubStepProcess"/>
    <dgm:cxn modelId="{B269A1AA-0B8C-45A1-B39E-A2A3240064D0}" type="presParOf" srcId="{D20EB701-6D72-431A-B01A-D2E1ACDA46F6}" destId="{63DFF97F-9D07-42C9-95F1-57E6F47C2D29}" srcOrd="0" destOrd="0" presId="urn:microsoft.com/office/officeart/2009/3/layout/SubStepProcess"/>
    <dgm:cxn modelId="{B92B7E33-F22A-4BCE-A924-1BE45E3EB7EC}" type="presParOf" srcId="{D20EB701-6D72-431A-B01A-D2E1ACDA46F6}" destId="{2B45C7C7-D2E6-4009-B7E3-8494612E7D0D}" srcOrd="1" destOrd="0" presId="urn:microsoft.com/office/officeart/2009/3/layout/SubStepProcess"/>
    <dgm:cxn modelId="{2E693234-26D8-4877-AE2A-30F717FBD828}" type="presParOf" srcId="{D20EB701-6D72-431A-B01A-D2E1ACDA46F6}" destId="{877696C9-1687-4E78-8F60-44BE5952849C}" srcOrd="2" destOrd="0" presId="urn:microsoft.com/office/officeart/2009/3/layout/SubStepProcess"/>
    <dgm:cxn modelId="{2DC08E78-1E0A-43A1-A804-B56F90C3E615}" type="presParOf" srcId="{D20EB701-6D72-431A-B01A-D2E1ACDA46F6}" destId="{F7B3D18C-7B7A-47F2-8485-40F922D885BA}" srcOrd="3" destOrd="0" presId="urn:microsoft.com/office/officeart/2009/3/layout/SubStepProcess"/>
    <dgm:cxn modelId="{94BA84C8-D57D-42C5-9636-B3A5A9ABB56D}" type="presParOf" srcId="{D20EB701-6D72-431A-B01A-D2E1ACDA46F6}" destId="{FCBF7250-B1D3-40B3-9BAE-E399D3448EF6}" srcOrd="4" destOrd="0" presId="urn:microsoft.com/office/officeart/2009/3/layout/SubStepProcess"/>
    <dgm:cxn modelId="{D40EEA86-437F-4D71-B197-67387B8A0164}" type="presParOf" srcId="{8EBA1B9F-4BD7-4330-AC05-DE4AABF676BB}" destId="{54DB97C3-91B1-4D1A-89C6-19FF6E874AA5}" srcOrd="3" destOrd="0" presId="urn:microsoft.com/office/officeart/2009/3/layout/SubStepProcess"/>
    <dgm:cxn modelId="{7145D28D-4DE4-4118-B115-B1EFD1167923}" type="presParOf" srcId="{8EBA1B9F-4BD7-4330-AC05-DE4AABF676BB}" destId="{CC544145-7D43-4AA9-AF3E-B8E3A3D712D5}" srcOrd="4" destOrd="0" presId="urn:microsoft.com/office/officeart/2009/3/layout/SubStepProcess"/>
    <dgm:cxn modelId="{A60676A5-C144-45EC-873E-B368C21845FB}" type="presParOf" srcId="{8EBA1B9F-4BD7-4330-AC05-DE4AABF676BB}" destId="{D0CED6BC-34D0-4F7E-900E-EA675F481823}" srcOrd="5" destOrd="0" presId="urn:microsoft.com/office/officeart/2009/3/layout/SubStepProcess"/>
    <dgm:cxn modelId="{4FAF2E28-ACBE-4A86-AF9B-47A4A68C422C}" type="presParOf" srcId="{8EBA1B9F-4BD7-4330-AC05-DE4AABF676BB}" destId="{B45FAE89-01B8-4369-B126-CB985ED0FB64}" srcOrd="6" destOrd="0" presId="urn:microsoft.com/office/officeart/2009/3/layout/SubStepProcess"/>
    <dgm:cxn modelId="{404C31F9-A47B-45C1-983F-DC3C23DACA17}" type="presParOf" srcId="{B45FAE89-01B8-4369-B126-CB985ED0FB64}" destId="{DA184080-38EE-46C5-A87C-ABF072AF4FD6}" srcOrd="0" destOrd="0" presId="urn:microsoft.com/office/officeart/2009/3/layout/SubStepProcess"/>
    <dgm:cxn modelId="{209D312A-F95E-46EF-B8AD-846DD12021DD}" type="presParOf" srcId="{B45FAE89-01B8-4369-B126-CB985ED0FB64}" destId="{6B10AD76-5F9A-43A0-93BC-394081E16246}" srcOrd="1" destOrd="0" presId="urn:microsoft.com/office/officeart/2009/3/layout/SubStepProcess"/>
    <dgm:cxn modelId="{DBE8F5BE-8539-477B-8895-305781849116}" type="presParOf" srcId="{6B10AD76-5F9A-43A0-93BC-394081E16246}" destId="{D6164B29-765D-4B57-8A98-3744BE6DC1BA}" srcOrd="0" destOrd="0" presId="urn:microsoft.com/office/officeart/2009/3/layout/SubStepProcess"/>
    <dgm:cxn modelId="{674DA227-3AF8-40A9-927A-76A6C17F4739}" type="presParOf" srcId="{6B10AD76-5F9A-43A0-93BC-394081E16246}" destId="{1C37AB59-2D98-4B6A-9B24-AAD15C0E64C7}" srcOrd="1" destOrd="0" presId="urn:microsoft.com/office/officeart/2009/3/layout/SubStepProcess"/>
    <dgm:cxn modelId="{45860B3F-C85C-4773-8A51-C565105FC3D3}" type="presParOf" srcId="{6B10AD76-5F9A-43A0-93BC-394081E16246}" destId="{468DE467-CC9E-4FF7-B24F-8310795B7828}" srcOrd="2" destOrd="0" presId="urn:microsoft.com/office/officeart/2009/3/layout/SubStepProcess"/>
    <dgm:cxn modelId="{F0979CE3-B461-4575-8D4F-5E561F09F286}" type="presParOf" srcId="{6B10AD76-5F9A-43A0-93BC-394081E16246}" destId="{6C0E343C-59EF-4BB6-82FF-F0791753A465}" srcOrd="3" destOrd="0" presId="urn:microsoft.com/office/officeart/2009/3/layout/SubStepProcess"/>
    <dgm:cxn modelId="{D03FE3D3-01A8-48F5-9D83-38C4F006B38F}" type="presParOf" srcId="{B45FAE89-01B8-4369-B126-CB985ED0FB64}" destId="{19869159-5D69-4D73-806D-EFF017795A87}" srcOrd="2" destOrd="0" presId="urn:microsoft.com/office/officeart/2009/3/layout/SubStepProcess"/>
    <dgm:cxn modelId="{A73A47E6-AA6E-4E3B-B1CF-E953D619DA23}" type="presParOf" srcId="{B45FAE89-01B8-4369-B126-CB985ED0FB64}" destId="{646D8D71-1243-4678-95E9-237453D449B3}" srcOrd="3" destOrd="0" presId="urn:microsoft.com/office/officeart/2009/3/layout/SubStepProcess"/>
    <dgm:cxn modelId="{DE85E663-DACA-43D2-A256-F0B8ED70DD20}" type="presParOf" srcId="{646D8D71-1243-4678-95E9-237453D449B3}" destId="{8F35C8BA-9484-4262-BC4A-923A8425BB81}" srcOrd="0" destOrd="0" presId="urn:microsoft.com/office/officeart/2009/3/layout/SubStepProcess"/>
    <dgm:cxn modelId="{AAE85D73-CEC0-4ABA-B622-A7F46E5C53F7}" type="presParOf" srcId="{646D8D71-1243-4678-95E9-237453D449B3}" destId="{7E094065-0B95-4C01-9DAB-0FB198AE47C5}" srcOrd="1" destOrd="0" presId="urn:microsoft.com/office/officeart/2009/3/layout/SubStepProcess"/>
    <dgm:cxn modelId="{98B45EED-7926-4AA0-A3ED-343B54E8A7F6}" type="presParOf" srcId="{646D8D71-1243-4678-95E9-237453D449B3}" destId="{9E035A9A-AB02-40D3-8E66-E6B1580427E2}" srcOrd="2" destOrd="0" presId="urn:microsoft.com/office/officeart/2009/3/layout/SubStepProcess"/>
    <dgm:cxn modelId="{E6A5533B-7957-4D28-80EA-6F5F62814A1D}" type="presParOf" srcId="{646D8D71-1243-4678-95E9-237453D449B3}" destId="{BB9D2D91-59E6-4D29-B5EF-6098868CA1FD}" srcOrd="3" destOrd="0" presId="urn:microsoft.com/office/officeart/2009/3/layout/SubStepProcess"/>
    <dgm:cxn modelId="{905A90D8-CA6F-4585-9A0E-A37C9719C594}" type="presParOf" srcId="{B45FAE89-01B8-4369-B126-CB985ED0FB64}" destId="{E84C4134-481D-4F48-9C94-D44F57F85799}" srcOrd="4" destOrd="0" presId="urn:microsoft.com/office/officeart/2009/3/layout/SubStepProcess"/>
    <dgm:cxn modelId="{BC1F4E50-CE21-4E27-AA8B-A849E922B86B}" type="presParOf" srcId="{B45FAE89-01B8-4369-B126-CB985ED0FB64}" destId="{B2E21918-EEBC-4F24-8C12-07C001BEA08D}" srcOrd="5" destOrd="0" presId="urn:microsoft.com/office/officeart/2009/3/layout/SubStepProcess"/>
    <dgm:cxn modelId="{01AD0D29-91AB-43CE-BF95-FE333260FC56}" type="presParOf" srcId="{B2E21918-EEBC-4F24-8C12-07C001BEA08D}" destId="{EE67D47B-5DB0-45EF-A167-C9A85BE388EE}" srcOrd="0" destOrd="0" presId="urn:microsoft.com/office/officeart/2009/3/layout/SubStepProcess"/>
    <dgm:cxn modelId="{BF8D6FB8-0336-4D82-B347-2D296A77741F}" type="presParOf" srcId="{B2E21918-EEBC-4F24-8C12-07C001BEA08D}" destId="{31401A5D-7E7F-4034-8270-9456211BE0F8}" srcOrd="1" destOrd="0" presId="urn:microsoft.com/office/officeart/2009/3/layout/SubStepProcess"/>
    <dgm:cxn modelId="{8F3CF46A-BFC2-4D80-A0F2-3BBEAFE59EC1}" type="presParOf" srcId="{B2E21918-EEBC-4F24-8C12-07C001BEA08D}" destId="{9A89AD44-3536-4D81-93F6-5A7D68EF9859}" srcOrd="2" destOrd="0" presId="urn:microsoft.com/office/officeart/2009/3/layout/SubStepProcess"/>
    <dgm:cxn modelId="{D60FD748-2D2D-4929-BFB1-0E27B8280F77}" type="presParOf" srcId="{B2E21918-EEBC-4F24-8C12-07C001BEA08D}" destId="{8476F0E5-4497-416F-8BEF-88901B4D1E15}" srcOrd="3" destOrd="0" presId="urn:microsoft.com/office/officeart/2009/3/layout/SubStepProcess"/>
    <dgm:cxn modelId="{00976EAA-1BBD-4103-B8A5-D708D66B7615}" type="presParOf" srcId="{B45FAE89-01B8-4369-B126-CB985ED0FB64}" destId="{9F903AF2-2541-4345-9A27-DACABDD7E3F4}" srcOrd="6" destOrd="0" presId="urn:microsoft.com/office/officeart/2009/3/layout/SubStepProcess"/>
    <dgm:cxn modelId="{58FDCE28-C437-4B76-938D-CF21E5F4B161}" type="presParOf" srcId="{B45FAE89-01B8-4369-B126-CB985ED0FB64}" destId="{63195F12-0F8A-4CA9-BD64-DFEDCAF7528C}" srcOrd="7" destOrd="0" presId="urn:microsoft.com/office/officeart/2009/3/layout/SubStepProcess"/>
    <dgm:cxn modelId="{7AF0DD49-B4D2-4230-BEF7-7C50230036A0}" type="presParOf" srcId="{63195F12-0F8A-4CA9-BD64-DFEDCAF7528C}" destId="{BCD2F0E4-DFA7-4F6C-9F98-645A5DD0F4FD}" srcOrd="0" destOrd="0" presId="urn:microsoft.com/office/officeart/2009/3/layout/SubStepProcess"/>
    <dgm:cxn modelId="{F6575793-2FD0-4818-BDE4-25BCE4A9A4E4}" type="presParOf" srcId="{63195F12-0F8A-4CA9-BD64-DFEDCAF7528C}" destId="{601B2D90-CF92-4575-8CA9-0D98438B95F3}" srcOrd="1" destOrd="0" presId="urn:microsoft.com/office/officeart/2009/3/layout/SubStepProcess"/>
    <dgm:cxn modelId="{D65FCC3F-CCB3-426F-B17F-36350D76FCC0}" type="presParOf" srcId="{63195F12-0F8A-4CA9-BD64-DFEDCAF7528C}" destId="{8A78A7AE-B959-40EE-9B3F-1E82F74FA82D}" srcOrd="2" destOrd="0" presId="urn:microsoft.com/office/officeart/2009/3/layout/SubStepProcess"/>
    <dgm:cxn modelId="{8A32C935-25EA-4159-8331-A693FC2FD2A5}" type="presParOf" srcId="{63195F12-0F8A-4CA9-BD64-DFEDCAF7528C}" destId="{E4C4727D-AABE-4A65-BB4D-D9FE7F737D06}" srcOrd="3"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8441239-A9AC-4A17-B1D9-D544A2DF50FA}" type="doc">
      <dgm:prSet loTypeId="urn:microsoft.com/office/officeart/2009/3/layout/SubStepProcess" loCatId="process" qsTypeId="urn:microsoft.com/office/officeart/2005/8/quickstyle/simple1" qsCatId="simple" csTypeId="urn:microsoft.com/office/officeart/2005/8/colors/accent1_2" csCatId="accent1" phldr="1"/>
      <dgm:spPr/>
    </dgm:pt>
    <dgm:pt modelId="{9AA574CB-8BD6-4B60-9457-7F32A38BC259}">
      <dgm:prSet phldrT="[文本]"/>
      <dgm:spPr/>
      <dgm:t>
        <a:bodyPr/>
        <a:lstStyle/>
        <a:p>
          <a:r>
            <a:rPr lang="zh-CN" altLang="en-US" dirty="0" smtClean="0">
              <a:solidFill>
                <a:schemeClr val="tx1"/>
              </a:solidFill>
            </a:rPr>
            <a:t>威胁建模阶段</a:t>
          </a:r>
          <a:endParaRPr lang="zh-CN" altLang="en-US" dirty="0">
            <a:solidFill>
              <a:schemeClr val="tx1"/>
            </a:solidFill>
          </a:endParaRPr>
        </a:p>
      </dgm:t>
    </dgm:pt>
    <dgm:pt modelId="{3D6FB2E1-2607-406D-8CE4-3F72C4E2BA7C}" type="parTrans" cxnId="{A3639D38-BD0E-4E75-8C5A-FD32AEF97BB3}">
      <dgm:prSet/>
      <dgm:spPr/>
      <dgm:t>
        <a:bodyPr/>
        <a:lstStyle/>
        <a:p>
          <a:endParaRPr lang="zh-CN" altLang="en-US">
            <a:solidFill>
              <a:schemeClr val="tx1"/>
            </a:solidFill>
          </a:endParaRPr>
        </a:p>
      </dgm:t>
    </dgm:pt>
    <dgm:pt modelId="{4A652E1D-2EE7-4BC2-8CB9-E0474E09EDEF}" type="sibTrans" cxnId="{A3639D38-BD0E-4E75-8C5A-FD32AEF97BB3}">
      <dgm:prSet/>
      <dgm:spPr/>
      <dgm:t>
        <a:bodyPr/>
        <a:lstStyle/>
        <a:p>
          <a:endParaRPr lang="zh-CN" altLang="en-US">
            <a:solidFill>
              <a:schemeClr val="tx1"/>
            </a:solidFill>
          </a:endParaRPr>
        </a:p>
      </dgm:t>
    </dgm:pt>
    <dgm:pt modelId="{FD6B28E6-35E2-4CB6-ABBB-DBBECE808BAD}">
      <dgm:prSet phldrT="[文本]"/>
      <dgm:spPr/>
      <dgm:t>
        <a:bodyPr/>
        <a:lstStyle/>
        <a:p>
          <a:r>
            <a:rPr lang="zh-CN" altLang="en-US" dirty="0" smtClean="0">
              <a:solidFill>
                <a:schemeClr val="tx1"/>
              </a:solidFill>
            </a:rPr>
            <a:t>业务资产分析</a:t>
          </a:r>
          <a:endParaRPr lang="zh-CN" altLang="en-US" dirty="0">
            <a:solidFill>
              <a:schemeClr val="tx1"/>
            </a:solidFill>
          </a:endParaRPr>
        </a:p>
      </dgm:t>
    </dgm:pt>
    <dgm:pt modelId="{1ECC388B-8232-4256-BED3-C7F7CC058BC2}" type="parTrans" cxnId="{B508C67D-6604-4C8E-AE3D-0C24E02E2117}">
      <dgm:prSet/>
      <dgm:spPr/>
      <dgm:t>
        <a:bodyPr/>
        <a:lstStyle/>
        <a:p>
          <a:endParaRPr lang="zh-CN" altLang="en-US">
            <a:solidFill>
              <a:schemeClr val="tx1"/>
            </a:solidFill>
          </a:endParaRPr>
        </a:p>
      </dgm:t>
    </dgm:pt>
    <dgm:pt modelId="{661B617C-4515-4507-8984-0AE5D70709EF}" type="sibTrans" cxnId="{B508C67D-6604-4C8E-AE3D-0C24E02E2117}">
      <dgm:prSet/>
      <dgm:spPr/>
      <dgm:t>
        <a:bodyPr/>
        <a:lstStyle/>
        <a:p>
          <a:endParaRPr lang="zh-CN" altLang="en-US">
            <a:solidFill>
              <a:schemeClr val="tx1"/>
            </a:solidFill>
          </a:endParaRPr>
        </a:p>
      </dgm:t>
    </dgm:pt>
    <dgm:pt modelId="{59DD6DFE-F0F3-44CA-AAFC-49BECEB4898B}">
      <dgm:prSet phldrT="[文本]"/>
      <dgm:spPr/>
      <dgm:t>
        <a:bodyPr/>
        <a:lstStyle/>
        <a:p>
          <a:r>
            <a:rPr lang="zh-CN" altLang="en-US" dirty="0" smtClean="0">
              <a:solidFill>
                <a:schemeClr val="tx1"/>
              </a:solidFill>
            </a:rPr>
            <a:t>业务流程分析</a:t>
          </a:r>
          <a:endParaRPr lang="zh-CN" altLang="en-US" dirty="0">
            <a:solidFill>
              <a:schemeClr val="tx1"/>
            </a:solidFill>
          </a:endParaRPr>
        </a:p>
      </dgm:t>
    </dgm:pt>
    <dgm:pt modelId="{F3D20448-30A9-43FC-91B2-A84BF9D63406}" type="parTrans" cxnId="{33241D56-1E2C-471F-B998-09EB61F79D0D}">
      <dgm:prSet/>
      <dgm:spPr/>
      <dgm:t>
        <a:bodyPr/>
        <a:lstStyle/>
        <a:p>
          <a:endParaRPr lang="zh-CN" altLang="en-US">
            <a:solidFill>
              <a:schemeClr val="tx1"/>
            </a:solidFill>
          </a:endParaRPr>
        </a:p>
      </dgm:t>
    </dgm:pt>
    <dgm:pt modelId="{8C7AC8EB-606B-4C7B-88DF-DF0BD7F8900A}" type="sibTrans" cxnId="{33241D56-1E2C-471F-B998-09EB61F79D0D}">
      <dgm:prSet/>
      <dgm:spPr/>
      <dgm:t>
        <a:bodyPr/>
        <a:lstStyle/>
        <a:p>
          <a:endParaRPr lang="zh-CN" altLang="en-US">
            <a:solidFill>
              <a:schemeClr val="tx1"/>
            </a:solidFill>
          </a:endParaRPr>
        </a:p>
      </dgm:t>
    </dgm:pt>
    <dgm:pt modelId="{A1BDC2FE-E565-4A3D-B276-447AD311A187}">
      <dgm:prSet phldrT="[文本]"/>
      <dgm:spPr/>
      <dgm:t>
        <a:bodyPr/>
        <a:lstStyle/>
        <a:p>
          <a:r>
            <a:rPr lang="zh-CN" altLang="en-US" dirty="0" smtClean="0">
              <a:solidFill>
                <a:schemeClr val="tx1"/>
              </a:solidFill>
            </a:rPr>
            <a:t>威胁对手分析</a:t>
          </a:r>
          <a:endParaRPr lang="zh-CN" altLang="en-US" dirty="0">
            <a:solidFill>
              <a:schemeClr val="tx1"/>
            </a:solidFill>
          </a:endParaRPr>
        </a:p>
      </dgm:t>
    </dgm:pt>
    <dgm:pt modelId="{3EF7CBCA-8A7A-4369-88F4-675015DAEE65}" type="parTrans" cxnId="{CCC3A6E3-6DB2-4F89-9935-65C7B6416507}">
      <dgm:prSet/>
      <dgm:spPr/>
      <dgm:t>
        <a:bodyPr/>
        <a:lstStyle/>
        <a:p>
          <a:endParaRPr lang="zh-CN" altLang="en-US">
            <a:solidFill>
              <a:schemeClr val="tx1"/>
            </a:solidFill>
          </a:endParaRPr>
        </a:p>
      </dgm:t>
    </dgm:pt>
    <dgm:pt modelId="{771CEA9B-3EA4-4BD3-9AE0-953DFDDE9507}" type="sibTrans" cxnId="{CCC3A6E3-6DB2-4F89-9935-65C7B6416507}">
      <dgm:prSet/>
      <dgm:spPr/>
      <dgm:t>
        <a:bodyPr/>
        <a:lstStyle/>
        <a:p>
          <a:endParaRPr lang="zh-CN" altLang="en-US">
            <a:solidFill>
              <a:schemeClr val="tx1"/>
            </a:solidFill>
          </a:endParaRPr>
        </a:p>
      </dgm:t>
    </dgm:pt>
    <dgm:pt modelId="{EFB17089-3574-4A60-8020-54656E7936ED}">
      <dgm:prSet phldrT="[文本]"/>
      <dgm:spPr/>
      <dgm:t>
        <a:bodyPr/>
        <a:lstStyle/>
        <a:p>
          <a:r>
            <a:rPr lang="zh-CN" altLang="en-US" dirty="0" smtClean="0">
              <a:solidFill>
                <a:schemeClr val="tx1"/>
              </a:solidFill>
            </a:rPr>
            <a:t>威胁能力分析</a:t>
          </a:r>
          <a:endParaRPr lang="zh-CN" altLang="en-US" dirty="0">
            <a:solidFill>
              <a:schemeClr val="tx1"/>
            </a:solidFill>
          </a:endParaRPr>
        </a:p>
      </dgm:t>
    </dgm:pt>
    <dgm:pt modelId="{68B9F50C-4438-4E8C-B1CC-352E2F1638A1}" type="parTrans" cxnId="{D00A0C48-A983-42A1-AB56-7020C10327B1}">
      <dgm:prSet/>
      <dgm:spPr/>
      <dgm:t>
        <a:bodyPr/>
        <a:lstStyle/>
        <a:p>
          <a:endParaRPr lang="zh-CN" altLang="en-US">
            <a:solidFill>
              <a:schemeClr val="tx1"/>
            </a:solidFill>
          </a:endParaRPr>
        </a:p>
      </dgm:t>
    </dgm:pt>
    <dgm:pt modelId="{B725CBA6-6304-4759-8911-A27E1A85FC94}" type="sibTrans" cxnId="{D00A0C48-A983-42A1-AB56-7020C10327B1}">
      <dgm:prSet/>
      <dgm:spPr/>
      <dgm:t>
        <a:bodyPr/>
        <a:lstStyle/>
        <a:p>
          <a:endParaRPr lang="zh-CN" altLang="en-US">
            <a:solidFill>
              <a:schemeClr val="tx1"/>
            </a:solidFill>
          </a:endParaRPr>
        </a:p>
      </dgm:t>
    </dgm:pt>
    <dgm:pt modelId="{1785740A-6C6E-46E9-BC36-EEBDA8EB6EE8}">
      <dgm:prSet phldrT="[文本]"/>
      <dgm:spPr/>
      <dgm:t>
        <a:bodyPr/>
        <a:lstStyle/>
        <a:p>
          <a:r>
            <a:rPr lang="zh-CN" altLang="en-US" dirty="0" smtClean="0">
              <a:solidFill>
                <a:schemeClr val="tx1"/>
              </a:solidFill>
            </a:rPr>
            <a:t>安全事件分析</a:t>
          </a:r>
          <a:endParaRPr lang="zh-CN" altLang="en-US" dirty="0">
            <a:solidFill>
              <a:schemeClr val="tx1"/>
            </a:solidFill>
          </a:endParaRPr>
        </a:p>
      </dgm:t>
    </dgm:pt>
    <dgm:pt modelId="{22CDF2F0-40C9-401A-8874-BA63A60EA1A9}" type="parTrans" cxnId="{6D45C5FB-A95C-4271-835D-26A90376CC1B}">
      <dgm:prSet/>
      <dgm:spPr/>
      <dgm:t>
        <a:bodyPr/>
        <a:lstStyle/>
        <a:p>
          <a:endParaRPr lang="zh-CN" altLang="en-US">
            <a:solidFill>
              <a:schemeClr val="tx1"/>
            </a:solidFill>
          </a:endParaRPr>
        </a:p>
      </dgm:t>
    </dgm:pt>
    <dgm:pt modelId="{A115483D-5EB5-4C11-957F-F7999D7F2D57}" type="sibTrans" cxnId="{6D45C5FB-A95C-4271-835D-26A90376CC1B}">
      <dgm:prSet/>
      <dgm:spPr/>
      <dgm:t>
        <a:bodyPr/>
        <a:lstStyle/>
        <a:p>
          <a:endParaRPr lang="zh-CN" altLang="en-US">
            <a:solidFill>
              <a:schemeClr val="tx1"/>
            </a:solidFill>
          </a:endParaRPr>
        </a:p>
      </dgm:t>
    </dgm:pt>
    <dgm:pt modelId="{515E8D39-EE43-4CF9-AE44-EB5AD2DEDA4C}">
      <dgm:prSet phldrT="[文本]"/>
      <dgm:spPr/>
      <dgm:t>
        <a:bodyPr/>
        <a:lstStyle/>
        <a:p>
          <a:r>
            <a:rPr lang="zh-CN" altLang="en-US" dirty="0" smtClean="0">
              <a:solidFill>
                <a:schemeClr val="tx1"/>
              </a:solidFill>
            </a:rPr>
            <a:t>攻击</a:t>
          </a:r>
          <a:endParaRPr lang="en-US" altLang="zh-CN" dirty="0" smtClean="0">
            <a:solidFill>
              <a:schemeClr val="tx1"/>
            </a:solidFill>
          </a:endParaRPr>
        </a:p>
        <a:p>
          <a:r>
            <a:rPr lang="zh-CN" altLang="en-US" dirty="0" smtClean="0">
              <a:solidFill>
                <a:schemeClr val="tx1"/>
              </a:solidFill>
            </a:rPr>
            <a:t>策划</a:t>
          </a:r>
          <a:endParaRPr lang="zh-CN" altLang="en-US" dirty="0">
            <a:solidFill>
              <a:schemeClr val="tx1"/>
            </a:solidFill>
          </a:endParaRPr>
        </a:p>
      </dgm:t>
    </dgm:pt>
    <dgm:pt modelId="{B2560591-043A-4862-B1B2-0DA05D591A3D}" type="parTrans" cxnId="{322BF860-B2C1-4A76-A0F2-7BBCF8CB6CE3}">
      <dgm:prSet/>
      <dgm:spPr/>
      <dgm:t>
        <a:bodyPr/>
        <a:lstStyle/>
        <a:p>
          <a:endParaRPr lang="zh-CN" altLang="en-US">
            <a:solidFill>
              <a:schemeClr val="tx1"/>
            </a:solidFill>
          </a:endParaRPr>
        </a:p>
      </dgm:t>
    </dgm:pt>
    <dgm:pt modelId="{EB64C95B-1BEB-4C23-B9D6-E4B6F9AC0739}" type="sibTrans" cxnId="{322BF860-B2C1-4A76-A0F2-7BBCF8CB6CE3}">
      <dgm:prSet/>
      <dgm:spPr/>
      <dgm:t>
        <a:bodyPr/>
        <a:lstStyle/>
        <a:p>
          <a:endParaRPr lang="zh-CN" altLang="en-US">
            <a:solidFill>
              <a:schemeClr val="tx1"/>
            </a:solidFill>
          </a:endParaRPr>
        </a:p>
      </dgm:t>
    </dgm:pt>
    <dgm:pt modelId="{8EBA1B9F-4BD7-4330-AC05-DE4AABF676BB}" type="pres">
      <dgm:prSet presAssocID="{48441239-A9AC-4A17-B1D9-D544A2DF50FA}" presName="Name0" presStyleCnt="0">
        <dgm:presLayoutVars>
          <dgm:chMax val="7"/>
          <dgm:dir/>
          <dgm:animOne val="branch"/>
        </dgm:presLayoutVars>
      </dgm:prSet>
      <dgm:spPr/>
    </dgm:pt>
    <dgm:pt modelId="{F2B8CC0C-4BAB-433E-9C0D-859B89A55943}" type="pres">
      <dgm:prSet presAssocID="{9AA574CB-8BD6-4B60-9457-7F32A38BC259}" presName="parTx1" presStyleLbl="node1" presStyleIdx="0" presStyleCnt="2"/>
      <dgm:spPr/>
      <dgm:t>
        <a:bodyPr/>
        <a:lstStyle/>
        <a:p>
          <a:endParaRPr lang="zh-CN" altLang="en-US"/>
        </a:p>
      </dgm:t>
    </dgm:pt>
    <dgm:pt modelId="{499F60E1-1548-4621-BDF2-D6765242C059}" type="pres">
      <dgm:prSet presAssocID="{9AA574CB-8BD6-4B60-9457-7F32A38BC259}" presName="spPre1" presStyleCnt="0"/>
      <dgm:spPr/>
    </dgm:pt>
    <dgm:pt modelId="{D5558784-69AE-47A6-8454-A7116A20F705}" type="pres">
      <dgm:prSet presAssocID="{9AA574CB-8BD6-4B60-9457-7F32A38BC259}" presName="chLin1" presStyleCnt="0"/>
      <dgm:spPr/>
    </dgm:pt>
    <dgm:pt modelId="{AFA45A0C-EA29-4ABB-BF49-5831EBCC5B7D}" type="pres">
      <dgm:prSet presAssocID="{1ECC388B-8232-4256-BED3-C7F7CC058BC2}" presName="Name11" presStyleLbl="parChTrans1D1" presStyleIdx="0" presStyleCnt="20"/>
      <dgm:spPr/>
    </dgm:pt>
    <dgm:pt modelId="{3912D361-63AB-4F26-982D-D3BDAB42F9E3}" type="pres">
      <dgm:prSet presAssocID="{1ECC388B-8232-4256-BED3-C7F7CC058BC2}" presName="Name31" presStyleLbl="parChTrans1D1" presStyleIdx="1" presStyleCnt="20"/>
      <dgm:spPr/>
    </dgm:pt>
    <dgm:pt modelId="{71A3EBD6-20E1-4760-81E7-C7E527A32D27}" type="pres">
      <dgm:prSet presAssocID="{FD6B28E6-35E2-4CB6-ABBB-DBBECE808BAD}" presName="txAndLines1" presStyleCnt="0"/>
      <dgm:spPr/>
    </dgm:pt>
    <dgm:pt modelId="{751F95A2-1B2F-454D-BE8B-8BCAB68FD45A}" type="pres">
      <dgm:prSet presAssocID="{FD6B28E6-35E2-4CB6-ABBB-DBBECE808BAD}" presName="anchor1" presStyleCnt="0"/>
      <dgm:spPr/>
    </dgm:pt>
    <dgm:pt modelId="{C395C025-1394-4C29-A781-B48F429667FF}" type="pres">
      <dgm:prSet presAssocID="{FD6B28E6-35E2-4CB6-ABBB-DBBECE808BAD}" presName="backup1" presStyleCnt="0"/>
      <dgm:spPr/>
    </dgm:pt>
    <dgm:pt modelId="{8D25E663-CB94-4B4E-B93E-8698F1D93126}" type="pres">
      <dgm:prSet presAssocID="{FD6B28E6-35E2-4CB6-ABBB-DBBECE808BAD}" presName="preLine1" presStyleLbl="parChTrans1D1" presStyleIdx="2" presStyleCnt="20"/>
      <dgm:spPr/>
    </dgm:pt>
    <dgm:pt modelId="{71B3F7F3-93C6-4167-A5BF-E9FB60AE8FD1}" type="pres">
      <dgm:prSet presAssocID="{FD6B28E6-35E2-4CB6-ABBB-DBBECE808BAD}" presName="desTx1" presStyleLbl="revTx" presStyleIdx="0" presStyleCnt="0">
        <dgm:presLayoutVars>
          <dgm:bulletEnabled val="1"/>
        </dgm:presLayoutVars>
      </dgm:prSet>
      <dgm:spPr/>
      <dgm:t>
        <a:bodyPr/>
        <a:lstStyle/>
        <a:p>
          <a:endParaRPr lang="zh-CN" altLang="en-US"/>
        </a:p>
      </dgm:t>
    </dgm:pt>
    <dgm:pt modelId="{32911B3C-36BB-4AC3-8A04-3AB024253A6F}" type="pres">
      <dgm:prSet presAssocID="{FD6B28E6-35E2-4CB6-ABBB-DBBECE808BAD}" presName="postLine1" presStyleLbl="parChTrans1D1" presStyleIdx="3" presStyleCnt="20"/>
      <dgm:spPr/>
    </dgm:pt>
    <dgm:pt modelId="{B065CECE-0371-4FCA-8FE3-28B1BB37C1B1}" type="pres">
      <dgm:prSet presAssocID="{F3D20448-30A9-43FC-91B2-A84BF9D63406}" presName="Name11" presStyleLbl="parChTrans1D1" presStyleIdx="4" presStyleCnt="20"/>
      <dgm:spPr/>
    </dgm:pt>
    <dgm:pt modelId="{EA28D198-590B-4A31-ACB6-756CD2726CDF}" type="pres">
      <dgm:prSet presAssocID="{F3D20448-30A9-43FC-91B2-A84BF9D63406}" presName="Name31" presStyleLbl="parChTrans1D1" presStyleIdx="5" presStyleCnt="20"/>
      <dgm:spPr/>
    </dgm:pt>
    <dgm:pt modelId="{9FB27C19-2A77-4534-A4AC-BD3A83E7699A}" type="pres">
      <dgm:prSet presAssocID="{59DD6DFE-F0F3-44CA-AAFC-49BECEB4898B}" presName="txAndLines1" presStyleCnt="0"/>
      <dgm:spPr/>
    </dgm:pt>
    <dgm:pt modelId="{218BD76E-C948-46F5-A358-F832A31C066D}" type="pres">
      <dgm:prSet presAssocID="{59DD6DFE-F0F3-44CA-AAFC-49BECEB4898B}" presName="anchor1" presStyleCnt="0"/>
      <dgm:spPr/>
    </dgm:pt>
    <dgm:pt modelId="{8D7C0D31-5272-4552-8F20-24409F068FA8}" type="pres">
      <dgm:prSet presAssocID="{59DD6DFE-F0F3-44CA-AAFC-49BECEB4898B}" presName="backup1" presStyleCnt="0"/>
      <dgm:spPr/>
    </dgm:pt>
    <dgm:pt modelId="{4E52FD48-C399-41FC-88C2-0C5ACC2676A0}" type="pres">
      <dgm:prSet presAssocID="{59DD6DFE-F0F3-44CA-AAFC-49BECEB4898B}" presName="preLine1" presStyleLbl="parChTrans1D1" presStyleIdx="6" presStyleCnt="20"/>
      <dgm:spPr/>
    </dgm:pt>
    <dgm:pt modelId="{AC778DCF-4EFE-4AA6-9E31-99963BFD3224}" type="pres">
      <dgm:prSet presAssocID="{59DD6DFE-F0F3-44CA-AAFC-49BECEB4898B}" presName="desTx1" presStyleLbl="revTx" presStyleIdx="0" presStyleCnt="0">
        <dgm:presLayoutVars>
          <dgm:bulletEnabled val="1"/>
        </dgm:presLayoutVars>
      </dgm:prSet>
      <dgm:spPr/>
      <dgm:t>
        <a:bodyPr/>
        <a:lstStyle/>
        <a:p>
          <a:endParaRPr lang="zh-CN" altLang="en-US"/>
        </a:p>
      </dgm:t>
    </dgm:pt>
    <dgm:pt modelId="{18EE8AC2-2F7C-40DB-90E9-85F4CF763180}" type="pres">
      <dgm:prSet presAssocID="{59DD6DFE-F0F3-44CA-AAFC-49BECEB4898B}" presName="postLine1" presStyleLbl="parChTrans1D1" presStyleIdx="7" presStyleCnt="20"/>
      <dgm:spPr/>
    </dgm:pt>
    <dgm:pt modelId="{7470DDDF-A411-485F-95EF-B6CCD3EF4F45}" type="pres">
      <dgm:prSet presAssocID="{3EF7CBCA-8A7A-4369-88F4-675015DAEE65}" presName="Name11" presStyleLbl="parChTrans1D1" presStyleIdx="8" presStyleCnt="20"/>
      <dgm:spPr/>
    </dgm:pt>
    <dgm:pt modelId="{2B230C3C-2776-416A-9C3A-E12BDB8745E9}" type="pres">
      <dgm:prSet presAssocID="{3EF7CBCA-8A7A-4369-88F4-675015DAEE65}" presName="Name31" presStyleLbl="parChTrans1D1" presStyleIdx="9" presStyleCnt="20"/>
      <dgm:spPr/>
    </dgm:pt>
    <dgm:pt modelId="{699A586F-1CD5-4E73-AF88-A9578C739EB2}" type="pres">
      <dgm:prSet presAssocID="{A1BDC2FE-E565-4A3D-B276-447AD311A187}" presName="txAndLines1" presStyleCnt="0"/>
      <dgm:spPr/>
    </dgm:pt>
    <dgm:pt modelId="{4C81E381-2DDC-481A-B48E-31345E7C4249}" type="pres">
      <dgm:prSet presAssocID="{A1BDC2FE-E565-4A3D-B276-447AD311A187}" presName="anchor1" presStyleCnt="0"/>
      <dgm:spPr/>
    </dgm:pt>
    <dgm:pt modelId="{1EA29EDD-FCAD-4A5A-842F-447EF0D10FCA}" type="pres">
      <dgm:prSet presAssocID="{A1BDC2FE-E565-4A3D-B276-447AD311A187}" presName="backup1" presStyleCnt="0"/>
      <dgm:spPr/>
    </dgm:pt>
    <dgm:pt modelId="{50D4C70E-E378-43E1-8563-06531AE08831}" type="pres">
      <dgm:prSet presAssocID="{A1BDC2FE-E565-4A3D-B276-447AD311A187}" presName="preLine1" presStyleLbl="parChTrans1D1" presStyleIdx="10" presStyleCnt="20"/>
      <dgm:spPr/>
    </dgm:pt>
    <dgm:pt modelId="{4C3CC433-9A47-4F18-BABC-4B71511786BC}" type="pres">
      <dgm:prSet presAssocID="{A1BDC2FE-E565-4A3D-B276-447AD311A187}" presName="desTx1" presStyleLbl="revTx" presStyleIdx="0" presStyleCnt="0">
        <dgm:presLayoutVars>
          <dgm:bulletEnabled val="1"/>
        </dgm:presLayoutVars>
      </dgm:prSet>
      <dgm:spPr/>
      <dgm:t>
        <a:bodyPr/>
        <a:lstStyle/>
        <a:p>
          <a:endParaRPr lang="zh-CN" altLang="en-US"/>
        </a:p>
      </dgm:t>
    </dgm:pt>
    <dgm:pt modelId="{9A2ECA3F-C717-4F26-9948-33EF8CF92FD9}" type="pres">
      <dgm:prSet presAssocID="{A1BDC2FE-E565-4A3D-B276-447AD311A187}" presName="postLine1" presStyleLbl="parChTrans1D1" presStyleIdx="11" presStyleCnt="20"/>
      <dgm:spPr/>
    </dgm:pt>
    <dgm:pt modelId="{8C0FA1D2-4C79-4372-AFD2-42299B449ECA}" type="pres">
      <dgm:prSet presAssocID="{68B9F50C-4438-4E8C-B1CC-352E2F1638A1}" presName="Name11" presStyleLbl="parChTrans1D1" presStyleIdx="12" presStyleCnt="20"/>
      <dgm:spPr/>
    </dgm:pt>
    <dgm:pt modelId="{E8C9D2D3-22D1-4062-B444-1C98C42D3B72}" type="pres">
      <dgm:prSet presAssocID="{68B9F50C-4438-4E8C-B1CC-352E2F1638A1}" presName="Name31" presStyleLbl="parChTrans1D1" presStyleIdx="13" presStyleCnt="20"/>
      <dgm:spPr/>
    </dgm:pt>
    <dgm:pt modelId="{B55205E8-9BD4-44BA-A1C6-3E4EE45C4627}" type="pres">
      <dgm:prSet presAssocID="{EFB17089-3574-4A60-8020-54656E7936ED}" presName="txAndLines1" presStyleCnt="0"/>
      <dgm:spPr/>
    </dgm:pt>
    <dgm:pt modelId="{0BE616AF-BEDA-4E3A-8929-FAD77B667CA7}" type="pres">
      <dgm:prSet presAssocID="{EFB17089-3574-4A60-8020-54656E7936ED}" presName="anchor1" presStyleCnt="0"/>
      <dgm:spPr/>
    </dgm:pt>
    <dgm:pt modelId="{38EF53CF-C233-4F5B-96CE-BE38788C6D06}" type="pres">
      <dgm:prSet presAssocID="{EFB17089-3574-4A60-8020-54656E7936ED}" presName="backup1" presStyleCnt="0"/>
      <dgm:spPr/>
    </dgm:pt>
    <dgm:pt modelId="{9E77485A-68C3-41E6-BF79-BCCAA629F0F8}" type="pres">
      <dgm:prSet presAssocID="{EFB17089-3574-4A60-8020-54656E7936ED}" presName="preLine1" presStyleLbl="parChTrans1D1" presStyleIdx="14" presStyleCnt="20"/>
      <dgm:spPr/>
    </dgm:pt>
    <dgm:pt modelId="{CCB888D4-0330-4E90-B99C-8DF2F1321B34}" type="pres">
      <dgm:prSet presAssocID="{EFB17089-3574-4A60-8020-54656E7936ED}" presName="desTx1" presStyleLbl="revTx" presStyleIdx="0" presStyleCnt="0">
        <dgm:presLayoutVars>
          <dgm:bulletEnabled val="1"/>
        </dgm:presLayoutVars>
      </dgm:prSet>
      <dgm:spPr/>
      <dgm:t>
        <a:bodyPr/>
        <a:lstStyle/>
        <a:p>
          <a:endParaRPr lang="zh-CN" altLang="en-US"/>
        </a:p>
      </dgm:t>
    </dgm:pt>
    <dgm:pt modelId="{24F3DADA-A5BA-423E-8EA5-2239F406FE94}" type="pres">
      <dgm:prSet presAssocID="{EFB17089-3574-4A60-8020-54656E7936ED}" presName="postLine1" presStyleLbl="parChTrans1D1" presStyleIdx="15" presStyleCnt="20"/>
      <dgm:spPr/>
    </dgm:pt>
    <dgm:pt modelId="{7D7FF291-49EF-4066-9F03-9D3A51FD909C}" type="pres">
      <dgm:prSet presAssocID="{22CDF2F0-40C9-401A-8874-BA63A60EA1A9}" presName="Name11" presStyleLbl="parChTrans1D1" presStyleIdx="16" presStyleCnt="20"/>
      <dgm:spPr/>
    </dgm:pt>
    <dgm:pt modelId="{695AF5FC-82EE-438F-8168-4ACB11EC776B}" type="pres">
      <dgm:prSet presAssocID="{22CDF2F0-40C9-401A-8874-BA63A60EA1A9}" presName="Name31" presStyleLbl="parChTrans1D1" presStyleIdx="17" presStyleCnt="20"/>
      <dgm:spPr/>
    </dgm:pt>
    <dgm:pt modelId="{68E2CDFF-7262-4EEC-8B55-D9248E4E218A}" type="pres">
      <dgm:prSet presAssocID="{1785740A-6C6E-46E9-BC36-EEBDA8EB6EE8}" presName="txAndLines1" presStyleCnt="0"/>
      <dgm:spPr/>
    </dgm:pt>
    <dgm:pt modelId="{75245BD2-80EC-4AD5-8789-A9AE1B37FAFB}" type="pres">
      <dgm:prSet presAssocID="{1785740A-6C6E-46E9-BC36-EEBDA8EB6EE8}" presName="anchor1" presStyleCnt="0"/>
      <dgm:spPr/>
    </dgm:pt>
    <dgm:pt modelId="{2C295776-2D18-4594-8778-B97E86D76516}" type="pres">
      <dgm:prSet presAssocID="{1785740A-6C6E-46E9-BC36-EEBDA8EB6EE8}" presName="backup1" presStyleCnt="0"/>
      <dgm:spPr/>
    </dgm:pt>
    <dgm:pt modelId="{98009388-FD15-47A5-BE6E-D232EA29BC26}" type="pres">
      <dgm:prSet presAssocID="{1785740A-6C6E-46E9-BC36-EEBDA8EB6EE8}" presName="preLine1" presStyleLbl="parChTrans1D1" presStyleIdx="18" presStyleCnt="20"/>
      <dgm:spPr/>
    </dgm:pt>
    <dgm:pt modelId="{BE1F7520-9AAB-4F5D-8D4F-4C088613B629}" type="pres">
      <dgm:prSet presAssocID="{1785740A-6C6E-46E9-BC36-EEBDA8EB6EE8}" presName="desTx1" presStyleLbl="revTx" presStyleIdx="0" presStyleCnt="0">
        <dgm:presLayoutVars>
          <dgm:bulletEnabled val="1"/>
        </dgm:presLayoutVars>
      </dgm:prSet>
      <dgm:spPr/>
      <dgm:t>
        <a:bodyPr/>
        <a:lstStyle/>
        <a:p>
          <a:endParaRPr lang="zh-CN" altLang="en-US"/>
        </a:p>
      </dgm:t>
    </dgm:pt>
    <dgm:pt modelId="{F56D2327-7518-4084-9EBF-31F842554F9E}" type="pres">
      <dgm:prSet presAssocID="{1785740A-6C6E-46E9-BC36-EEBDA8EB6EE8}" presName="postLine1" presStyleLbl="parChTrans1D1" presStyleIdx="19" presStyleCnt="20"/>
      <dgm:spPr/>
    </dgm:pt>
    <dgm:pt modelId="{54DB97C3-91B1-4D1A-89C6-19FF6E874AA5}" type="pres">
      <dgm:prSet presAssocID="{9AA574CB-8BD6-4B60-9457-7F32A38BC259}" presName="spPost1" presStyleCnt="0"/>
      <dgm:spPr/>
    </dgm:pt>
    <dgm:pt modelId="{C068A876-EA0B-411A-A280-B7C0AE720FF8}" type="pres">
      <dgm:prSet presAssocID="{515E8D39-EE43-4CF9-AE44-EB5AD2DEDA4C}" presName="parTx2" presStyleLbl="node1" presStyleIdx="1" presStyleCnt="2"/>
      <dgm:spPr/>
      <dgm:t>
        <a:bodyPr/>
        <a:lstStyle/>
        <a:p>
          <a:endParaRPr lang="zh-CN" altLang="en-US"/>
        </a:p>
      </dgm:t>
    </dgm:pt>
  </dgm:ptLst>
  <dgm:cxnLst>
    <dgm:cxn modelId="{E2E3C83E-9F1C-437D-9207-305215870711}" type="presOf" srcId="{515E8D39-EE43-4CF9-AE44-EB5AD2DEDA4C}" destId="{C068A876-EA0B-411A-A280-B7C0AE720FF8}" srcOrd="0" destOrd="0" presId="urn:microsoft.com/office/officeart/2009/3/layout/SubStepProcess"/>
    <dgm:cxn modelId="{A3639D38-BD0E-4E75-8C5A-FD32AEF97BB3}" srcId="{48441239-A9AC-4A17-B1D9-D544A2DF50FA}" destId="{9AA574CB-8BD6-4B60-9457-7F32A38BC259}" srcOrd="0" destOrd="0" parTransId="{3D6FB2E1-2607-406D-8CE4-3F72C4E2BA7C}" sibTransId="{4A652E1D-2EE7-4BC2-8CB9-E0474E09EDEF}"/>
    <dgm:cxn modelId="{322BF860-B2C1-4A76-A0F2-7BBCF8CB6CE3}" srcId="{48441239-A9AC-4A17-B1D9-D544A2DF50FA}" destId="{515E8D39-EE43-4CF9-AE44-EB5AD2DEDA4C}" srcOrd="1" destOrd="0" parTransId="{B2560591-043A-4862-B1B2-0DA05D591A3D}" sibTransId="{EB64C95B-1BEB-4C23-B9D6-E4B6F9AC0739}"/>
    <dgm:cxn modelId="{5B93A8D8-600F-4979-820E-94EE489E5E57}" type="presOf" srcId="{1785740A-6C6E-46E9-BC36-EEBDA8EB6EE8}" destId="{BE1F7520-9AAB-4F5D-8D4F-4C088613B629}" srcOrd="0" destOrd="0" presId="urn:microsoft.com/office/officeart/2009/3/layout/SubStepProcess"/>
    <dgm:cxn modelId="{D3ABC641-B983-49F5-B8DE-77F24BCA48FD}" type="presOf" srcId="{48441239-A9AC-4A17-B1D9-D544A2DF50FA}" destId="{8EBA1B9F-4BD7-4330-AC05-DE4AABF676BB}" srcOrd="0" destOrd="0" presId="urn:microsoft.com/office/officeart/2009/3/layout/SubStepProcess"/>
    <dgm:cxn modelId="{AEEAAF6C-85ED-4072-80B9-A8C6ED04131C}" type="presOf" srcId="{FD6B28E6-35E2-4CB6-ABBB-DBBECE808BAD}" destId="{71B3F7F3-93C6-4167-A5BF-E9FB60AE8FD1}" srcOrd="0" destOrd="0" presId="urn:microsoft.com/office/officeart/2009/3/layout/SubStepProcess"/>
    <dgm:cxn modelId="{D00A0C48-A983-42A1-AB56-7020C10327B1}" srcId="{9AA574CB-8BD6-4B60-9457-7F32A38BC259}" destId="{EFB17089-3574-4A60-8020-54656E7936ED}" srcOrd="3" destOrd="0" parTransId="{68B9F50C-4438-4E8C-B1CC-352E2F1638A1}" sibTransId="{B725CBA6-6304-4759-8911-A27E1A85FC94}"/>
    <dgm:cxn modelId="{CCC3A6E3-6DB2-4F89-9935-65C7B6416507}" srcId="{9AA574CB-8BD6-4B60-9457-7F32A38BC259}" destId="{A1BDC2FE-E565-4A3D-B276-447AD311A187}" srcOrd="2" destOrd="0" parTransId="{3EF7CBCA-8A7A-4369-88F4-675015DAEE65}" sibTransId="{771CEA9B-3EA4-4BD3-9AE0-953DFDDE9507}"/>
    <dgm:cxn modelId="{6B28AA2B-C1DE-4622-8360-06448E04E4A5}" type="presOf" srcId="{59DD6DFE-F0F3-44CA-AAFC-49BECEB4898B}" destId="{AC778DCF-4EFE-4AA6-9E31-99963BFD3224}" srcOrd="0" destOrd="0" presId="urn:microsoft.com/office/officeart/2009/3/layout/SubStepProcess"/>
    <dgm:cxn modelId="{6D45C5FB-A95C-4271-835D-26A90376CC1B}" srcId="{9AA574CB-8BD6-4B60-9457-7F32A38BC259}" destId="{1785740A-6C6E-46E9-BC36-EEBDA8EB6EE8}" srcOrd="4" destOrd="0" parTransId="{22CDF2F0-40C9-401A-8874-BA63A60EA1A9}" sibTransId="{A115483D-5EB5-4C11-957F-F7999D7F2D57}"/>
    <dgm:cxn modelId="{FD1939B8-A4DD-4D48-B652-B2C5CFFB3008}" type="presOf" srcId="{EFB17089-3574-4A60-8020-54656E7936ED}" destId="{CCB888D4-0330-4E90-B99C-8DF2F1321B34}" srcOrd="0" destOrd="0" presId="urn:microsoft.com/office/officeart/2009/3/layout/SubStepProcess"/>
    <dgm:cxn modelId="{B508C67D-6604-4C8E-AE3D-0C24E02E2117}" srcId="{9AA574CB-8BD6-4B60-9457-7F32A38BC259}" destId="{FD6B28E6-35E2-4CB6-ABBB-DBBECE808BAD}" srcOrd="0" destOrd="0" parTransId="{1ECC388B-8232-4256-BED3-C7F7CC058BC2}" sibTransId="{661B617C-4515-4507-8984-0AE5D70709EF}"/>
    <dgm:cxn modelId="{3EE53ED9-370B-4A0B-BF93-1F34EB8D4213}" type="presOf" srcId="{9AA574CB-8BD6-4B60-9457-7F32A38BC259}" destId="{F2B8CC0C-4BAB-433E-9C0D-859B89A55943}" srcOrd="0" destOrd="0" presId="urn:microsoft.com/office/officeart/2009/3/layout/SubStepProcess"/>
    <dgm:cxn modelId="{33241D56-1E2C-471F-B998-09EB61F79D0D}" srcId="{9AA574CB-8BD6-4B60-9457-7F32A38BC259}" destId="{59DD6DFE-F0F3-44CA-AAFC-49BECEB4898B}" srcOrd="1" destOrd="0" parTransId="{F3D20448-30A9-43FC-91B2-A84BF9D63406}" sibTransId="{8C7AC8EB-606B-4C7B-88DF-DF0BD7F8900A}"/>
    <dgm:cxn modelId="{FE8108E3-3D90-400F-B616-03FD691DC540}" type="presOf" srcId="{A1BDC2FE-E565-4A3D-B276-447AD311A187}" destId="{4C3CC433-9A47-4F18-BABC-4B71511786BC}" srcOrd="0" destOrd="0" presId="urn:microsoft.com/office/officeart/2009/3/layout/SubStepProcess"/>
    <dgm:cxn modelId="{8C264EF0-42F7-4356-A597-3472F545316B}" type="presParOf" srcId="{8EBA1B9F-4BD7-4330-AC05-DE4AABF676BB}" destId="{F2B8CC0C-4BAB-433E-9C0D-859B89A55943}" srcOrd="0" destOrd="0" presId="urn:microsoft.com/office/officeart/2009/3/layout/SubStepProcess"/>
    <dgm:cxn modelId="{C4EF8EF3-76B5-40FC-9C7E-6BD993ED7A09}" type="presParOf" srcId="{8EBA1B9F-4BD7-4330-AC05-DE4AABF676BB}" destId="{499F60E1-1548-4621-BDF2-D6765242C059}" srcOrd="1" destOrd="0" presId="urn:microsoft.com/office/officeart/2009/3/layout/SubStepProcess"/>
    <dgm:cxn modelId="{84BAB6B9-2BAD-4485-979F-EB36E0E8D4C2}" type="presParOf" srcId="{8EBA1B9F-4BD7-4330-AC05-DE4AABF676BB}" destId="{D5558784-69AE-47A6-8454-A7116A20F705}" srcOrd="2" destOrd="0" presId="urn:microsoft.com/office/officeart/2009/3/layout/SubStepProcess"/>
    <dgm:cxn modelId="{4F078461-9D43-4CB8-8399-243B92B4F594}" type="presParOf" srcId="{D5558784-69AE-47A6-8454-A7116A20F705}" destId="{AFA45A0C-EA29-4ABB-BF49-5831EBCC5B7D}" srcOrd="0" destOrd="0" presId="urn:microsoft.com/office/officeart/2009/3/layout/SubStepProcess"/>
    <dgm:cxn modelId="{A85DCD71-0C0D-4039-960D-3B3FF35B6A24}" type="presParOf" srcId="{D5558784-69AE-47A6-8454-A7116A20F705}" destId="{3912D361-63AB-4F26-982D-D3BDAB42F9E3}" srcOrd="1" destOrd="0" presId="urn:microsoft.com/office/officeart/2009/3/layout/SubStepProcess"/>
    <dgm:cxn modelId="{102D0415-E51B-4EB9-9734-43D6E1322356}" type="presParOf" srcId="{D5558784-69AE-47A6-8454-A7116A20F705}" destId="{71A3EBD6-20E1-4760-81E7-C7E527A32D27}" srcOrd="2" destOrd="0" presId="urn:microsoft.com/office/officeart/2009/3/layout/SubStepProcess"/>
    <dgm:cxn modelId="{C9F1D458-48A1-4684-AF15-3A17A69E9BB6}" type="presParOf" srcId="{71A3EBD6-20E1-4760-81E7-C7E527A32D27}" destId="{751F95A2-1B2F-454D-BE8B-8BCAB68FD45A}" srcOrd="0" destOrd="0" presId="urn:microsoft.com/office/officeart/2009/3/layout/SubStepProcess"/>
    <dgm:cxn modelId="{98237CF8-81D8-4826-86FD-26445BA90147}" type="presParOf" srcId="{71A3EBD6-20E1-4760-81E7-C7E527A32D27}" destId="{C395C025-1394-4C29-A781-B48F429667FF}" srcOrd="1" destOrd="0" presId="urn:microsoft.com/office/officeart/2009/3/layout/SubStepProcess"/>
    <dgm:cxn modelId="{5B886286-255E-4E0A-8122-F903E91CFA59}" type="presParOf" srcId="{71A3EBD6-20E1-4760-81E7-C7E527A32D27}" destId="{8D25E663-CB94-4B4E-B93E-8698F1D93126}" srcOrd="2" destOrd="0" presId="urn:microsoft.com/office/officeart/2009/3/layout/SubStepProcess"/>
    <dgm:cxn modelId="{31055EA0-0935-4D9E-BEF6-912B548329E0}" type="presParOf" srcId="{71A3EBD6-20E1-4760-81E7-C7E527A32D27}" destId="{71B3F7F3-93C6-4167-A5BF-E9FB60AE8FD1}" srcOrd="3" destOrd="0" presId="urn:microsoft.com/office/officeart/2009/3/layout/SubStepProcess"/>
    <dgm:cxn modelId="{E39915F8-28C1-4385-9226-C3529FA7E4FA}" type="presParOf" srcId="{71A3EBD6-20E1-4760-81E7-C7E527A32D27}" destId="{32911B3C-36BB-4AC3-8A04-3AB024253A6F}" srcOrd="4" destOrd="0" presId="urn:microsoft.com/office/officeart/2009/3/layout/SubStepProcess"/>
    <dgm:cxn modelId="{E9FD45DF-31FC-406D-B984-427DC358DD92}" type="presParOf" srcId="{D5558784-69AE-47A6-8454-A7116A20F705}" destId="{B065CECE-0371-4FCA-8FE3-28B1BB37C1B1}" srcOrd="3" destOrd="0" presId="urn:microsoft.com/office/officeart/2009/3/layout/SubStepProcess"/>
    <dgm:cxn modelId="{CF2FA62C-AC6E-4995-8DC2-CA892D3F6C1D}" type="presParOf" srcId="{D5558784-69AE-47A6-8454-A7116A20F705}" destId="{EA28D198-590B-4A31-ACB6-756CD2726CDF}" srcOrd="4" destOrd="0" presId="urn:microsoft.com/office/officeart/2009/3/layout/SubStepProcess"/>
    <dgm:cxn modelId="{1D10EA43-F927-4AA7-8C8E-86C2FCD26317}" type="presParOf" srcId="{D5558784-69AE-47A6-8454-A7116A20F705}" destId="{9FB27C19-2A77-4534-A4AC-BD3A83E7699A}" srcOrd="5" destOrd="0" presId="urn:microsoft.com/office/officeart/2009/3/layout/SubStepProcess"/>
    <dgm:cxn modelId="{C013F93E-F042-4CC2-8D70-035096062F3F}" type="presParOf" srcId="{9FB27C19-2A77-4534-A4AC-BD3A83E7699A}" destId="{218BD76E-C948-46F5-A358-F832A31C066D}" srcOrd="0" destOrd="0" presId="urn:microsoft.com/office/officeart/2009/3/layout/SubStepProcess"/>
    <dgm:cxn modelId="{FED8A42D-4AF2-4E28-B4FC-2DE3A526CFCE}" type="presParOf" srcId="{9FB27C19-2A77-4534-A4AC-BD3A83E7699A}" destId="{8D7C0D31-5272-4552-8F20-24409F068FA8}" srcOrd="1" destOrd="0" presId="urn:microsoft.com/office/officeart/2009/3/layout/SubStepProcess"/>
    <dgm:cxn modelId="{D4397455-567D-45F6-9E19-5B41EB83E7F9}" type="presParOf" srcId="{9FB27C19-2A77-4534-A4AC-BD3A83E7699A}" destId="{4E52FD48-C399-41FC-88C2-0C5ACC2676A0}" srcOrd="2" destOrd="0" presId="urn:microsoft.com/office/officeart/2009/3/layout/SubStepProcess"/>
    <dgm:cxn modelId="{E3F3B998-3E9A-450E-8C75-C7070F28912D}" type="presParOf" srcId="{9FB27C19-2A77-4534-A4AC-BD3A83E7699A}" destId="{AC778DCF-4EFE-4AA6-9E31-99963BFD3224}" srcOrd="3" destOrd="0" presId="urn:microsoft.com/office/officeart/2009/3/layout/SubStepProcess"/>
    <dgm:cxn modelId="{0F8E8112-4B40-45D5-848F-51F4424077C4}" type="presParOf" srcId="{9FB27C19-2A77-4534-A4AC-BD3A83E7699A}" destId="{18EE8AC2-2F7C-40DB-90E9-85F4CF763180}" srcOrd="4" destOrd="0" presId="urn:microsoft.com/office/officeart/2009/3/layout/SubStepProcess"/>
    <dgm:cxn modelId="{541516BD-6370-44B4-8228-959A36F7C815}" type="presParOf" srcId="{D5558784-69AE-47A6-8454-A7116A20F705}" destId="{7470DDDF-A411-485F-95EF-B6CCD3EF4F45}" srcOrd="6" destOrd="0" presId="urn:microsoft.com/office/officeart/2009/3/layout/SubStepProcess"/>
    <dgm:cxn modelId="{C4D9400D-60CB-449A-9CF8-FA67036C803F}" type="presParOf" srcId="{D5558784-69AE-47A6-8454-A7116A20F705}" destId="{2B230C3C-2776-416A-9C3A-E12BDB8745E9}" srcOrd="7" destOrd="0" presId="urn:microsoft.com/office/officeart/2009/3/layout/SubStepProcess"/>
    <dgm:cxn modelId="{AB23E404-5860-4D5D-A98D-7C0CCA02F153}" type="presParOf" srcId="{D5558784-69AE-47A6-8454-A7116A20F705}" destId="{699A586F-1CD5-4E73-AF88-A9578C739EB2}" srcOrd="8" destOrd="0" presId="urn:microsoft.com/office/officeart/2009/3/layout/SubStepProcess"/>
    <dgm:cxn modelId="{46303D31-47AD-4713-BC96-4463C510078D}" type="presParOf" srcId="{699A586F-1CD5-4E73-AF88-A9578C739EB2}" destId="{4C81E381-2DDC-481A-B48E-31345E7C4249}" srcOrd="0" destOrd="0" presId="urn:microsoft.com/office/officeart/2009/3/layout/SubStepProcess"/>
    <dgm:cxn modelId="{E432D57F-5397-4390-A2A3-28EB8AFC4BF9}" type="presParOf" srcId="{699A586F-1CD5-4E73-AF88-A9578C739EB2}" destId="{1EA29EDD-FCAD-4A5A-842F-447EF0D10FCA}" srcOrd="1" destOrd="0" presId="urn:microsoft.com/office/officeart/2009/3/layout/SubStepProcess"/>
    <dgm:cxn modelId="{14B5962D-DD31-4A40-A2B7-42B5D916F6D3}" type="presParOf" srcId="{699A586F-1CD5-4E73-AF88-A9578C739EB2}" destId="{50D4C70E-E378-43E1-8563-06531AE08831}" srcOrd="2" destOrd="0" presId="urn:microsoft.com/office/officeart/2009/3/layout/SubStepProcess"/>
    <dgm:cxn modelId="{93DCD619-A3BD-492D-BC24-4EAE7BBB6E2C}" type="presParOf" srcId="{699A586F-1CD5-4E73-AF88-A9578C739EB2}" destId="{4C3CC433-9A47-4F18-BABC-4B71511786BC}" srcOrd="3" destOrd="0" presId="urn:microsoft.com/office/officeart/2009/3/layout/SubStepProcess"/>
    <dgm:cxn modelId="{6A58B4F5-21B3-4ADF-B7C2-55833CB14690}" type="presParOf" srcId="{699A586F-1CD5-4E73-AF88-A9578C739EB2}" destId="{9A2ECA3F-C717-4F26-9948-33EF8CF92FD9}" srcOrd="4" destOrd="0" presId="urn:microsoft.com/office/officeart/2009/3/layout/SubStepProcess"/>
    <dgm:cxn modelId="{5EBF529E-EFA8-448B-9DA3-E779EB4D575F}" type="presParOf" srcId="{D5558784-69AE-47A6-8454-A7116A20F705}" destId="{8C0FA1D2-4C79-4372-AFD2-42299B449ECA}" srcOrd="9" destOrd="0" presId="urn:microsoft.com/office/officeart/2009/3/layout/SubStepProcess"/>
    <dgm:cxn modelId="{420691C9-B23D-4B24-979D-C29E523B18DE}" type="presParOf" srcId="{D5558784-69AE-47A6-8454-A7116A20F705}" destId="{E8C9D2D3-22D1-4062-B444-1C98C42D3B72}" srcOrd="10" destOrd="0" presId="urn:microsoft.com/office/officeart/2009/3/layout/SubStepProcess"/>
    <dgm:cxn modelId="{4E53BD4E-85C0-4D95-9485-442A7DB9C683}" type="presParOf" srcId="{D5558784-69AE-47A6-8454-A7116A20F705}" destId="{B55205E8-9BD4-44BA-A1C6-3E4EE45C4627}" srcOrd="11" destOrd="0" presId="urn:microsoft.com/office/officeart/2009/3/layout/SubStepProcess"/>
    <dgm:cxn modelId="{F32A37A1-A403-4202-A720-43527C1AD071}" type="presParOf" srcId="{B55205E8-9BD4-44BA-A1C6-3E4EE45C4627}" destId="{0BE616AF-BEDA-4E3A-8929-FAD77B667CA7}" srcOrd="0" destOrd="0" presId="urn:microsoft.com/office/officeart/2009/3/layout/SubStepProcess"/>
    <dgm:cxn modelId="{72B088A8-145D-43FA-9EA0-ED3534D739F4}" type="presParOf" srcId="{B55205E8-9BD4-44BA-A1C6-3E4EE45C4627}" destId="{38EF53CF-C233-4F5B-96CE-BE38788C6D06}" srcOrd="1" destOrd="0" presId="urn:microsoft.com/office/officeart/2009/3/layout/SubStepProcess"/>
    <dgm:cxn modelId="{B063B4D3-BBF8-43A6-91A9-2F556D12E793}" type="presParOf" srcId="{B55205E8-9BD4-44BA-A1C6-3E4EE45C4627}" destId="{9E77485A-68C3-41E6-BF79-BCCAA629F0F8}" srcOrd="2" destOrd="0" presId="urn:microsoft.com/office/officeart/2009/3/layout/SubStepProcess"/>
    <dgm:cxn modelId="{2F6668C2-596C-491B-96C0-875418EF06A0}" type="presParOf" srcId="{B55205E8-9BD4-44BA-A1C6-3E4EE45C4627}" destId="{CCB888D4-0330-4E90-B99C-8DF2F1321B34}" srcOrd="3" destOrd="0" presId="urn:microsoft.com/office/officeart/2009/3/layout/SubStepProcess"/>
    <dgm:cxn modelId="{46641CFF-AE9E-4271-BFA8-B29D9A8106F8}" type="presParOf" srcId="{B55205E8-9BD4-44BA-A1C6-3E4EE45C4627}" destId="{24F3DADA-A5BA-423E-8EA5-2239F406FE94}" srcOrd="4" destOrd="0" presId="urn:microsoft.com/office/officeart/2009/3/layout/SubStepProcess"/>
    <dgm:cxn modelId="{6E4CCC40-12A0-47E9-9DA1-449DA984FB92}" type="presParOf" srcId="{D5558784-69AE-47A6-8454-A7116A20F705}" destId="{7D7FF291-49EF-4066-9F03-9D3A51FD909C}" srcOrd="12" destOrd="0" presId="urn:microsoft.com/office/officeart/2009/3/layout/SubStepProcess"/>
    <dgm:cxn modelId="{A413C954-E02B-4B8F-ADC7-DFE85A4DD85B}" type="presParOf" srcId="{D5558784-69AE-47A6-8454-A7116A20F705}" destId="{695AF5FC-82EE-438F-8168-4ACB11EC776B}" srcOrd="13" destOrd="0" presId="urn:microsoft.com/office/officeart/2009/3/layout/SubStepProcess"/>
    <dgm:cxn modelId="{06E4FCC2-28B5-4CA5-B8B1-0A3BE3B8BD63}" type="presParOf" srcId="{D5558784-69AE-47A6-8454-A7116A20F705}" destId="{68E2CDFF-7262-4EEC-8B55-D9248E4E218A}" srcOrd="14" destOrd="0" presId="urn:microsoft.com/office/officeart/2009/3/layout/SubStepProcess"/>
    <dgm:cxn modelId="{E6A6EAE2-1222-4FAC-B8A3-9E381BC4D453}" type="presParOf" srcId="{68E2CDFF-7262-4EEC-8B55-D9248E4E218A}" destId="{75245BD2-80EC-4AD5-8789-A9AE1B37FAFB}" srcOrd="0" destOrd="0" presId="urn:microsoft.com/office/officeart/2009/3/layout/SubStepProcess"/>
    <dgm:cxn modelId="{3F884930-D2FB-4747-8970-42C3DE7727B4}" type="presParOf" srcId="{68E2CDFF-7262-4EEC-8B55-D9248E4E218A}" destId="{2C295776-2D18-4594-8778-B97E86D76516}" srcOrd="1" destOrd="0" presId="urn:microsoft.com/office/officeart/2009/3/layout/SubStepProcess"/>
    <dgm:cxn modelId="{FD0D5031-CC78-4533-983D-50BC3FF52063}" type="presParOf" srcId="{68E2CDFF-7262-4EEC-8B55-D9248E4E218A}" destId="{98009388-FD15-47A5-BE6E-D232EA29BC26}" srcOrd="2" destOrd="0" presId="urn:microsoft.com/office/officeart/2009/3/layout/SubStepProcess"/>
    <dgm:cxn modelId="{2D01C260-43DE-4196-AD0E-70842C354D8E}" type="presParOf" srcId="{68E2CDFF-7262-4EEC-8B55-D9248E4E218A}" destId="{BE1F7520-9AAB-4F5D-8D4F-4C088613B629}" srcOrd="3" destOrd="0" presId="urn:microsoft.com/office/officeart/2009/3/layout/SubStepProcess"/>
    <dgm:cxn modelId="{6962116F-8735-436D-BC93-E1B84796ECE2}" type="presParOf" srcId="{68E2CDFF-7262-4EEC-8B55-D9248E4E218A}" destId="{F56D2327-7518-4084-9EBF-31F842554F9E}" srcOrd="4" destOrd="0" presId="urn:microsoft.com/office/officeart/2009/3/layout/SubStepProcess"/>
    <dgm:cxn modelId="{63F0134C-854A-40FF-ADCE-41FC96432D5E}" type="presParOf" srcId="{8EBA1B9F-4BD7-4330-AC05-DE4AABF676BB}" destId="{54DB97C3-91B1-4D1A-89C6-19FF6E874AA5}" srcOrd="3" destOrd="0" presId="urn:microsoft.com/office/officeart/2009/3/layout/SubStepProcess"/>
    <dgm:cxn modelId="{F063D446-F9B7-4A9F-94E2-64491EB9DB9E}" type="presParOf" srcId="{8EBA1B9F-4BD7-4330-AC05-DE4AABF676BB}" destId="{C068A876-EA0B-411A-A280-B7C0AE720FF8}" srcOrd="4"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10.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11.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12.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13.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target1">
  <dgm:title val=""/>
  <dgm:desc val=""/>
  <dgm:catLst>
    <dgm:cat type="relationship" pri="25000"/>
    <dgm:cat type="convert" pri="2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resizeHandles val="exact"/>
    </dgm:varLst>
    <dgm:alg type="composite">
      <dgm:param type="ar" val="1.25"/>
    </dgm:alg>
    <dgm:shape xmlns:r="http://schemas.openxmlformats.org/officeDocument/2006/relationships" r:blip="">
      <dgm:adjLst/>
    </dgm:shape>
    <dgm:presOf/>
    <dgm:choose name="Name0">
      <dgm:if name="Name1" func="var" arg="dir" op="equ" val="norm">
        <dgm:choose name="Name2">
          <dgm:if name="Name3" axis="ch" ptType="node" func="cnt" op="equ" val="0">
            <dgm:constrLst/>
          </dgm:if>
          <dgm:if name="Name4"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r" for="ch" forName="line1" refType="l" refFor="ch" refForName="text1"/>
              <dgm:constr type="h" for="ch" forName="line1"/>
              <dgm:constr type="l" for="ch" forName="d1" refType="w" fact="0.3"/>
              <dgm:constr type="b" for="ch" forName="d1" refType="h" fact="0.625"/>
              <dgm:constr type="w" for="ch" forName="d1" refType="w" fact="0.32475"/>
              <dgm:constr type="h" for="ch" forName="d1" refType="h" fact="0.469"/>
            </dgm:constrLst>
          </dgm:if>
          <dgm:if name="Name5"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312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44325"/>
              <dgm:constr type="b" for="ch" forName="d2" refType="h" fact="0.7975"/>
              <dgm:constr type="w" for="ch" forName="d2" refType="w" fact="0.1815"/>
              <dgm:constr type="h" for="ch" forName="d2" refType="h" fact="0.3283"/>
            </dgm:constrLst>
          </dgm:if>
          <dgm:if name="Name6"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2187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2187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86"/>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7175"/>
              <dgm:constr type="b" for="ch" forName="d3" refType="h" fact="0.83375"/>
              <dgm:constr type="w" for="ch" forName="d3" refType="w" fact="0.1527"/>
              <dgm:constr type="h" for="ch" forName="d3" refType="h" fact="0.287"/>
            </dgm:constrLst>
          </dgm:if>
          <dgm:if name="Name7"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7938"/>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29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7938"/>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662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25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r" for="ch" forName="text4" refType="w"/>
              <dgm:constr type="t" for="ch" forName="text4" refType="b" refFor="ch" refForName="text3"/>
              <dgm:constr type="l" for="ch" forName="line4" refType="w" fact="0.625"/>
              <dgm:constr type="ctrY" for="ch" forName="line4" refType="ctrY" refFor="ch" refForName="text4"/>
              <dgm:constr type="w" for="ch" forName="line4" refType="w" fact="0.075"/>
              <dgm:constr type="h" for="ch" forName="line4"/>
              <dgm:constr type="l" for="ch" forName="d4" refType="w" fact="0.48525"/>
              <dgm:constr type="b" for="ch" forName="d4" refType="h" fact="0.85594"/>
              <dgm:constr type="w" for="ch" forName="d4" refType="w" fact="0.1394"/>
              <dgm:constr type="h" for="ch" forName="d4" refType="h" fact="0.2282"/>
            </dgm:constrLst>
          </dgm:if>
          <dgm:if name="Name8"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324"/>
              <dgm:constr type="r" for="ch" forName="text1" refType="w"/>
              <dgm:constr type="ctrY" for="ch" forName="text1" refType="h" fact="0.13"/>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324"/>
              <dgm:constr type="r" for="ch" forName="text2" refType="w"/>
              <dgm:constr type="ctrY" for="ch" forName="text2" refType="h" fact="0.27"/>
              <dgm:constr type="l" for="ch" forName="line2" refType="w" fact="0.625"/>
              <dgm:constr type="ctrY" for="ch" forName="line2" refType="ctrY" refFor="ch" refForName="text2"/>
              <dgm:constr type="w" for="ch" forName="line2" refType="w" fact="0.075"/>
              <dgm:constr type="h" for="ch" forName="line2"/>
              <dgm:constr type="l" for="ch" forName="d2" refType="w" fact="0.3498"/>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r" for="ch" forName="text3" refType="w"/>
              <dgm:constr type="ctrY" for="ch" forName="text3" refType="h" fact="0.41"/>
              <dgm:constr type="l" for="ch" forName="line3" refType="w" fact="0.625"/>
              <dgm:constr type="ctrY" for="ch" forName="line3" refType="ctrY" refFor="ch" refForName="text3"/>
              <dgm:constr type="w" for="ch" forName="line3" refType="w" fact="0.075"/>
              <dgm:constr type="h" for="ch" forName="line3"/>
              <dgm:constr type="l" for="ch" forName="d3" refType="w" fact="0.394"/>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r" for="ch" forName="text4" refType="w"/>
              <dgm:constr type="ctrY" for="ch" forName="text4" refType="h" fact="0.547"/>
              <dgm:constr type="l" for="ch" forName="line4" refType="w" fact="0.625"/>
              <dgm:constr type="ctrY" for="ch" forName="line4" refType="ctrY" refFor="ch" refForName="text4"/>
              <dgm:constr type="w" for="ch" forName="line4" refType="w" fact="0.075"/>
              <dgm:constr type="h" for="ch" forName="line4"/>
              <dgm:constr type="l" for="ch" forName="d4" refType="w" fact="0.446"/>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r" for="ch" forName="text5" refType="w"/>
              <dgm:constr type="ctrY" for="ch" forName="text5" refType="h" fact="0.68"/>
              <dgm:constr type="l" for="ch" forName="line5" refType="w" fact="0.625"/>
              <dgm:constr type="ctrY" for="ch" forName="line5" refType="ctrY" refFor="ch" refForName="text5"/>
              <dgm:constr type="w" for="ch" forName="line5" refType="w" fact="0.075"/>
              <dgm:constr type="h" for="ch" forName="line5"/>
              <dgm:constr type="l" for="ch" forName="d5" refType="w" fact="0.495"/>
              <dgm:constr type="b" for="ch" forName="d5" refType="h" fact="0.855"/>
              <dgm:constr type="w" for="ch" forName="d5" refType="w" fact="0.13"/>
              <dgm:constr type="h" for="ch" forName="d5" refType="h" fact="0.175"/>
            </dgm:constrLst>
          </dgm:if>
          <dgm:else name="Name9"/>
        </dgm:choose>
      </dgm:if>
      <dgm:else name="Name10">
        <dgm:choose name="Name11">
          <dgm:if name="Name12" axis="ch" ptType="node" func="cnt" op="equ" val="0">
            <dgm:constrLst/>
          </dgm:if>
          <dgm:if name="Name13"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Lst>
          </dgm:if>
          <dgm:if name="Name14"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312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55675"/>
              <dgm:constr type="b" for="ch" forName="d2" refType="h" fact="0.7975"/>
              <dgm:constr type="w" for="ch" forName="d2" refType="w" fact="0.1815"/>
              <dgm:constr type="h" for="ch" forName="d2" refType="h" fact="0.3283"/>
            </dgm:constrLst>
          </dgm:if>
          <dgm:if name="Name15"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2187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2187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14"/>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2825"/>
              <dgm:constr type="b" for="ch" forName="d3" refType="h" fact="0.83375"/>
              <dgm:constr type="w" for="ch" forName="d3" refType="w" fact="0.1527"/>
              <dgm:constr type="h" for="ch" forName="d3" refType="h" fact="0.287"/>
            </dgm:constrLst>
          </dgm:if>
          <dgm:if name="Name16"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7938"/>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0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7938"/>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337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74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l" for="ch" forName="text4"/>
              <dgm:constr type="t" for="ch" forName="text4" refType="b" refFor="ch" refForName="text3"/>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1475"/>
              <dgm:constr type="b" for="ch" forName="d4" refType="h" fact="0.85594"/>
              <dgm:constr type="w" for="ch" forName="d4" refType="w" fact="0.1394"/>
              <dgm:constr type="h" for="ch" forName="d4" refType="h" fact="0.2282"/>
            </dgm:constrLst>
          </dgm:if>
          <dgm:if name="Name17"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324"/>
              <dgm:constr type="l" for="ch" forName="text1"/>
              <dgm:constr type="ctrY" for="ch" forName="text1" refType="h" fact="0.13"/>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324"/>
              <dgm:constr type="l" for="ch" forName="text2"/>
              <dgm:constr type="ctrY" for="ch" forName="text2" refType="h" fact="0.27"/>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502"/>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l" for="ch" forName="text3"/>
              <dgm:constr type="ctrY" for="ch" forName="text3" refType="h" fact="0.41"/>
              <dgm:constr type="l" for="ch" forName="line3" refType="r" refFor="ch" refForName="text3"/>
              <dgm:constr type="ctrY" for="ch" forName="line3" refType="ctrY" refFor="ch" refForName="text3"/>
              <dgm:constr type="r" for="ch" forName="line3" refType="w" fact="0.375"/>
              <dgm:constr type="h" for="ch" forName="line3"/>
              <dgm:constr type="r" for="ch" forName="d3" refType="w" fact="0.606"/>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l" for="ch" forName="text4"/>
              <dgm:constr type="ctrY" for="ch" forName="text4" refType="h" fact="0.547"/>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54"/>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l" for="ch" forName="text5"/>
              <dgm:constr type="ctrY" for="ch" forName="text5" refType="h" fact="0.68"/>
              <dgm:constr type="l" for="ch" forName="line5" refType="r" refFor="ch" refForName="text5"/>
              <dgm:constr type="ctrY" for="ch" forName="line5" refType="ctrY" refFor="ch" refForName="text5"/>
              <dgm:constr type="r" for="ch" forName="line5" refType="w" fact="0.375"/>
              <dgm:constr type="h" for="ch" forName="line5"/>
              <dgm:constr type="r" for="ch" forName="d5" refType="w" fact="0.505"/>
              <dgm:constr type="b" for="ch" forName="d5" refType="h" fact="0.855"/>
              <dgm:constr type="w" for="ch" forName="d5" refType="w" fact="0.13"/>
              <dgm:constr type="h" for="ch" forName="d5" refType="h" fact="0.175"/>
            </dgm:constrLst>
          </dgm:if>
          <dgm:else name="Name18"/>
        </dgm:choose>
      </dgm:else>
    </dgm:choose>
    <dgm:ruleLst/>
    <dgm:forEach name="Name19" axis="ch" ptType="node" cnt="1">
      <dgm:layoutNode name="circle1" styleLbl="lnNode1">
        <dgm:alg type="sp"/>
        <dgm:shape xmlns:r="http://schemas.openxmlformats.org/officeDocument/2006/relationships" type="ellipse" r:blip="">
          <dgm:adjLst/>
        </dgm:shape>
        <dgm:presOf/>
        <dgm:constrLst/>
        <dgm:ruleLst/>
      </dgm:layoutNode>
      <dgm:layoutNode name="text1" styleLbl="revTx">
        <dgm:varLst>
          <dgm:bulletEnabled val="1"/>
        </dgm:varLst>
        <dgm:choose name="Name20">
          <dgm:if name="Name21" func="var" arg="dir" op="equ" val="norm">
            <dgm:choose name="Name22">
              <dgm:if name="Name23" axis="root des" ptType="all node" func="maxDepth" op="gt" val="1">
                <dgm:alg type="tx">
                  <dgm:param type="parTxLTRAlign" val="l"/>
                  <dgm:param type="parTxRTLAlign" val="r"/>
                </dgm:alg>
              </dgm:if>
              <dgm:else name="Name24">
                <dgm:alg type="tx">
                  <dgm:param type="parTxLTRAlign" val="l"/>
                  <dgm:param type="parTxRTLAlign" val="l"/>
                </dgm:alg>
              </dgm:else>
            </dgm:choose>
          </dgm:if>
          <dgm:else name="Name25">
            <dgm:choose name="Name26">
              <dgm:if name="Name27" axis="root des" ptType="all node" func="maxDepth" op="gt" val="1">
                <dgm:alg type="tx">
                  <dgm:param type="parTxLTRAlign" val="l"/>
                  <dgm:param type="parTxRTLAlign" val="r"/>
                </dgm:alg>
              </dgm:if>
              <dgm:else name="Name28">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29">
          <dgm:if name="Name30" func="var" arg="dir" op="equ" val="norm">
            <dgm:constrLst>
              <dgm:constr type="tMarg" refType="primFontSz" fact="0.1"/>
              <dgm:constr type="bMarg" refType="primFontSz" fact="0.1"/>
              <dgm:constr type="rMarg" refType="primFontSz" fact="0.1"/>
            </dgm:constrLst>
          </dgm:if>
          <dgm:else name="Name31">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1" styleLbl="callout">
        <dgm:alg type="sp"/>
        <dgm:shape xmlns:r="http://schemas.openxmlformats.org/officeDocument/2006/relationships" type="line" r:blip="">
          <dgm:adjLst/>
        </dgm:shape>
        <dgm:presOf/>
        <dgm:constrLst/>
        <dgm:ruleLst/>
      </dgm:layoutNode>
      <dgm:layoutNode name="d1" styleLbl="callout">
        <dgm:alg type="sp"/>
        <dgm:choose name="Name32">
          <dgm:if name="Name33" func="var" arg="dir" op="equ" val="norm">
            <dgm:shape xmlns:r="http://schemas.openxmlformats.org/officeDocument/2006/relationships" rot="90" type="line" r:blip="">
              <dgm:adjLst/>
            </dgm:shape>
          </dgm:if>
          <dgm:else name="Name34">
            <dgm:shape xmlns:r="http://schemas.openxmlformats.org/officeDocument/2006/relationships" rot="180" type="line" r:blip="">
              <dgm:adjLst/>
            </dgm:shape>
          </dgm:else>
        </dgm:choose>
        <dgm:presOf/>
        <dgm:constrLst/>
        <dgm:ruleLst/>
      </dgm:layoutNode>
    </dgm:forEach>
    <dgm:forEach name="Name35" axis="ch" ptType="node" st="2" cnt="1">
      <dgm:layoutNode name="circle2" styleLbl="lnNode1">
        <dgm:alg type="sp"/>
        <dgm:shape xmlns:r="http://schemas.openxmlformats.org/officeDocument/2006/relationships" type="ellipse" r:blip="" zOrderOff="-5">
          <dgm:adjLst/>
        </dgm:shape>
        <dgm:presOf/>
        <dgm:constrLst/>
        <dgm:ruleLst/>
      </dgm:layoutNode>
      <dgm:layoutNode name="text2" styleLbl="revTx">
        <dgm:varLst>
          <dgm:bulletEnabled val="1"/>
        </dgm:varLst>
        <dgm:choose name="Name36">
          <dgm:if name="Name37" func="var" arg="dir" op="equ" val="norm">
            <dgm:choose name="Name38">
              <dgm:if name="Name39" axis="root des" ptType="all node" func="maxDepth" op="gt" val="1">
                <dgm:alg type="tx">
                  <dgm:param type="parTxLTRAlign" val="l"/>
                  <dgm:param type="parTxRTLAlign" val="r"/>
                </dgm:alg>
              </dgm:if>
              <dgm:else name="Name40">
                <dgm:alg type="tx">
                  <dgm:param type="parTxLTRAlign" val="l"/>
                  <dgm:param type="parTxRTLAlign" val="l"/>
                </dgm:alg>
              </dgm:else>
            </dgm:choose>
          </dgm:if>
          <dgm:else name="Name41">
            <dgm:choose name="Name42">
              <dgm:if name="Name43" axis="root des" ptType="all node" func="maxDepth" op="gt" val="1">
                <dgm:alg type="tx">
                  <dgm:param type="parTxLTRAlign" val="l"/>
                  <dgm:param type="parTxRTLAlign" val="r"/>
                </dgm:alg>
              </dgm:if>
              <dgm:else name="Name44">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45">
          <dgm:if name="Name46" func="var" arg="dir" op="equ" val="norm">
            <dgm:constrLst>
              <dgm:constr type="tMarg" refType="primFontSz" fact="0.1"/>
              <dgm:constr type="bMarg" refType="primFontSz" fact="0.1"/>
              <dgm:constr type="rMarg" refType="primFontSz" fact="0.1"/>
            </dgm:constrLst>
          </dgm:if>
          <dgm:else name="Name47">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2" styleLbl="callout">
        <dgm:alg type="sp"/>
        <dgm:shape xmlns:r="http://schemas.openxmlformats.org/officeDocument/2006/relationships" type="line" r:blip="">
          <dgm:adjLst/>
        </dgm:shape>
        <dgm:presOf/>
        <dgm:constrLst/>
        <dgm:ruleLst/>
      </dgm:layoutNode>
      <dgm:layoutNode name="d2" styleLbl="callout">
        <dgm:alg type="sp"/>
        <dgm:choose name="Name48">
          <dgm:if name="Name49" func="var" arg="dir" op="equ" val="norm">
            <dgm:shape xmlns:r="http://schemas.openxmlformats.org/officeDocument/2006/relationships" rot="90" type="line" r:blip="">
              <dgm:adjLst/>
            </dgm:shape>
          </dgm:if>
          <dgm:else name="Name50">
            <dgm:shape xmlns:r="http://schemas.openxmlformats.org/officeDocument/2006/relationships" rot="180" type="line" r:blip="">
              <dgm:adjLst/>
            </dgm:shape>
          </dgm:else>
        </dgm:choose>
        <dgm:presOf/>
        <dgm:constrLst/>
        <dgm:ruleLst/>
      </dgm:layoutNode>
    </dgm:forEach>
    <dgm:forEach name="Name51" axis="ch" ptType="node" st="3" cnt="1">
      <dgm:layoutNode name="circle3" styleLbl="lnNode1">
        <dgm:alg type="sp"/>
        <dgm:shape xmlns:r="http://schemas.openxmlformats.org/officeDocument/2006/relationships" type="ellipse" r:blip="" zOrderOff="-10">
          <dgm:adjLst/>
        </dgm:shape>
        <dgm:presOf/>
        <dgm:constrLst/>
        <dgm:ruleLst/>
      </dgm:layoutNode>
      <dgm:layoutNode name="text3" styleLbl="revTx">
        <dgm:varLst>
          <dgm:bulletEnabled val="1"/>
        </dgm:varLst>
        <dgm:choose name="Name52">
          <dgm:if name="Name53" func="var" arg="dir" op="equ" val="norm">
            <dgm:choose name="Name54">
              <dgm:if name="Name55" axis="root des" ptType="all node" func="maxDepth" op="gt" val="1">
                <dgm:alg type="tx">
                  <dgm:param type="parTxLTRAlign" val="l"/>
                  <dgm:param type="parTxRTLAlign" val="r"/>
                </dgm:alg>
              </dgm:if>
              <dgm:else name="Name56">
                <dgm:alg type="tx">
                  <dgm:param type="parTxLTRAlign" val="l"/>
                  <dgm:param type="parTxRTLAlign" val="l"/>
                </dgm:alg>
              </dgm:else>
            </dgm:choose>
          </dgm:if>
          <dgm:else name="Name57">
            <dgm:choose name="Name58">
              <dgm:if name="Name59" axis="root des" ptType="all node" func="maxDepth" op="gt" val="1">
                <dgm:alg type="tx">
                  <dgm:param type="parTxLTRAlign" val="l"/>
                  <dgm:param type="parTxRTLAlign" val="r"/>
                </dgm:alg>
              </dgm:if>
              <dgm:else name="Name60">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61">
          <dgm:if name="Name62" func="var" arg="dir" op="equ" val="norm">
            <dgm:constrLst>
              <dgm:constr type="tMarg" refType="primFontSz" fact="0.1"/>
              <dgm:constr type="bMarg" refType="primFontSz" fact="0.1"/>
              <dgm:constr type="rMarg" refType="primFontSz" fact="0.1"/>
            </dgm:constrLst>
          </dgm:if>
          <dgm:else name="Name63">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3" styleLbl="callout">
        <dgm:alg type="sp"/>
        <dgm:shape xmlns:r="http://schemas.openxmlformats.org/officeDocument/2006/relationships" type="line" r:blip="">
          <dgm:adjLst/>
        </dgm:shape>
        <dgm:presOf/>
        <dgm:constrLst/>
        <dgm:ruleLst/>
      </dgm:layoutNode>
      <dgm:layoutNode name="d3" styleLbl="callout">
        <dgm:alg type="sp"/>
        <dgm:choose name="Name64">
          <dgm:if name="Name65" func="var" arg="dir" op="equ" val="norm">
            <dgm:shape xmlns:r="http://schemas.openxmlformats.org/officeDocument/2006/relationships" rot="90" type="line" r:blip="">
              <dgm:adjLst/>
            </dgm:shape>
          </dgm:if>
          <dgm:else name="Name66">
            <dgm:shape xmlns:r="http://schemas.openxmlformats.org/officeDocument/2006/relationships" rot="180" type="line" r:blip="">
              <dgm:adjLst/>
            </dgm:shape>
          </dgm:else>
        </dgm:choose>
        <dgm:presOf/>
        <dgm:constrLst/>
        <dgm:ruleLst/>
      </dgm:layoutNode>
    </dgm:forEach>
    <dgm:forEach name="Name67" axis="ch" ptType="node" st="4" cnt="1">
      <dgm:layoutNode name="circle4" styleLbl="lnNode1">
        <dgm:alg type="sp"/>
        <dgm:shape xmlns:r="http://schemas.openxmlformats.org/officeDocument/2006/relationships" type="ellipse" r:blip="" zOrderOff="-15">
          <dgm:adjLst/>
        </dgm:shape>
        <dgm:presOf/>
        <dgm:constrLst/>
        <dgm:ruleLst/>
      </dgm:layoutNode>
      <dgm:layoutNode name="text4" styleLbl="revTx">
        <dgm:varLst>
          <dgm:bulletEnabled val="1"/>
        </dgm:varLst>
        <dgm:choose name="Name68">
          <dgm:if name="Name69" func="var" arg="dir" op="equ" val="norm">
            <dgm:choose name="Name70">
              <dgm:if name="Name71" axis="root des" ptType="all node" func="maxDepth" op="gt" val="1">
                <dgm:alg type="tx">
                  <dgm:param type="parTxLTRAlign" val="l"/>
                  <dgm:param type="parTxRTLAlign" val="r"/>
                </dgm:alg>
              </dgm:if>
              <dgm:else name="Name72">
                <dgm:alg type="tx">
                  <dgm:param type="parTxLTRAlign" val="l"/>
                  <dgm:param type="parTxRTLAlign" val="l"/>
                </dgm:alg>
              </dgm:else>
            </dgm:choose>
          </dgm:if>
          <dgm:else name="Name73">
            <dgm:choose name="Name74">
              <dgm:if name="Name75" axis="root des" ptType="all node" func="maxDepth" op="gt" val="1">
                <dgm:alg type="tx">
                  <dgm:param type="parTxLTRAlign" val="l"/>
                  <dgm:param type="parTxRTLAlign" val="r"/>
                </dgm:alg>
              </dgm:if>
              <dgm:else name="Name76">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77">
          <dgm:if name="Name78" func="var" arg="dir" op="equ" val="norm">
            <dgm:constrLst>
              <dgm:constr type="tMarg" refType="primFontSz" fact="0.1"/>
              <dgm:constr type="bMarg" refType="primFontSz" fact="0.1"/>
              <dgm:constr type="rMarg" refType="primFontSz" fact="0.1"/>
            </dgm:constrLst>
          </dgm:if>
          <dgm:else name="Name79">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4" styleLbl="callout">
        <dgm:alg type="sp"/>
        <dgm:shape xmlns:r="http://schemas.openxmlformats.org/officeDocument/2006/relationships" type="line" r:blip="">
          <dgm:adjLst/>
        </dgm:shape>
        <dgm:presOf/>
        <dgm:constrLst/>
        <dgm:ruleLst/>
      </dgm:layoutNode>
      <dgm:layoutNode name="d4" styleLbl="callout">
        <dgm:alg type="sp"/>
        <dgm:choose name="Name80">
          <dgm:if name="Name81" func="var" arg="dir" op="equ" val="norm">
            <dgm:shape xmlns:r="http://schemas.openxmlformats.org/officeDocument/2006/relationships" rot="90" type="line" r:blip="">
              <dgm:adjLst/>
            </dgm:shape>
          </dgm:if>
          <dgm:else name="Name82">
            <dgm:shape xmlns:r="http://schemas.openxmlformats.org/officeDocument/2006/relationships" rot="180" type="line" r:blip="">
              <dgm:adjLst/>
            </dgm:shape>
          </dgm:else>
        </dgm:choose>
        <dgm:presOf/>
        <dgm:constrLst/>
        <dgm:ruleLst/>
      </dgm:layoutNode>
    </dgm:forEach>
    <dgm:forEach name="Name83" axis="ch" ptType="node" st="5" cnt="1">
      <dgm:layoutNode name="circle5" styleLbl="lnNode1">
        <dgm:alg type="sp"/>
        <dgm:shape xmlns:r="http://schemas.openxmlformats.org/officeDocument/2006/relationships" type="ellipse" r:blip="" zOrderOff="-20">
          <dgm:adjLst/>
        </dgm:shape>
        <dgm:presOf/>
        <dgm:constrLst/>
        <dgm:ruleLst/>
      </dgm:layoutNode>
      <dgm:layoutNode name="text5" styleLbl="revTx">
        <dgm:varLst>
          <dgm:bulletEnabled val="1"/>
        </dgm:varLst>
        <dgm:choose name="Name84">
          <dgm:if name="Name85" func="var" arg="dir" op="equ" val="norm">
            <dgm:choose name="Name86">
              <dgm:if name="Name87" axis="root des" ptType="all node" func="maxDepth" op="gt" val="1">
                <dgm:alg type="tx">
                  <dgm:param type="parTxLTRAlign" val="l"/>
                  <dgm:param type="parTxRTLAlign" val="r"/>
                </dgm:alg>
              </dgm:if>
              <dgm:else name="Name88">
                <dgm:alg type="tx">
                  <dgm:param type="parTxLTRAlign" val="l"/>
                  <dgm:param type="parTxRTLAlign" val="l"/>
                </dgm:alg>
              </dgm:else>
            </dgm:choose>
          </dgm:if>
          <dgm:else name="Name89">
            <dgm:choose name="Name90">
              <dgm:if name="Name91" axis="root des" ptType="all node" func="maxDepth" op="gt" val="1">
                <dgm:alg type="tx">
                  <dgm:param type="parTxLTRAlign" val="l"/>
                  <dgm:param type="parTxRTLAlign" val="r"/>
                </dgm:alg>
              </dgm:if>
              <dgm:else name="Name92">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tMarg" refType="primFontSz" fact="0.1"/>
              <dgm:constr type="bMarg" refType="primFontSz" fact="0.1"/>
              <dgm:constr type="rMarg" refType="primFontSz" fact="0.1"/>
            </dgm:constrLst>
          </dgm:if>
          <dgm:else name="Name95">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5" styleLbl="callout">
        <dgm:alg type="sp"/>
        <dgm:shape xmlns:r="http://schemas.openxmlformats.org/officeDocument/2006/relationships" type="line" r:blip="">
          <dgm:adjLst/>
        </dgm:shape>
        <dgm:presOf/>
        <dgm:constrLst/>
        <dgm:ruleLst/>
      </dgm:layoutNode>
      <dgm:layoutNode name="d5" styleLbl="callout">
        <dgm:alg type="sp"/>
        <dgm:choose name="Name96">
          <dgm:if name="Name97" func="var" arg="dir" op="equ" val="norm">
            <dgm:shape xmlns:r="http://schemas.openxmlformats.org/officeDocument/2006/relationships" rot="90" type="line" r:blip="">
              <dgm:adjLst/>
            </dgm:shape>
          </dgm:if>
          <dgm:else name="Name98">
            <dgm:shape xmlns:r="http://schemas.openxmlformats.org/officeDocument/2006/relationships" rot="180" type="line" r:blip="">
              <dgm:adjLst/>
            </dgm:shape>
          </dgm:else>
        </dgm:choose>
        <dgm:presOf/>
        <dgm:constrLst/>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17.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09/3/layout/PhasedProcess">
  <dgm:title val=""/>
  <dgm:desc val=""/>
  <dgm:catLst>
    <dgm:cat type="process" pri="12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clrData>
  <dgm:layoutNode name="Name0">
    <dgm:varLst>
      <dgm:chMax val="3"/>
      <dgm:chPref val="3"/>
      <dgm:bulletEnabled val="1"/>
      <dgm:dir/>
      <dgm:animLvl val="lvl"/>
    </dgm:varLst>
    <dgm:shape xmlns:r="http://schemas.openxmlformats.org/officeDocument/2006/relationships" r:blip="">
      <dgm:adjLst/>
    </dgm:shape>
    <dgm:choose name="Name1">
      <dgm:if name="Name2" axis="ch" ptType="node" func="cnt" op="gte" val="3">
        <dgm:alg type="composite">
          <dgm:param type="ar" val="2.8316"/>
        </dgm:alg>
        <dgm:choose name="Name3">
          <dgm:if name="Name4"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567"/>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rightChild" refType="w" fact="0.713"/>
              <dgm:constr type="t" for="ch" forName="rightChild" refType="h" fact="0.1934"/>
              <dgm:constr type="w" for="ch" forName="rightChild" refType="w" fact="0.193"/>
              <dgm:constr type="h" for="ch" forName="rightChild" refType="h" fact="0.5464"/>
              <dgm:constr type="l" for="ch" forName="parentText1" refType="w" fact="0.0621"/>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6845"/>
              <dgm:constr type="t" for="ch" forName="parentText3" refType="h" fact="0.8128"/>
              <dgm:constr type="w" for="ch" forName="parentText3" refType="w" fact="0.2509"/>
              <dgm:constr type="h" for="ch" forName="parentText3" refType="h" fact="0.1872"/>
            </dgm:constrLst>
          </dgm:if>
          <dgm:else name="Name5">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72"/>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rightChild" refType="w" fact="0.09"/>
              <dgm:constr type="t" for="ch" forName="rightChild" refType="h" fact="0.1934"/>
              <dgm:constr type="w" for="ch" forName="rightChild" refType="w" fact="0.193"/>
              <dgm:constr type="h" for="ch" forName="rightChild" refType="h" fact="0.5464"/>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parentText1" refType="w" fact="0.7"/>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062"/>
              <dgm:constr type="t" for="ch" forName="parentText3" refType="h" fact="0.8128"/>
              <dgm:constr type="w" for="ch" forName="parentText3" refType="w" fact="0.2509"/>
              <dgm:constr type="h" for="ch" forName="parentText3" refType="h" fact="0.1872"/>
            </dgm:constrLst>
          </dgm:else>
        </dgm:choose>
      </dgm:if>
      <dgm:if name="Name6" axis="ch" ptType="node" func="cnt" op="gte" val="2">
        <dgm:alg type="composite">
          <dgm:param type="ar" val="1.8986"/>
        </dgm:alg>
        <dgm:choose name="Name7">
          <dgm:if name="Name8"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941"/>
              <dgm:constr type="t" for="ch" forName="leftComposite" refType="h" fact="0.1159"/>
              <dgm:constr type="w" for="ch" forName="leftComposite" refType="w" fact="0.3469"/>
              <dgm:constr type="h" for="ch" forName="leftComposite" refType="h" fact="0.6953"/>
              <dgm:constr type="l" for="ch" forName="middleComposite" refType="w" fact="0.5782"/>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1" refType="w" fact="0.0926"/>
              <dgm:constr type="t" for="ch" forName="parentText1" refType="h" fact="0.8128"/>
              <dgm:constr type="w" for="ch" forName="parentText1" refType="w" fact="0.3742"/>
              <dgm:constr type="h" for="ch" forName="parentText1" refType="h" fact="0.1872"/>
              <dgm:constr type="l" for="ch" forName="parentText2" refType="w" fact="0.5655"/>
              <dgm:constr type="t" for="ch" forName="parentText2" refType="h" fact="0.8128"/>
              <dgm:constr type="w" for="ch" forName="parentText2" refType="w" fact="0.3742"/>
              <dgm:constr type="h" for="ch" forName="parentText2" refType="h" fact="0.1872"/>
            </dgm:constrLst>
          </dgm:if>
          <dgm:else name="Name9">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592"/>
              <dgm:constr type="t" for="ch" forName="leftComposite" refType="h" fact="0.1159"/>
              <dgm:constr type="w" for="ch" forName="leftComposite" refType="w" fact="0.3469"/>
              <dgm:constr type="h" for="ch" forName="leftComposite" refType="h" fact="0.6953"/>
              <dgm:constr type="l" for="ch" forName="middleComposite" refType="w" fact="0.0941"/>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2" refType="w" fact="0.0926"/>
              <dgm:constr type="t" for="ch" forName="parentText2" refType="h" fact="0.8128"/>
              <dgm:constr type="w" for="ch" forName="parentText2" refType="w" fact="0.3742"/>
              <dgm:constr type="h" for="ch" forName="parentText2" refType="h" fact="0.1872"/>
              <dgm:constr type="l" for="ch" forName="parentText1" refType="w" fact="0.5655"/>
              <dgm:constr type="t" for="ch" forName="parentText1" refType="h" fact="0.8128"/>
              <dgm:constr type="w" for="ch" forName="parentText1" refType="w" fact="0.3742"/>
              <dgm:constr type="h" for="ch" forName="parentText1" refType="h" fact="0.1872"/>
            </dgm:constrLst>
          </dgm:else>
        </dgm:choose>
      </dgm:if>
      <dgm:else name="Name10">
        <dgm:alg type="composite">
          <dgm:param type="ar" val="0.8036"/>
        </dgm:alg>
        <dgm:constrLst>
          <dgm:constr type="primFontSz" for="des" forName="parentText1" val="65"/>
          <dgm:constr type="primFontSz" for="des" forName="childText1_1" val="65"/>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l" for="ch" forName="leftComposite" refType="w" fact="0"/>
          <dgm:constr type="t" for="ch" forName="leftComposite" refType="h" fact="0.1159"/>
          <dgm:constr type="w" for="ch" forName="leftComposite" refType="w"/>
          <dgm:constr type="h" for="ch" forName="leftComposite" refType="h" fact="0.6953"/>
          <dgm:constr type="l" for="ch" forName="parentText1" refType="w" fact="0"/>
          <dgm:constr type="t" for="ch" forName="parentText1" refType="h" fact="0.8128"/>
          <dgm:constr type="w" for="ch" forName="parentText1" refType="w"/>
          <dgm:constr type="h" for="ch" forName="parentText1" refType="h" fact="0.1872"/>
        </dgm:constrLst>
      </dgm:else>
    </dgm:choose>
    <dgm:choose name="Name11">
      <dgm:if name="Name12" axis="ch" ptType="node" func="cnt" op="gte" val="1">
        <dgm:choose name="Name13">
          <dgm:if name="Name14" axis="ch" ptType="node" func="cnt" op="gte" val="2">
            <dgm:layoutNode name="arc1">
              <dgm:alg type="sp"/>
              <dgm:shape xmlns:r="http://schemas.openxmlformats.org/officeDocument/2006/relationships" rot="90" type="blockArc" r:blip="">
                <dgm:adjLst>
                  <dgm:adj idx="1" val="-135"/>
                  <dgm:adj idx="2" val="-45"/>
                  <dgm:adj idx="3" val="0.0496"/>
                </dgm:adjLst>
              </dgm:shape>
              <dgm:presOf/>
            </dgm:layoutNode>
            <dgm:layoutNode name="arc3">
              <dgm:alg type="sp"/>
              <dgm:shape xmlns:r="http://schemas.openxmlformats.org/officeDocument/2006/relationships" rot="270" type="blockArc" r:blip="">
                <dgm:adjLst>
                  <dgm:adj idx="1" val="-135"/>
                  <dgm:adj idx="2" val="-45"/>
                  <dgm:adj idx="3" val="0.0496"/>
                </dgm:adjLst>
              </dgm:shape>
              <dgm:presOf/>
            </dgm:layoutNode>
            <dgm:layoutNode name="parentText2" styleLbl="revTx">
              <dgm:varLst>
                <dgm:chMax val="4"/>
                <dgm:chPref val="3"/>
                <dgm:bulletEnabled val="1"/>
              </dgm:varLst>
              <dgm:alg type="tx"/>
              <dgm:shape xmlns:r="http://schemas.openxmlformats.org/officeDocument/2006/relationships" type="rect" r:blip="">
                <dgm:adjLst/>
              </dgm:shape>
              <dgm:presOf axis="ch 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5"/>
        </dgm:choose>
        <dgm:choose name="Name16">
          <dgm:if name="Name17" axis="ch" ptType="node" func="cnt" op="gte" val="3">
            <dgm:layoutNode name="arc2">
              <dgm:alg type="sp"/>
              <dgm:shape xmlns:r="http://schemas.openxmlformats.org/officeDocument/2006/relationships" rot="90" type="blockArc" r:blip="">
                <dgm:adjLst>
                  <dgm:adj idx="1" val="-135"/>
                  <dgm:adj idx="2" val="-45"/>
                  <dgm:adj idx="3" val="0.0496"/>
                </dgm:adjLst>
              </dgm:shape>
              <dgm:presOf/>
            </dgm:layoutNode>
            <dgm:layoutNode name="arc4">
              <dgm:alg type="sp"/>
              <dgm:shape xmlns:r="http://schemas.openxmlformats.org/officeDocument/2006/relationships" rot="270" type="blockArc" r:blip="">
                <dgm:adjLst>
                  <dgm:adj idx="1" val="-135"/>
                  <dgm:adj idx="2" val="-45"/>
                  <dgm:adj idx="3" val="0.0496"/>
                </dgm:adjLst>
              </dgm:shape>
              <dgm:presOf/>
            </dgm:layoutNode>
            <dgm:layoutNode name="parentText3" styleLbl="revTx">
              <dgm:varLst>
                <dgm:chMax val="1"/>
                <dgm:chPref val="1"/>
                <dgm:bulletEnabled val="1"/>
              </dgm:varLst>
              <dgm:alg type="tx"/>
              <dgm:shape xmlns:r="http://schemas.openxmlformats.org/officeDocument/2006/relationships" type="rect" r:blip="">
                <dgm:adjLst/>
              </dgm:shape>
              <dgm:presOf axis="ch 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8"/>
        </dgm:choose>
      </dgm:if>
      <dgm:else name="Name19"/>
    </dgm:choose>
    <dgm:layoutNode name="middleComposite">
      <dgm:choose name="Name20">
        <dgm:if name="Name21" axis="ch ch" ptType="node node" st="2 1" cnt="1 0" func="cnt" op="lte" val="1">
          <dgm:alg type="composite">
            <dgm:param type="ar" val="1"/>
          </dgm:alg>
        </dgm:if>
        <dgm:if name="Name22" axis="ch ch" ptType="node node" st="2 1" cnt="1 0" func="cnt" op="equ" val="2">
          <dgm:alg type="composite">
            <dgm:param type="ar" val="1.792"/>
          </dgm:alg>
        </dgm:if>
        <dgm:if name="Name23" axis="ch ch" ptType="node node" st="2 1" cnt="1 0" func="cnt" op="equ" val="3">
          <dgm:alg type="composite">
            <dgm:param type="ar" val="1"/>
          </dgm:alg>
        </dgm:if>
        <dgm:else name="Name24">
          <dgm:alg type="composite">
            <dgm:param type="ar" val="1"/>
          </dgm:alg>
        </dgm:else>
      </dgm:choose>
      <dgm:shape xmlns:r="http://schemas.openxmlformats.org/officeDocument/2006/relationships" r:blip="">
        <dgm:adjLst/>
      </dgm:shape>
      <dgm:presOf/>
      <dgm:choose name="Name25">
        <dgm:if name="Name26" axis="ch ch" ptType="node node" st="2 1" cnt="1 0" func="cnt" op="lte" val="1">
          <dgm:constrLst>
            <dgm:constr type="ctrX" for="ch" forName="circ1" refType="w" fact="0.5"/>
            <dgm:constr type="ctrY" for="ch" forName="circ1" refType="h" fact="0.5"/>
            <dgm:constr type="w" for="ch" forName="circ1" refType="w"/>
            <dgm:constr type="h" for="ch" forName="circ1" refType="h"/>
            <dgm:constr type="l" for="ch" forName="circ1Tx" refType="w" fact="0.2"/>
            <dgm:constr type="t" for="ch" forName="circ1Tx" refType="h" fact="0.1"/>
            <dgm:constr type="w" for="ch" forName="circ1Tx" refType="w" fact="0.6"/>
            <dgm:constr type="h" for="ch" forName="circ1Tx" refType="h" fact="0.8"/>
          </dgm:constrLst>
        </dgm:if>
        <dgm:if name="Name27" axis="ch ch" ptType="node node" st="2 1" cnt="1 0"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Lst>
        </dgm:if>
        <dgm:if name="Name28" axis="ch ch" ptType="node node" st="2 1" cnt="1 0"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Lst>
        </dgm:if>
        <dgm:else name="Name29">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Lst>
        </dgm:else>
      </dgm:choose>
      <dgm:ruleLst/>
      <dgm:forEach name="Name30" axis="ch ch" ptType="node node" st="2 1" cnt="1 1">
        <dgm:layoutNode name="circ1" styleLbl="vennNode1">
          <dgm:alg type="sp"/>
          <dgm:shape xmlns:r="http://schemas.openxmlformats.org/officeDocument/2006/relationships" type="ellipse" r:blip="">
            <dgm:adjLst/>
          </dgm:shape>
          <dgm:presOf axis="desOrSelf" ptType="node"/>
          <dgm:constrLst/>
          <dgm:ruleLst/>
        </dgm:layoutNode>
        <dgm:layoutNode name="circ1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1" axis="ch ch" ptType="node node" st="2 2" cnt="1 1">
        <dgm:layoutNode name="circ2" styleLbl="vennNode1">
          <dgm:alg type="sp"/>
          <dgm:shape xmlns:r="http://schemas.openxmlformats.org/officeDocument/2006/relationships" type="ellipse" r:blip="">
            <dgm:adjLst/>
          </dgm:shape>
          <dgm:presOf axis="desOrSelf" ptType="node"/>
          <dgm:constrLst/>
          <dgm:ruleLst/>
        </dgm:layoutNode>
        <dgm:layoutNode name="circ2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2" axis="ch ch" ptType="node node" st="2 3" cnt="1 1">
        <dgm:layoutNode name="circ3" styleLbl="vennNode1">
          <dgm:alg type="sp"/>
          <dgm:shape xmlns:r="http://schemas.openxmlformats.org/officeDocument/2006/relationships" type="ellipse" r:blip="">
            <dgm:adjLst/>
          </dgm:shape>
          <dgm:presOf axis="desOrSelf" ptType="node"/>
          <dgm:constrLst/>
          <dgm:ruleLst/>
        </dgm:layoutNode>
        <dgm:layoutNode name="circ3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3" axis="ch ch" ptType="node node" st="2 4" cnt="1 1">
        <dgm:layoutNode name="circ4" styleLbl="vennNode1">
          <dgm:alg type="sp"/>
          <dgm:shape xmlns:r="http://schemas.openxmlformats.org/officeDocument/2006/relationships" type="ellipse" r:blip="">
            <dgm:adjLst/>
          </dgm:shape>
          <dgm:presOf axis="desOrSelf" ptType="nod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layoutNode>
    <dgm:layoutNode name="leftComposite">
      <dgm:choose name="Name34">
        <dgm:if name="Name35" axis="ch ch" ptType="node node" st="1 1" cnt="1 0" func="cnt" op="lte" val="1">
          <dgm:alg type="composite">
            <dgm:param type="ar" val="1.3085"/>
          </dgm:alg>
          <dgm:constrLst>
            <dgm:constr type="l" for="ch" forName="childText1_1" refType="w" fact="0.2124"/>
            <dgm:constr type="t" for="ch" forName="childText1_1" refType="h" fact="0"/>
            <dgm:constr type="w" for="ch" forName="childText1_1" refType="w" fact="0.5759"/>
            <dgm:constr type="h" for="ch" forName="childText1_1" refType="h" fact="0.7535"/>
            <dgm:constr type="l" for="ch" forName="ellipse1" refType="w" fact="0"/>
            <dgm:constr type="t" for="ch" forName="ellipse1" refType="h" fact="0.63"/>
            <dgm:constr type="w" for="ch" forName="ellipse1" refType="w" fact="0.2828"/>
            <dgm:constr type="h" for="ch" forName="ellipse1" refType="h" fact="0.37"/>
            <dgm:constr type="l" for="ch" forName="ellipse2" refType="w" fact="0.82"/>
            <dgm:constr type="t" for="ch" forName="ellipse2" refType="h" fact="0.17"/>
            <dgm:constr type="w" for="ch" forName="ellipse2" refType="w" fact="0.1645"/>
            <dgm:constr type="h" for="ch" forName="ellipse2" refType="h" fact="0.2153"/>
          </dgm:constrLst>
        </dgm:if>
        <dgm:if name="Name36" axis="ch ch" ptType="node node" st="1 1" cnt="1 0" func="cnt" op="equ" val="2">
          <dgm:alg type="composite">
            <dgm:param type="ar" val="0.8917"/>
          </dgm:alg>
          <dgm:constrLst>
            <dgm:constr type="l" for="ch" forName="childText1_1" refType="w" fact="0.1864"/>
            <dgm:constr type="t" for="ch" forName="childText1_1" refType="h" fact="0"/>
            <dgm:constr type="w" for="ch" forName="childText1_1" refType="w" fact="0.5055"/>
            <dgm:constr type="h" for="ch" forName="childText1_1" refType="h" fact="0.4507"/>
            <dgm:constr type="l" for="ch" forName="childText1_2" refType="w" fact="0.4945"/>
            <dgm:constr type="t" for="ch" forName="childText1_2" refType="h" fact="0.3929"/>
            <dgm:constr type="w" for="ch" forName="childText1_2" refType="w" fact="0.5055"/>
            <dgm:constr type="h" for="ch" forName="childText1_2" refType="h" fact="0.4507"/>
            <dgm:constr type="l" for="ch" forName="ellipse1" refType="w" fact="0"/>
            <dgm:constr type="t" for="ch" forName="ellipse1" refType="h" fact="0.3768"/>
            <dgm:constr type="w" for="ch" forName="ellipse1" refType="w" fact="0.2482"/>
            <dgm:constr type="h" for="ch" forName="ellipse1" refType="h" fact="0.2213"/>
            <dgm:constr type="l" for="ch" forName="ellipse3" refType="w" fact="0.5474"/>
            <dgm:constr type="t" for="ch" forName="ellipse3" refType="h" fact="0.8712"/>
            <dgm:constr type="w" for="ch" forName="ellipse3" refType="w" fact="0.1444"/>
            <dgm:constr type="h" for="ch" forName="ellipse3" refType="h" fact="0.1288"/>
            <dgm:constr type="l" for="ch" forName="ellipse2" refType="w" fact="0.7333"/>
            <dgm:constr type="t" for="ch" forName="ellipse2" refType="h" fact="0.0887"/>
            <dgm:constr type="w" for="ch" forName="ellipse2" refType="w" fact="0.1444"/>
            <dgm:constr type="h" for="ch" forName="ellipse2" refType="h" fact="0.1288"/>
          </dgm:constrLst>
        </dgm:if>
        <dgm:if name="Name37" axis="ch ch" ptType="node node" st="1 1" cnt="1 0" func="cnt" op="equ" val="3">
          <dgm:alg type="composite">
            <dgm:param type="ar" val="1.0811"/>
          </dgm:alg>
          <dgm:constrLst>
            <dgm:constr type="l" for="ch" forName="childText1_3" refType="w" fact="0.1649"/>
            <dgm:constr type="t" for="ch" forName="childText1_3" refType="h" fact="0.5389"/>
            <dgm:constr type="w" for="ch" forName="childText1_3" refType="w" fact="0.4265"/>
            <dgm:constr type="h" for="ch" forName="childText1_3" refType="h" fact="0.4611"/>
            <dgm:constr type="l" for="ch" forName="childText1_1" refType="w" fact="0.1573"/>
            <dgm:constr type="t" for="ch" forName="childText1_1" refType="h" fact="0"/>
            <dgm:constr type="w" for="ch" forName="childText1_1" refType="w" fact="0.4265"/>
            <dgm:constr type="h" for="ch" forName="childText1_1" refType="h" fact="0.4611"/>
            <dgm:constr type="l" for="ch" forName="childText1_2" refType="w" fact="0.5735"/>
            <dgm:constr type="t" for="ch" forName="childText1_2" refType="h" fact="0.2754"/>
            <dgm:constr type="w" for="ch" forName="childText1_2" refType="w" fact="0.4265"/>
            <dgm:constr type="h" for="ch" forName="childText1_2" refType="h" fact="0.4611"/>
            <dgm:constr type="l" for="ch" forName="ellipse1" refType="w" fact="0"/>
            <dgm:constr type="t" for="ch" forName="ellipse1" refType="h" fact="0.3855"/>
            <dgm:constr type="w" for="ch" forName="ellipse1" refType="w" fact="0.2095"/>
            <dgm:constr type="h" for="ch" forName="ellipse1" refType="h" fact="0.2264"/>
            <dgm:constr type="l" for="ch" forName="ellipse3" refType="w" fact="0.6181"/>
            <dgm:constr type="t" for="ch" forName="ellipse3" refType="h" fact="0.7647"/>
            <dgm:constr type="w" for="ch" forName="ellipse3" refType="w" fact="0.1219"/>
            <dgm:constr type="h" for="ch" forName="ellipse3" refType="h" fact="0.1317"/>
            <dgm:constr type="l" for="ch" forName="ellipse2" refType="w" fact="0.6188"/>
            <dgm:constr type="t" for="ch" forName="ellipse2" refType="h" fact="0.0907"/>
            <dgm:constr type="w" for="ch" forName="ellipse2" refType="w" fact="0.1219"/>
            <dgm:constr type="h" for="ch" forName="ellipse2" refType="h" fact="0.1317"/>
          </dgm:constrLst>
        </dgm:if>
        <dgm:else name="Name38">
          <dgm:alg type="composite">
            <dgm:param type="ar" val="0.9472"/>
          </dgm:alg>
          <dgm:constrLst>
            <dgm:constr type="l" for="ch" forName="childText1_3" refType="w" fact="0"/>
            <dgm:constr type="t" for="ch" forName="childText1_3" refType="h" fact="0.6035"/>
            <dgm:constr type="w" for="ch" forName="childText1_3" refType="w" fact="0.4186"/>
            <dgm:constr type="h" for="ch" forName="childText1_3" refType="h" fact="0.3965"/>
            <dgm:constr type="l" for="ch" forName="childText1_1" refType="w" fact="0.0981"/>
            <dgm:constr type="t" for="ch" forName="childText1_1" refType="h" fact="0"/>
            <dgm:constr type="w" for="ch" forName="childText1_1" refType="w" fact="0.4186"/>
            <dgm:constr type="h" for="ch" forName="childText1_1" refType="h" fact="0.3965"/>
            <dgm:constr type="l" for="ch" forName="childText1_2" refType="w" fact="0.5385"/>
            <dgm:constr type="t" for="ch" forName="childText1_2" refType="h" fact="0.1304"/>
            <dgm:constr type="w" for="ch" forName="childText1_2" refType="w" fact="0.4186"/>
            <dgm:constr type="h" for="ch" forName="childText1_2" refType="h" fact="0.3965"/>
            <dgm:constr type="l" for="ch" forName="ellipse4" refType="w" fact="0.3222"/>
            <dgm:constr type="t" for="ch" forName="ellipse4" refType="h" fact="0.4232"/>
            <dgm:constr type="w" for="ch" forName="ellipse4" refType="w" fact="0.2056"/>
            <dgm:constr type="h" for="ch" forName="ellipse4" refType="h" fact="0.1947"/>
            <dgm:constr type="l" for="ch" forName="ellipse1" refType="w" fact="0.1489"/>
            <dgm:constr type="t" for="ch" forName="ellipse1" refType="h" fact="0.4502"/>
            <dgm:constr type="w" for="ch" forName="ellipse1" refType="w" fact="0.1196"/>
            <dgm:constr type="h" for="ch" forName="ellipse1" refType="h" fact="0.1133"/>
            <dgm:constr type="l" for="ch" forName="ellipse2" refType="w" fact="0.5384"/>
            <dgm:constr type="t" for="ch" forName="ellipse2" refType="h" fact="0.0124"/>
            <dgm:constr type="w" for="ch" forName="ellipse2" refType="w" fact="0.1196"/>
            <dgm:constr type="h" for="ch" forName="ellipse2" refType="h" fact="0.1133"/>
            <dgm:constr type="l" for="ch" forName="childText1_4" refType="w" fact="0.4625"/>
            <dgm:constr type="t" for="ch" forName="childText1_4" refType="h" fact="0.5719"/>
            <dgm:constr type="w" for="ch" forName="childText1_4" refType="w" fact="0.4186"/>
            <dgm:constr type="h" for="ch" forName="childText1_4" refType="h" fact="0.3965"/>
            <dgm:constr type="l" for="ch" forName="ellipse3" refType="w" fact="0.8804"/>
            <dgm:constr type="t" for="ch" forName="ellipse3" refType="h" fact="0.5329"/>
            <dgm:constr type="w" for="ch" forName="ellipse3" refType="w" fact="0.1196"/>
            <dgm:constr type="h" for="ch" forName="ellipse3" refType="h" fact="0.1133"/>
            <dgm:constr type="l" for="ch" forName="ellipse5" refType="w" fact="0.0146"/>
            <dgm:constr type="t" for="ch" forName="ellipse5" refType="h" fact="0.5228"/>
            <dgm:constr type="w" for="ch" forName="ellipse5" refType="w" fact="0.0899"/>
            <dgm:constr type="h" for="ch" forName="ellipse5" refType="h" fact="0.0851"/>
          </dgm:constrLst>
        </dgm:else>
      </dgm:choose>
      <dgm:forEach name="Name39" axis="ch ch" ptType="node node" st="1 1" cnt="1 1">
        <dgm:layoutNode name="childText1_1"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1" styleLbl="vennNode1">
          <dgm:alg type="sp"/>
          <dgm:shape xmlns:r="http://schemas.openxmlformats.org/officeDocument/2006/relationships" type="ellipse" r:blip="">
            <dgm:adjLst/>
          </dgm:shape>
          <dgm:presOf/>
        </dgm:layoutNode>
        <dgm:layoutNode name="ellipse2" styleLbl="vennNode1">
          <dgm:alg type="sp"/>
          <dgm:shape xmlns:r="http://schemas.openxmlformats.org/officeDocument/2006/relationships" type="ellipse" r:blip="">
            <dgm:adjLst/>
          </dgm:shape>
          <dgm:presOf/>
        </dgm:layoutNode>
      </dgm:forEach>
      <dgm:forEach name="Name40" axis="ch ch" ptType="node node" st="1 2" cnt="1 1">
        <dgm:layoutNode name="childText1_2"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3" styleLbl="vennNode1">
          <dgm:alg type="sp"/>
          <dgm:shape xmlns:r="http://schemas.openxmlformats.org/officeDocument/2006/relationships" type="ellipse" r:blip="">
            <dgm:adjLst/>
          </dgm:shape>
          <dgm:presOf/>
        </dgm:layoutNode>
      </dgm:forEach>
      <dgm:forEach name="Name41" axis="ch ch" ptType="node node" st="1 3" cnt="1 1">
        <dgm:layoutNode name="childText1_3"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forEach name="Name42" axis="ch ch" ptType="node node" st="1 4" cnt="1 1">
        <dgm:layoutNode name="childText1_4"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4" styleLbl="vennNode1">
          <dgm:alg type="sp"/>
          <dgm:shape xmlns:r="http://schemas.openxmlformats.org/officeDocument/2006/relationships" type="ellipse" r:blip="">
            <dgm:adjLst/>
          </dgm:shape>
          <dgm:presOf/>
        </dgm:layoutNode>
        <dgm:layoutNode name="ellipse5" styleLbl="vennNode1">
          <dgm:alg type="sp"/>
          <dgm:shape xmlns:r="http://schemas.openxmlformats.org/officeDocument/2006/relationships" type="ellipse" r:blip="">
            <dgm:adjLst/>
          </dgm:shape>
          <dgm:presOf/>
        </dgm:layoutNode>
      </dgm:forEach>
    </dgm:layoutNode>
    <dgm:choose name="Name43">
      <dgm:if name="Name44" axis="ch ch" ptType="node node" st="3 1" cnt="1 0" func="cnt" op="gte" val="1">
        <dgm:layoutNode name="rightChild">
          <dgm:varLst>
            <dgm:chMax val="0"/>
            <dgm:chPref val="0"/>
          </dgm:varLst>
          <dgm:alg type="tx"/>
          <dgm:shape xmlns:r="http://schemas.openxmlformats.org/officeDocument/2006/relationships" type="ellipse" r:blip="">
            <dgm:adjLst/>
          </dgm:shape>
          <dgm:presOf axis="ch des"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5"/>
    </dgm:choose>
    <dgm:layoutNode name="parentText1" styleLbl="revTx">
      <dgm:varLst>
        <dgm:chMax val="4"/>
        <dgm:chPref val="3"/>
        <dgm:bulletEnabled val="1"/>
      </dgm:varLst>
      <dgm:alg type="tx"/>
      <dgm:shape xmlns:r="http://schemas.openxmlformats.org/officeDocument/2006/relationships" type="rect" r:blip="">
        <dgm:adjLst/>
      </dgm:shape>
      <dgm:presOf axis="ch 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Def>
</file>

<file path=ppt/diagrams/layout19.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6.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2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3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7.xml><?xml version="1.0" encoding="utf-8"?>
<dgm:layoutDef xmlns:dgm="http://schemas.openxmlformats.org/drawingml/2006/diagram" xmlns:a="http://schemas.openxmlformats.org/drawingml/2006/main" uniqueId="urn:microsoft.com/office/officeart/2005/8/layout/target1">
  <dgm:title val=""/>
  <dgm:desc val=""/>
  <dgm:catLst>
    <dgm:cat type="relationship" pri="25000"/>
    <dgm:cat type="convert" pri="2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resizeHandles val="exact"/>
    </dgm:varLst>
    <dgm:alg type="composite">
      <dgm:param type="ar" val="1.25"/>
    </dgm:alg>
    <dgm:shape xmlns:r="http://schemas.openxmlformats.org/officeDocument/2006/relationships" r:blip="">
      <dgm:adjLst/>
    </dgm:shape>
    <dgm:presOf/>
    <dgm:choose name="Name0">
      <dgm:if name="Name1" func="var" arg="dir" op="equ" val="norm">
        <dgm:choose name="Name2">
          <dgm:if name="Name3" axis="ch" ptType="node" func="cnt" op="equ" val="0">
            <dgm:constrLst/>
          </dgm:if>
          <dgm:if name="Name4"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r" for="ch" forName="line1" refType="l" refFor="ch" refForName="text1"/>
              <dgm:constr type="h" for="ch" forName="line1"/>
              <dgm:constr type="l" for="ch" forName="d1" refType="w" fact="0.3"/>
              <dgm:constr type="b" for="ch" forName="d1" refType="h" fact="0.625"/>
              <dgm:constr type="w" for="ch" forName="d1" refType="w" fact="0.32475"/>
              <dgm:constr type="h" for="ch" forName="d1" refType="h" fact="0.469"/>
            </dgm:constrLst>
          </dgm:if>
          <dgm:if name="Name5"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312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44325"/>
              <dgm:constr type="b" for="ch" forName="d2" refType="h" fact="0.7975"/>
              <dgm:constr type="w" for="ch" forName="d2" refType="w" fact="0.1815"/>
              <dgm:constr type="h" for="ch" forName="d2" refType="h" fact="0.3283"/>
            </dgm:constrLst>
          </dgm:if>
          <dgm:if name="Name6"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2187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2187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86"/>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7175"/>
              <dgm:constr type="b" for="ch" forName="d3" refType="h" fact="0.83375"/>
              <dgm:constr type="w" for="ch" forName="d3" refType="w" fact="0.1527"/>
              <dgm:constr type="h" for="ch" forName="d3" refType="h" fact="0.287"/>
            </dgm:constrLst>
          </dgm:if>
          <dgm:if name="Name7"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7938"/>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29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7938"/>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662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25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r" for="ch" forName="text4" refType="w"/>
              <dgm:constr type="t" for="ch" forName="text4" refType="b" refFor="ch" refForName="text3"/>
              <dgm:constr type="l" for="ch" forName="line4" refType="w" fact="0.625"/>
              <dgm:constr type="ctrY" for="ch" forName="line4" refType="ctrY" refFor="ch" refForName="text4"/>
              <dgm:constr type="w" for="ch" forName="line4" refType="w" fact="0.075"/>
              <dgm:constr type="h" for="ch" forName="line4"/>
              <dgm:constr type="l" for="ch" forName="d4" refType="w" fact="0.48525"/>
              <dgm:constr type="b" for="ch" forName="d4" refType="h" fact="0.85594"/>
              <dgm:constr type="w" for="ch" forName="d4" refType="w" fact="0.1394"/>
              <dgm:constr type="h" for="ch" forName="d4" refType="h" fact="0.2282"/>
            </dgm:constrLst>
          </dgm:if>
          <dgm:if name="Name8"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324"/>
              <dgm:constr type="r" for="ch" forName="text1" refType="w"/>
              <dgm:constr type="ctrY" for="ch" forName="text1" refType="h" fact="0.13"/>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324"/>
              <dgm:constr type="r" for="ch" forName="text2" refType="w"/>
              <dgm:constr type="ctrY" for="ch" forName="text2" refType="h" fact="0.27"/>
              <dgm:constr type="l" for="ch" forName="line2" refType="w" fact="0.625"/>
              <dgm:constr type="ctrY" for="ch" forName="line2" refType="ctrY" refFor="ch" refForName="text2"/>
              <dgm:constr type="w" for="ch" forName="line2" refType="w" fact="0.075"/>
              <dgm:constr type="h" for="ch" forName="line2"/>
              <dgm:constr type="l" for="ch" forName="d2" refType="w" fact="0.3498"/>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r" for="ch" forName="text3" refType="w"/>
              <dgm:constr type="ctrY" for="ch" forName="text3" refType="h" fact="0.41"/>
              <dgm:constr type="l" for="ch" forName="line3" refType="w" fact="0.625"/>
              <dgm:constr type="ctrY" for="ch" forName="line3" refType="ctrY" refFor="ch" refForName="text3"/>
              <dgm:constr type="w" for="ch" forName="line3" refType="w" fact="0.075"/>
              <dgm:constr type="h" for="ch" forName="line3"/>
              <dgm:constr type="l" for="ch" forName="d3" refType="w" fact="0.394"/>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r" for="ch" forName="text4" refType="w"/>
              <dgm:constr type="ctrY" for="ch" forName="text4" refType="h" fact="0.547"/>
              <dgm:constr type="l" for="ch" forName="line4" refType="w" fact="0.625"/>
              <dgm:constr type="ctrY" for="ch" forName="line4" refType="ctrY" refFor="ch" refForName="text4"/>
              <dgm:constr type="w" for="ch" forName="line4" refType="w" fact="0.075"/>
              <dgm:constr type="h" for="ch" forName="line4"/>
              <dgm:constr type="l" for="ch" forName="d4" refType="w" fact="0.446"/>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r" for="ch" forName="text5" refType="w"/>
              <dgm:constr type="ctrY" for="ch" forName="text5" refType="h" fact="0.68"/>
              <dgm:constr type="l" for="ch" forName="line5" refType="w" fact="0.625"/>
              <dgm:constr type="ctrY" for="ch" forName="line5" refType="ctrY" refFor="ch" refForName="text5"/>
              <dgm:constr type="w" for="ch" forName="line5" refType="w" fact="0.075"/>
              <dgm:constr type="h" for="ch" forName="line5"/>
              <dgm:constr type="l" for="ch" forName="d5" refType="w" fact="0.495"/>
              <dgm:constr type="b" for="ch" forName="d5" refType="h" fact="0.855"/>
              <dgm:constr type="w" for="ch" forName="d5" refType="w" fact="0.13"/>
              <dgm:constr type="h" for="ch" forName="d5" refType="h" fact="0.175"/>
            </dgm:constrLst>
          </dgm:if>
          <dgm:else name="Name9"/>
        </dgm:choose>
      </dgm:if>
      <dgm:else name="Name10">
        <dgm:choose name="Name11">
          <dgm:if name="Name12" axis="ch" ptType="node" func="cnt" op="equ" val="0">
            <dgm:constrLst/>
          </dgm:if>
          <dgm:if name="Name13"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Lst>
          </dgm:if>
          <dgm:if name="Name14"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312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55675"/>
              <dgm:constr type="b" for="ch" forName="d2" refType="h" fact="0.7975"/>
              <dgm:constr type="w" for="ch" forName="d2" refType="w" fact="0.1815"/>
              <dgm:constr type="h" for="ch" forName="d2" refType="h" fact="0.3283"/>
            </dgm:constrLst>
          </dgm:if>
          <dgm:if name="Name15"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2187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2187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14"/>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2825"/>
              <dgm:constr type="b" for="ch" forName="d3" refType="h" fact="0.83375"/>
              <dgm:constr type="w" for="ch" forName="d3" refType="w" fact="0.1527"/>
              <dgm:constr type="h" for="ch" forName="d3" refType="h" fact="0.287"/>
            </dgm:constrLst>
          </dgm:if>
          <dgm:if name="Name16"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7938"/>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0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7938"/>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337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74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l" for="ch" forName="text4"/>
              <dgm:constr type="t" for="ch" forName="text4" refType="b" refFor="ch" refForName="text3"/>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1475"/>
              <dgm:constr type="b" for="ch" forName="d4" refType="h" fact="0.85594"/>
              <dgm:constr type="w" for="ch" forName="d4" refType="w" fact="0.1394"/>
              <dgm:constr type="h" for="ch" forName="d4" refType="h" fact="0.2282"/>
            </dgm:constrLst>
          </dgm:if>
          <dgm:if name="Name17"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324"/>
              <dgm:constr type="l" for="ch" forName="text1"/>
              <dgm:constr type="ctrY" for="ch" forName="text1" refType="h" fact="0.13"/>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324"/>
              <dgm:constr type="l" for="ch" forName="text2"/>
              <dgm:constr type="ctrY" for="ch" forName="text2" refType="h" fact="0.27"/>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502"/>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l" for="ch" forName="text3"/>
              <dgm:constr type="ctrY" for="ch" forName="text3" refType="h" fact="0.41"/>
              <dgm:constr type="l" for="ch" forName="line3" refType="r" refFor="ch" refForName="text3"/>
              <dgm:constr type="ctrY" for="ch" forName="line3" refType="ctrY" refFor="ch" refForName="text3"/>
              <dgm:constr type="r" for="ch" forName="line3" refType="w" fact="0.375"/>
              <dgm:constr type="h" for="ch" forName="line3"/>
              <dgm:constr type="r" for="ch" forName="d3" refType="w" fact="0.606"/>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l" for="ch" forName="text4"/>
              <dgm:constr type="ctrY" for="ch" forName="text4" refType="h" fact="0.547"/>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54"/>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l" for="ch" forName="text5"/>
              <dgm:constr type="ctrY" for="ch" forName="text5" refType="h" fact="0.68"/>
              <dgm:constr type="l" for="ch" forName="line5" refType="r" refFor="ch" refForName="text5"/>
              <dgm:constr type="ctrY" for="ch" forName="line5" refType="ctrY" refFor="ch" refForName="text5"/>
              <dgm:constr type="r" for="ch" forName="line5" refType="w" fact="0.375"/>
              <dgm:constr type="h" for="ch" forName="line5"/>
              <dgm:constr type="r" for="ch" forName="d5" refType="w" fact="0.505"/>
              <dgm:constr type="b" for="ch" forName="d5" refType="h" fact="0.855"/>
              <dgm:constr type="w" for="ch" forName="d5" refType="w" fact="0.13"/>
              <dgm:constr type="h" for="ch" forName="d5" refType="h" fact="0.175"/>
            </dgm:constrLst>
          </dgm:if>
          <dgm:else name="Name18"/>
        </dgm:choose>
      </dgm:else>
    </dgm:choose>
    <dgm:ruleLst/>
    <dgm:forEach name="Name19" axis="ch" ptType="node" cnt="1">
      <dgm:layoutNode name="circle1" styleLbl="lnNode1">
        <dgm:alg type="sp"/>
        <dgm:shape xmlns:r="http://schemas.openxmlformats.org/officeDocument/2006/relationships" type="ellipse" r:blip="">
          <dgm:adjLst/>
        </dgm:shape>
        <dgm:presOf/>
        <dgm:constrLst/>
        <dgm:ruleLst/>
      </dgm:layoutNode>
      <dgm:layoutNode name="text1" styleLbl="revTx">
        <dgm:varLst>
          <dgm:bulletEnabled val="1"/>
        </dgm:varLst>
        <dgm:choose name="Name20">
          <dgm:if name="Name21" func="var" arg="dir" op="equ" val="norm">
            <dgm:choose name="Name22">
              <dgm:if name="Name23" axis="root des" ptType="all node" func="maxDepth" op="gt" val="1">
                <dgm:alg type="tx">
                  <dgm:param type="parTxLTRAlign" val="l"/>
                  <dgm:param type="parTxRTLAlign" val="r"/>
                </dgm:alg>
              </dgm:if>
              <dgm:else name="Name24">
                <dgm:alg type="tx">
                  <dgm:param type="parTxLTRAlign" val="l"/>
                  <dgm:param type="parTxRTLAlign" val="l"/>
                </dgm:alg>
              </dgm:else>
            </dgm:choose>
          </dgm:if>
          <dgm:else name="Name25">
            <dgm:choose name="Name26">
              <dgm:if name="Name27" axis="root des" ptType="all node" func="maxDepth" op="gt" val="1">
                <dgm:alg type="tx">
                  <dgm:param type="parTxLTRAlign" val="l"/>
                  <dgm:param type="parTxRTLAlign" val="r"/>
                </dgm:alg>
              </dgm:if>
              <dgm:else name="Name28">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29">
          <dgm:if name="Name30" func="var" arg="dir" op="equ" val="norm">
            <dgm:constrLst>
              <dgm:constr type="tMarg" refType="primFontSz" fact="0.1"/>
              <dgm:constr type="bMarg" refType="primFontSz" fact="0.1"/>
              <dgm:constr type="rMarg" refType="primFontSz" fact="0.1"/>
            </dgm:constrLst>
          </dgm:if>
          <dgm:else name="Name31">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1" styleLbl="callout">
        <dgm:alg type="sp"/>
        <dgm:shape xmlns:r="http://schemas.openxmlformats.org/officeDocument/2006/relationships" type="line" r:blip="">
          <dgm:adjLst/>
        </dgm:shape>
        <dgm:presOf/>
        <dgm:constrLst/>
        <dgm:ruleLst/>
      </dgm:layoutNode>
      <dgm:layoutNode name="d1" styleLbl="callout">
        <dgm:alg type="sp"/>
        <dgm:choose name="Name32">
          <dgm:if name="Name33" func="var" arg="dir" op="equ" val="norm">
            <dgm:shape xmlns:r="http://schemas.openxmlformats.org/officeDocument/2006/relationships" rot="90" type="line" r:blip="">
              <dgm:adjLst/>
            </dgm:shape>
          </dgm:if>
          <dgm:else name="Name34">
            <dgm:shape xmlns:r="http://schemas.openxmlformats.org/officeDocument/2006/relationships" rot="180" type="line" r:blip="">
              <dgm:adjLst/>
            </dgm:shape>
          </dgm:else>
        </dgm:choose>
        <dgm:presOf/>
        <dgm:constrLst/>
        <dgm:ruleLst/>
      </dgm:layoutNode>
    </dgm:forEach>
    <dgm:forEach name="Name35" axis="ch" ptType="node" st="2" cnt="1">
      <dgm:layoutNode name="circle2" styleLbl="lnNode1">
        <dgm:alg type="sp"/>
        <dgm:shape xmlns:r="http://schemas.openxmlformats.org/officeDocument/2006/relationships" type="ellipse" r:blip="" zOrderOff="-5">
          <dgm:adjLst/>
        </dgm:shape>
        <dgm:presOf/>
        <dgm:constrLst/>
        <dgm:ruleLst/>
      </dgm:layoutNode>
      <dgm:layoutNode name="text2" styleLbl="revTx">
        <dgm:varLst>
          <dgm:bulletEnabled val="1"/>
        </dgm:varLst>
        <dgm:choose name="Name36">
          <dgm:if name="Name37" func="var" arg="dir" op="equ" val="norm">
            <dgm:choose name="Name38">
              <dgm:if name="Name39" axis="root des" ptType="all node" func="maxDepth" op="gt" val="1">
                <dgm:alg type="tx">
                  <dgm:param type="parTxLTRAlign" val="l"/>
                  <dgm:param type="parTxRTLAlign" val="r"/>
                </dgm:alg>
              </dgm:if>
              <dgm:else name="Name40">
                <dgm:alg type="tx">
                  <dgm:param type="parTxLTRAlign" val="l"/>
                  <dgm:param type="parTxRTLAlign" val="l"/>
                </dgm:alg>
              </dgm:else>
            </dgm:choose>
          </dgm:if>
          <dgm:else name="Name41">
            <dgm:choose name="Name42">
              <dgm:if name="Name43" axis="root des" ptType="all node" func="maxDepth" op="gt" val="1">
                <dgm:alg type="tx">
                  <dgm:param type="parTxLTRAlign" val="l"/>
                  <dgm:param type="parTxRTLAlign" val="r"/>
                </dgm:alg>
              </dgm:if>
              <dgm:else name="Name44">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45">
          <dgm:if name="Name46" func="var" arg="dir" op="equ" val="norm">
            <dgm:constrLst>
              <dgm:constr type="tMarg" refType="primFontSz" fact="0.1"/>
              <dgm:constr type="bMarg" refType="primFontSz" fact="0.1"/>
              <dgm:constr type="rMarg" refType="primFontSz" fact="0.1"/>
            </dgm:constrLst>
          </dgm:if>
          <dgm:else name="Name47">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2" styleLbl="callout">
        <dgm:alg type="sp"/>
        <dgm:shape xmlns:r="http://schemas.openxmlformats.org/officeDocument/2006/relationships" type="line" r:blip="">
          <dgm:adjLst/>
        </dgm:shape>
        <dgm:presOf/>
        <dgm:constrLst/>
        <dgm:ruleLst/>
      </dgm:layoutNode>
      <dgm:layoutNode name="d2" styleLbl="callout">
        <dgm:alg type="sp"/>
        <dgm:choose name="Name48">
          <dgm:if name="Name49" func="var" arg="dir" op="equ" val="norm">
            <dgm:shape xmlns:r="http://schemas.openxmlformats.org/officeDocument/2006/relationships" rot="90" type="line" r:blip="">
              <dgm:adjLst/>
            </dgm:shape>
          </dgm:if>
          <dgm:else name="Name50">
            <dgm:shape xmlns:r="http://schemas.openxmlformats.org/officeDocument/2006/relationships" rot="180" type="line" r:blip="">
              <dgm:adjLst/>
            </dgm:shape>
          </dgm:else>
        </dgm:choose>
        <dgm:presOf/>
        <dgm:constrLst/>
        <dgm:ruleLst/>
      </dgm:layoutNode>
    </dgm:forEach>
    <dgm:forEach name="Name51" axis="ch" ptType="node" st="3" cnt="1">
      <dgm:layoutNode name="circle3" styleLbl="lnNode1">
        <dgm:alg type="sp"/>
        <dgm:shape xmlns:r="http://schemas.openxmlformats.org/officeDocument/2006/relationships" type="ellipse" r:blip="" zOrderOff="-10">
          <dgm:adjLst/>
        </dgm:shape>
        <dgm:presOf/>
        <dgm:constrLst/>
        <dgm:ruleLst/>
      </dgm:layoutNode>
      <dgm:layoutNode name="text3" styleLbl="revTx">
        <dgm:varLst>
          <dgm:bulletEnabled val="1"/>
        </dgm:varLst>
        <dgm:choose name="Name52">
          <dgm:if name="Name53" func="var" arg="dir" op="equ" val="norm">
            <dgm:choose name="Name54">
              <dgm:if name="Name55" axis="root des" ptType="all node" func="maxDepth" op="gt" val="1">
                <dgm:alg type="tx">
                  <dgm:param type="parTxLTRAlign" val="l"/>
                  <dgm:param type="parTxRTLAlign" val="r"/>
                </dgm:alg>
              </dgm:if>
              <dgm:else name="Name56">
                <dgm:alg type="tx">
                  <dgm:param type="parTxLTRAlign" val="l"/>
                  <dgm:param type="parTxRTLAlign" val="l"/>
                </dgm:alg>
              </dgm:else>
            </dgm:choose>
          </dgm:if>
          <dgm:else name="Name57">
            <dgm:choose name="Name58">
              <dgm:if name="Name59" axis="root des" ptType="all node" func="maxDepth" op="gt" val="1">
                <dgm:alg type="tx">
                  <dgm:param type="parTxLTRAlign" val="l"/>
                  <dgm:param type="parTxRTLAlign" val="r"/>
                </dgm:alg>
              </dgm:if>
              <dgm:else name="Name60">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61">
          <dgm:if name="Name62" func="var" arg="dir" op="equ" val="norm">
            <dgm:constrLst>
              <dgm:constr type="tMarg" refType="primFontSz" fact="0.1"/>
              <dgm:constr type="bMarg" refType="primFontSz" fact="0.1"/>
              <dgm:constr type="rMarg" refType="primFontSz" fact="0.1"/>
            </dgm:constrLst>
          </dgm:if>
          <dgm:else name="Name63">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3" styleLbl="callout">
        <dgm:alg type="sp"/>
        <dgm:shape xmlns:r="http://schemas.openxmlformats.org/officeDocument/2006/relationships" type="line" r:blip="">
          <dgm:adjLst/>
        </dgm:shape>
        <dgm:presOf/>
        <dgm:constrLst/>
        <dgm:ruleLst/>
      </dgm:layoutNode>
      <dgm:layoutNode name="d3" styleLbl="callout">
        <dgm:alg type="sp"/>
        <dgm:choose name="Name64">
          <dgm:if name="Name65" func="var" arg="dir" op="equ" val="norm">
            <dgm:shape xmlns:r="http://schemas.openxmlformats.org/officeDocument/2006/relationships" rot="90" type="line" r:blip="">
              <dgm:adjLst/>
            </dgm:shape>
          </dgm:if>
          <dgm:else name="Name66">
            <dgm:shape xmlns:r="http://schemas.openxmlformats.org/officeDocument/2006/relationships" rot="180" type="line" r:blip="">
              <dgm:adjLst/>
            </dgm:shape>
          </dgm:else>
        </dgm:choose>
        <dgm:presOf/>
        <dgm:constrLst/>
        <dgm:ruleLst/>
      </dgm:layoutNode>
    </dgm:forEach>
    <dgm:forEach name="Name67" axis="ch" ptType="node" st="4" cnt="1">
      <dgm:layoutNode name="circle4" styleLbl="lnNode1">
        <dgm:alg type="sp"/>
        <dgm:shape xmlns:r="http://schemas.openxmlformats.org/officeDocument/2006/relationships" type="ellipse" r:blip="" zOrderOff="-15">
          <dgm:adjLst/>
        </dgm:shape>
        <dgm:presOf/>
        <dgm:constrLst/>
        <dgm:ruleLst/>
      </dgm:layoutNode>
      <dgm:layoutNode name="text4" styleLbl="revTx">
        <dgm:varLst>
          <dgm:bulletEnabled val="1"/>
        </dgm:varLst>
        <dgm:choose name="Name68">
          <dgm:if name="Name69" func="var" arg="dir" op="equ" val="norm">
            <dgm:choose name="Name70">
              <dgm:if name="Name71" axis="root des" ptType="all node" func="maxDepth" op="gt" val="1">
                <dgm:alg type="tx">
                  <dgm:param type="parTxLTRAlign" val="l"/>
                  <dgm:param type="parTxRTLAlign" val="r"/>
                </dgm:alg>
              </dgm:if>
              <dgm:else name="Name72">
                <dgm:alg type="tx">
                  <dgm:param type="parTxLTRAlign" val="l"/>
                  <dgm:param type="parTxRTLAlign" val="l"/>
                </dgm:alg>
              </dgm:else>
            </dgm:choose>
          </dgm:if>
          <dgm:else name="Name73">
            <dgm:choose name="Name74">
              <dgm:if name="Name75" axis="root des" ptType="all node" func="maxDepth" op="gt" val="1">
                <dgm:alg type="tx">
                  <dgm:param type="parTxLTRAlign" val="l"/>
                  <dgm:param type="parTxRTLAlign" val="r"/>
                </dgm:alg>
              </dgm:if>
              <dgm:else name="Name76">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77">
          <dgm:if name="Name78" func="var" arg="dir" op="equ" val="norm">
            <dgm:constrLst>
              <dgm:constr type="tMarg" refType="primFontSz" fact="0.1"/>
              <dgm:constr type="bMarg" refType="primFontSz" fact="0.1"/>
              <dgm:constr type="rMarg" refType="primFontSz" fact="0.1"/>
            </dgm:constrLst>
          </dgm:if>
          <dgm:else name="Name79">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4" styleLbl="callout">
        <dgm:alg type="sp"/>
        <dgm:shape xmlns:r="http://schemas.openxmlformats.org/officeDocument/2006/relationships" type="line" r:blip="">
          <dgm:adjLst/>
        </dgm:shape>
        <dgm:presOf/>
        <dgm:constrLst/>
        <dgm:ruleLst/>
      </dgm:layoutNode>
      <dgm:layoutNode name="d4" styleLbl="callout">
        <dgm:alg type="sp"/>
        <dgm:choose name="Name80">
          <dgm:if name="Name81" func="var" arg="dir" op="equ" val="norm">
            <dgm:shape xmlns:r="http://schemas.openxmlformats.org/officeDocument/2006/relationships" rot="90" type="line" r:blip="">
              <dgm:adjLst/>
            </dgm:shape>
          </dgm:if>
          <dgm:else name="Name82">
            <dgm:shape xmlns:r="http://schemas.openxmlformats.org/officeDocument/2006/relationships" rot="180" type="line" r:blip="">
              <dgm:adjLst/>
            </dgm:shape>
          </dgm:else>
        </dgm:choose>
        <dgm:presOf/>
        <dgm:constrLst/>
        <dgm:ruleLst/>
      </dgm:layoutNode>
    </dgm:forEach>
    <dgm:forEach name="Name83" axis="ch" ptType="node" st="5" cnt="1">
      <dgm:layoutNode name="circle5" styleLbl="lnNode1">
        <dgm:alg type="sp"/>
        <dgm:shape xmlns:r="http://schemas.openxmlformats.org/officeDocument/2006/relationships" type="ellipse" r:blip="" zOrderOff="-20">
          <dgm:adjLst/>
        </dgm:shape>
        <dgm:presOf/>
        <dgm:constrLst/>
        <dgm:ruleLst/>
      </dgm:layoutNode>
      <dgm:layoutNode name="text5" styleLbl="revTx">
        <dgm:varLst>
          <dgm:bulletEnabled val="1"/>
        </dgm:varLst>
        <dgm:choose name="Name84">
          <dgm:if name="Name85" func="var" arg="dir" op="equ" val="norm">
            <dgm:choose name="Name86">
              <dgm:if name="Name87" axis="root des" ptType="all node" func="maxDepth" op="gt" val="1">
                <dgm:alg type="tx">
                  <dgm:param type="parTxLTRAlign" val="l"/>
                  <dgm:param type="parTxRTLAlign" val="r"/>
                </dgm:alg>
              </dgm:if>
              <dgm:else name="Name88">
                <dgm:alg type="tx">
                  <dgm:param type="parTxLTRAlign" val="l"/>
                  <dgm:param type="parTxRTLAlign" val="l"/>
                </dgm:alg>
              </dgm:else>
            </dgm:choose>
          </dgm:if>
          <dgm:else name="Name89">
            <dgm:choose name="Name90">
              <dgm:if name="Name91" axis="root des" ptType="all node" func="maxDepth" op="gt" val="1">
                <dgm:alg type="tx">
                  <dgm:param type="parTxLTRAlign" val="l"/>
                  <dgm:param type="parTxRTLAlign" val="r"/>
                </dgm:alg>
              </dgm:if>
              <dgm:else name="Name92">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tMarg" refType="primFontSz" fact="0.1"/>
              <dgm:constr type="bMarg" refType="primFontSz" fact="0.1"/>
              <dgm:constr type="rMarg" refType="primFontSz" fact="0.1"/>
            </dgm:constrLst>
          </dgm:if>
          <dgm:else name="Name95">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5" styleLbl="callout">
        <dgm:alg type="sp"/>
        <dgm:shape xmlns:r="http://schemas.openxmlformats.org/officeDocument/2006/relationships" type="line" r:blip="">
          <dgm:adjLst/>
        </dgm:shape>
        <dgm:presOf/>
        <dgm:constrLst/>
        <dgm:ruleLst/>
      </dgm:layoutNode>
      <dgm:layoutNode name="d5" styleLbl="callout">
        <dgm:alg type="sp"/>
        <dgm:choose name="Name96">
          <dgm:if name="Name97" func="var" arg="dir" op="equ" val="norm">
            <dgm:shape xmlns:r="http://schemas.openxmlformats.org/officeDocument/2006/relationships" rot="90" type="line" r:blip="">
              <dgm:adjLst/>
            </dgm:shape>
          </dgm:if>
          <dgm:else name="Name98">
            <dgm:shape xmlns:r="http://schemas.openxmlformats.org/officeDocument/2006/relationships" rot="180" type="line" r:blip="">
              <dgm:adjLst/>
            </dgm:shape>
          </dgm:else>
        </dgm:choose>
        <dgm:presOf/>
        <dgm:constrLst/>
        <dgm:ruleLst/>
      </dgm:layoutNode>
    </dgm:forEach>
  </dgm:layoutNode>
</dgm:layoutDef>
</file>

<file path=ppt/diagrams/layout38.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9.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8FA9664-BA29-402F-8C2E-9374D39B3DCB}" type="datetimeFigureOut">
              <a:rPr lang="zh-CN" altLang="en-US" smtClean="0"/>
              <a:t>2018/6/1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0767C24-38AC-4654-AB01-7F69A436E147}" type="slidenum">
              <a:rPr lang="zh-CN" altLang="en-US" smtClean="0"/>
              <a:t>‹#›</a:t>
            </a:fld>
            <a:endParaRPr lang="zh-CN" altLang="en-US"/>
          </a:p>
        </p:txBody>
      </p:sp>
    </p:spTree>
    <p:extLst>
      <p:ext uri="{BB962C8B-B14F-4D97-AF65-F5344CB8AC3E}">
        <p14:creationId xmlns:p14="http://schemas.microsoft.com/office/powerpoint/2010/main" val="3482527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78AC52E-898E-4574-AEE1-3B7AFCCAF1BC}" type="datetimeFigureOut">
              <a:rPr lang="zh-CN" altLang="en-US" smtClean="0"/>
              <a:pPr/>
              <a:t>2018/6/13</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80868A0-0C1C-4EA0-89D5-FD7BCC6E9576}" type="slidenum">
              <a:rPr lang="zh-CN" altLang="en-US" smtClean="0"/>
              <a:pPr/>
              <a:t>‹#›</a:t>
            </a:fld>
            <a:endParaRPr lang="zh-CN" altLang="en-US"/>
          </a:p>
        </p:txBody>
      </p:sp>
    </p:spTree>
    <p:extLst>
      <p:ext uri="{BB962C8B-B14F-4D97-AF65-F5344CB8AC3E}">
        <p14:creationId xmlns:p14="http://schemas.microsoft.com/office/powerpoint/2010/main" val="428228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1</a:t>
            </a:fld>
            <a:endParaRPr lang="zh-CN" altLang="en-US"/>
          </a:p>
        </p:txBody>
      </p:sp>
    </p:spTree>
    <p:extLst>
      <p:ext uri="{BB962C8B-B14F-4D97-AF65-F5344CB8AC3E}">
        <p14:creationId xmlns:p14="http://schemas.microsoft.com/office/powerpoint/2010/main" val="2093183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12</a:t>
            </a:fld>
            <a:endParaRPr lang="en-US" altLang="zh-CN"/>
          </a:p>
        </p:txBody>
      </p:sp>
    </p:spTree>
    <p:extLst>
      <p:ext uri="{BB962C8B-B14F-4D97-AF65-F5344CB8AC3E}">
        <p14:creationId xmlns:p14="http://schemas.microsoft.com/office/powerpoint/2010/main" val="5483449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13</a:t>
            </a:fld>
            <a:endParaRPr lang="en-US" altLang="zh-CN"/>
          </a:p>
        </p:txBody>
      </p:sp>
    </p:spTree>
    <p:extLst>
      <p:ext uri="{BB962C8B-B14F-4D97-AF65-F5344CB8AC3E}">
        <p14:creationId xmlns:p14="http://schemas.microsoft.com/office/powerpoint/2010/main" val="12138871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14</a:t>
            </a:fld>
            <a:endParaRPr lang="zh-CN" altLang="en-US"/>
          </a:p>
        </p:txBody>
      </p:sp>
    </p:spTree>
    <p:extLst>
      <p:ext uri="{BB962C8B-B14F-4D97-AF65-F5344CB8AC3E}">
        <p14:creationId xmlns:p14="http://schemas.microsoft.com/office/powerpoint/2010/main" val="2522772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15</a:t>
            </a:fld>
            <a:endParaRPr lang="zh-CN" altLang="en-US"/>
          </a:p>
        </p:txBody>
      </p:sp>
    </p:spTree>
    <p:extLst>
      <p:ext uri="{BB962C8B-B14F-4D97-AF65-F5344CB8AC3E}">
        <p14:creationId xmlns:p14="http://schemas.microsoft.com/office/powerpoint/2010/main" val="27376030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16</a:t>
            </a:fld>
            <a:endParaRPr lang="en-US" altLang="zh-CN"/>
          </a:p>
        </p:txBody>
      </p:sp>
    </p:spTree>
    <p:extLst>
      <p:ext uri="{BB962C8B-B14F-4D97-AF65-F5344CB8AC3E}">
        <p14:creationId xmlns:p14="http://schemas.microsoft.com/office/powerpoint/2010/main" val="805513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17</a:t>
            </a:fld>
            <a:endParaRPr lang="en-US" altLang="zh-CN"/>
          </a:p>
        </p:txBody>
      </p:sp>
    </p:spTree>
    <p:extLst>
      <p:ext uri="{BB962C8B-B14F-4D97-AF65-F5344CB8AC3E}">
        <p14:creationId xmlns:p14="http://schemas.microsoft.com/office/powerpoint/2010/main" val="2636038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18</a:t>
            </a:fld>
            <a:endParaRPr lang="en-US" altLang="zh-CN"/>
          </a:p>
        </p:txBody>
      </p:sp>
    </p:spTree>
    <p:extLst>
      <p:ext uri="{BB962C8B-B14F-4D97-AF65-F5344CB8AC3E}">
        <p14:creationId xmlns:p14="http://schemas.microsoft.com/office/powerpoint/2010/main" val="3566323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19</a:t>
            </a:fld>
            <a:endParaRPr lang="zh-CN" altLang="en-US"/>
          </a:p>
        </p:txBody>
      </p:sp>
    </p:spTree>
    <p:extLst>
      <p:ext uri="{BB962C8B-B14F-4D97-AF65-F5344CB8AC3E}">
        <p14:creationId xmlns:p14="http://schemas.microsoft.com/office/powerpoint/2010/main" val="19821558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20</a:t>
            </a:fld>
            <a:endParaRPr lang="zh-CN" altLang="en-US"/>
          </a:p>
        </p:txBody>
      </p:sp>
    </p:spTree>
    <p:extLst>
      <p:ext uri="{BB962C8B-B14F-4D97-AF65-F5344CB8AC3E}">
        <p14:creationId xmlns:p14="http://schemas.microsoft.com/office/powerpoint/2010/main" val="4385728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24</a:t>
            </a:fld>
            <a:endParaRPr lang="zh-CN" altLang="en-US"/>
          </a:p>
        </p:txBody>
      </p:sp>
    </p:spTree>
    <p:extLst>
      <p:ext uri="{BB962C8B-B14F-4D97-AF65-F5344CB8AC3E}">
        <p14:creationId xmlns:p14="http://schemas.microsoft.com/office/powerpoint/2010/main" val="3060096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2</a:t>
            </a:fld>
            <a:endParaRPr lang="zh-CN" altLang="en-US"/>
          </a:p>
        </p:txBody>
      </p:sp>
    </p:spTree>
    <p:extLst>
      <p:ext uri="{BB962C8B-B14F-4D97-AF65-F5344CB8AC3E}">
        <p14:creationId xmlns:p14="http://schemas.microsoft.com/office/powerpoint/2010/main" val="1108189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pPr lvl="1"/>
            <a:endParaRPr lang="en-US" altLang="zh-CN"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25</a:t>
            </a:fld>
            <a:endParaRPr lang="en-US" altLang="zh-CN"/>
          </a:p>
        </p:txBody>
      </p:sp>
    </p:spTree>
    <p:extLst>
      <p:ext uri="{BB962C8B-B14F-4D97-AF65-F5344CB8AC3E}">
        <p14:creationId xmlns:p14="http://schemas.microsoft.com/office/powerpoint/2010/main" val="12367202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26</a:t>
            </a:fld>
            <a:endParaRPr lang="en-US" altLang="zh-CN"/>
          </a:p>
        </p:txBody>
      </p:sp>
    </p:spTree>
    <p:extLst>
      <p:ext uri="{BB962C8B-B14F-4D97-AF65-F5344CB8AC3E}">
        <p14:creationId xmlns:p14="http://schemas.microsoft.com/office/powerpoint/2010/main" val="7788497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27</a:t>
            </a:fld>
            <a:endParaRPr lang="en-US" altLang="zh-CN"/>
          </a:p>
        </p:txBody>
      </p:sp>
    </p:spTree>
    <p:extLst>
      <p:ext uri="{BB962C8B-B14F-4D97-AF65-F5344CB8AC3E}">
        <p14:creationId xmlns:p14="http://schemas.microsoft.com/office/powerpoint/2010/main" val="9947179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28</a:t>
            </a:fld>
            <a:endParaRPr lang="en-US" altLang="zh-CN"/>
          </a:p>
        </p:txBody>
      </p:sp>
    </p:spTree>
    <p:extLst>
      <p:ext uri="{BB962C8B-B14F-4D97-AF65-F5344CB8AC3E}">
        <p14:creationId xmlns:p14="http://schemas.microsoft.com/office/powerpoint/2010/main" val="5903358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29</a:t>
            </a:fld>
            <a:endParaRPr lang="en-US" altLang="zh-CN"/>
          </a:p>
        </p:txBody>
      </p:sp>
    </p:spTree>
    <p:extLst>
      <p:ext uri="{BB962C8B-B14F-4D97-AF65-F5344CB8AC3E}">
        <p14:creationId xmlns:p14="http://schemas.microsoft.com/office/powerpoint/2010/main" val="15967147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30</a:t>
            </a:fld>
            <a:endParaRPr lang="en-US" altLang="zh-CN"/>
          </a:p>
        </p:txBody>
      </p:sp>
    </p:spTree>
    <p:extLst>
      <p:ext uri="{BB962C8B-B14F-4D97-AF65-F5344CB8AC3E}">
        <p14:creationId xmlns:p14="http://schemas.microsoft.com/office/powerpoint/2010/main" val="33198266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31</a:t>
            </a:fld>
            <a:endParaRPr lang="en-US" altLang="zh-CN"/>
          </a:p>
        </p:txBody>
      </p:sp>
    </p:spTree>
    <p:extLst>
      <p:ext uri="{BB962C8B-B14F-4D97-AF65-F5344CB8AC3E}">
        <p14:creationId xmlns:p14="http://schemas.microsoft.com/office/powerpoint/2010/main" val="1539799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32</a:t>
            </a:fld>
            <a:endParaRPr lang="en-US" altLang="zh-CN"/>
          </a:p>
        </p:txBody>
      </p:sp>
    </p:spTree>
    <p:extLst>
      <p:ext uri="{BB962C8B-B14F-4D97-AF65-F5344CB8AC3E}">
        <p14:creationId xmlns:p14="http://schemas.microsoft.com/office/powerpoint/2010/main" val="34506524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33</a:t>
            </a:fld>
            <a:endParaRPr lang="en-US" altLang="zh-CN"/>
          </a:p>
        </p:txBody>
      </p:sp>
    </p:spTree>
    <p:extLst>
      <p:ext uri="{BB962C8B-B14F-4D97-AF65-F5344CB8AC3E}">
        <p14:creationId xmlns:p14="http://schemas.microsoft.com/office/powerpoint/2010/main" val="16670642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35</a:t>
            </a:fld>
            <a:endParaRPr lang="en-US" altLang="zh-CN"/>
          </a:p>
        </p:txBody>
      </p:sp>
    </p:spTree>
    <p:extLst>
      <p:ext uri="{BB962C8B-B14F-4D97-AF65-F5344CB8AC3E}">
        <p14:creationId xmlns:p14="http://schemas.microsoft.com/office/powerpoint/2010/main" val="2189190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3</a:t>
            </a:fld>
            <a:endParaRPr lang="en-US" altLang="zh-CN"/>
          </a:p>
        </p:txBody>
      </p:sp>
    </p:spTree>
    <p:extLst>
      <p:ext uri="{BB962C8B-B14F-4D97-AF65-F5344CB8AC3E}">
        <p14:creationId xmlns:p14="http://schemas.microsoft.com/office/powerpoint/2010/main" val="13306542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36</a:t>
            </a:fld>
            <a:endParaRPr lang="zh-CN" altLang="en-US"/>
          </a:p>
        </p:txBody>
      </p:sp>
    </p:spTree>
    <p:extLst>
      <p:ext uri="{BB962C8B-B14F-4D97-AF65-F5344CB8AC3E}">
        <p14:creationId xmlns:p14="http://schemas.microsoft.com/office/powerpoint/2010/main" val="32227732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37</a:t>
            </a:fld>
            <a:endParaRPr lang="zh-CN" altLang="en-US"/>
          </a:p>
        </p:txBody>
      </p:sp>
    </p:spTree>
    <p:extLst>
      <p:ext uri="{BB962C8B-B14F-4D97-AF65-F5344CB8AC3E}">
        <p14:creationId xmlns:p14="http://schemas.microsoft.com/office/powerpoint/2010/main" val="16405967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38</a:t>
            </a:fld>
            <a:endParaRPr lang="zh-CN" altLang="en-US"/>
          </a:p>
        </p:txBody>
      </p:sp>
    </p:spTree>
    <p:extLst>
      <p:ext uri="{BB962C8B-B14F-4D97-AF65-F5344CB8AC3E}">
        <p14:creationId xmlns:p14="http://schemas.microsoft.com/office/powerpoint/2010/main" val="40445478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39</a:t>
            </a:fld>
            <a:endParaRPr lang="zh-CN" altLang="en-US"/>
          </a:p>
        </p:txBody>
      </p:sp>
    </p:spTree>
    <p:extLst>
      <p:ext uri="{BB962C8B-B14F-4D97-AF65-F5344CB8AC3E}">
        <p14:creationId xmlns:p14="http://schemas.microsoft.com/office/powerpoint/2010/main" val="15811125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40</a:t>
            </a:fld>
            <a:endParaRPr lang="zh-CN" altLang="en-US"/>
          </a:p>
        </p:txBody>
      </p:sp>
    </p:spTree>
    <p:extLst>
      <p:ext uri="{BB962C8B-B14F-4D97-AF65-F5344CB8AC3E}">
        <p14:creationId xmlns:p14="http://schemas.microsoft.com/office/powerpoint/2010/main" val="36068926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41</a:t>
            </a:fld>
            <a:endParaRPr lang="zh-CN" altLang="en-US"/>
          </a:p>
        </p:txBody>
      </p:sp>
    </p:spTree>
    <p:extLst>
      <p:ext uri="{BB962C8B-B14F-4D97-AF65-F5344CB8AC3E}">
        <p14:creationId xmlns:p14="http://schemas.microsoft.com/office/powerpoint/2010/main" val="2258610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42</a:t>
            </a:fld>
            <a:endParaRPr lang="zh-CN" altLang="en-US"/>
          </a:p>
        </p:txBody>
      </p:sp>
    </p:spTree>
    <p:extLst>
      <p:ext uri="{BB962C8B-B14F-4D97-AF65-F5344CB8AC3E}">
        <p14:creationId xmlns:p14="http://schemas.microsoft.com/office/powerpoint/2010/main" val="26701556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44</a:t>
            </a:fld>
            <a:endParaRPr lang="en-US" altLang="zh-CN"/>
          </a:p>
        </p:txBody>
      </p:sp>
    </p:spTree>
    <p:extLst>
      <p:ext uri="{BB962C8B-B14F-4D97-AF65-F5344CB8AC3E}">
        <p14:creationId xmlns:p14="http://schemas.microsoft.com/office/powerpoint/2010/main" val="14980318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52</a:t>
            </a:fld>
            <a:endParaRPr lang="en-US" altLang="zh-CN"/>
          </a:p>
        </p:txBody>
      </p:sp>
    </p:spTree>
    <p:extLst>
      <p:ext uri="{BB962C8B-B14F-4D97-AF65-F5344CB8AC3E}">
        <p14:creationId xmlns:p14="http://schemas.microsoft.com/office/powerpoint/2010/main" val="15009689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2E6AA879-562F-49F1-9437-49BD7B4D140E}" type="slidenum">
              <a:rPr lang="zh-CN" altLang="en-US" smtClean="0">
                <a:solidFill>
                  <a:srgbClr val="000000"/>
                </a:solidFill>
              </a:rPr>
              <a:pPr>
                <a:defRPr/>
              </a:pPr>
              <a:t>60</a:t>
            </a:fld>
            <a:endParaRPr lang="en-US" altLang="zh-CN" sz="1200" b="0">
              <a:solidFill>
                <a:srgbClr val="000000"/>
              </a:solidFill>
              <a:latin typeface="Times New Roman" pitchFamily="18" charset="0"/>
            </a:endParaRPr>
          </a:p>
        </p:txBody>
      </p:sp>
    </p:spTree>
    <p:extLst>
      <p:ext uri="{BB962C8B-B14F-4D97-AF65-F5344CB8AC3E}">
        <p14:creationId xmlns:p14="http://schemas.microsoft.com/office/powerpoint/2010/main" val="1866168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4</a:t>
            </a:fld>
            <a:endParaRPr lang="zh-CN" altLang="en-US"/>
          </a:p>
        </p:txBody>
      </p:sp>
    </p:spTree>
    <p:extLst>
      <p:ext uri="{BB962C8B-B14F-4D97-AF65-F5344CB8AC3E}">
        <p14:creationId xmlns:p14="http://schemas.microsoft.com/office/powerpoint/2010/main" val="950291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BEEB0B2-16CC-4B07-AA76-BB7A750C261F}" type="slidenum">
              <a:rPr lang="zh-CN" altLang="en-US" smtClean="0"/>
              <a:pPr>
                <a:defRPr/>
              </a:pPr>
              <a:t>5</a:t>
            </a:fld>
            <a:endParaRPr lang="en-US" altLang="zh-CN"/>
          </a:p>
        </p:txBody>
      </p:sp>
    </p:spTree>
    <p:extLst>
      <p:ext uri="{BB962C8B-B14F-4D97-AF65-F5344CB8AC3E}">
        <p14:creationId xmlns:p14="http://schemas.microsoft.com/office/powerpoint/2010/main" val="4099569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6</a:t>
            </a:fld>
            <a:endParaRPr lang="zh-CN" altLang="en-US"/>
          </a:p>
        </p:txBody>
      </p:sp>
    </p:spTree>
    <p:extLst>
      <p:ext uri="{BB962C8B-B14F-4D97-AF65-F5344CB8AC3E}">
        <p14:creationId xmlns:p14="http://schemas.microsoft.com/office/powerpoint/2010/main" val="17676813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7</a:t>
            </a:fld>
            <a:endParaRPr lang="zh-CN" altLang="en-US"/>
          </a:p>
        </p:txBody>
      </p:sp>
    </p:spTree>
    <p:extLst>
      <p:ext uri="{BB962C8B-B14F-4D97-AF65-F5344CB8AC3E}">
        <p14:creationId xmlns:p14="http://schemas.microsoft.com/office/powerpoint/2010/main" val="2696066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9</a:t>
            </a:fld>
            <a:endParaRPr lang="zh-CN" altLang="en-US"/>
          </a:p>
        </p:txBody>
      </p:sp>
    </p:spTree>
    <p:extLst>
      <p:ext uri="{BB962C8B-B14F-4D97-AF65-F5344CB8AC3E}">
        <p14:creationId xmlns:p14="http://schemas.microsoft.com/office/powerpoint/2010/main" val="3846360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80868A0-0C1C-4EA0-89D5-FD7BCC6E9576}" type="slidenum">
              <a:rPr lang="zh-CN" altLang="en-US" smtClean="0"/>
              <a:pPr/>
              <a:t>10</a:t>
            </a:fld>
            <a:endParaRPr lang="zh-CN" altLang="en-US"/>
          </a:p>
        </p:txBody>
      </p:sp>
    </p:spTree>
    <p:extLst>
      <p:ext uri="{BB962C8B-B14F-4D97-AF65-F5344CB8AC3E}">
        <p14:creationId xmlns:p14="http://schemas.microsoft.com/office/powerpoint/2010/main" val="903490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标题幻灯片">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3" name="think-cell Slide" r:id="rId4" imgW="0" imgH="0" progId="">
                  <p:embed/>
                </p:oleObj>
              </mc:Choice>
              <mc:Fallback>
                <p:oleObj name="think-cell Slide" r:id="rId4" imgW="0" imgH="0" progId="">
                  <p:embed/>
                  <p:pic>
                    <p:nvPicPr>
                      <p:cNvPr id="0" name="AutoShape 1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标题 1"/>
          <p:cNvSpPr>
            <a:spLocks noGrp="1"/>
          </p:cNvSpPr>
          <p:nvPr>
            <p:ph type="ctrTitle"/>
          </p:nvPr>
        </p:nvSpPr>
        <p:spPr>
          <a:xfrm>
            <a:off x="744527" y="3692791"/>
            <a:ext cx="7772400" cy="892695"/>
          </a:xfrm>
          <a:prstGeom prst="rect">
            <a:avLst/>
          </a:prstGeom>
        </p:spPr>
        <p:txBody>
          <a:bodyPr anchor="ctr"/>
          <a:lstStyle>
            <a:lvl1pPr>
              <a:defRPr sz="2800">
                <a:solidFill>
                  <a:schemeClr val="tx1"/>
                </a:solidFill>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
        <p:nvSpPr>
          <p:cNvPr id="8" name="副标题 2"/>
          <p:cNvSpPr>
            <a:spLocks noGrp="1"/>
          </p:cNvSpPr>
          <p:nvPr>
            <p:ph type="subTitle" idx="1"/>
          </p:nvPr>
        </p:nvSpPr>
        <p:spPr>
          <a:xfrm>
            <a:off x="1462371" y="4836828"/>
            <a:ext cx="6400800" cy="776177"/>
          </a:xfrm>
          <a:prstGeom prst="rect">
            <a:avLst/>
          </a:prstGeom>
        </p:spPr>
        <p:txBody>
          <a:bodyPr anchor="ctr"/>
          <a:lstStyle>
            <a:lvl1pPr marL="0" indent="0" algn="ctr">
              <a:buNone/>
              <a:defRPr sz="2400">
                <a:latin typeface="微软雅黑" panose="020B0503020204020204" pitchFamily="34" charset="-122"/>
                <a:ea typeface="微软雅黑" panose="020B0503020204020204" pitchFamily="34" charset="-122"/>
              </a:defRPr>
            </a:lvl1pPr>
          </a:lstStyle>
          <a:p>
            <a:r>
              <a:rPr lang="zh-CN" altLang="en-US" smtClean="0"/>
              <a:t>单击此处编辑母版副标题样式</a:t>
            </a:r>
            <a:endParaRPr lang="zh-CN" altLang="en-US" dirty="0"/>
          </a:p>
        </p:txBody>
      </p:sp>
      <p:sp>
        <p:nvSpPr>
          <p:cNvPr id="10" name="文本占位符 3"/>
          <p:cNvSpPr>
            <a:spLocks noGrp="1"/>
          </p:cNvSpPr>
          <p:nvPr>
            <p:ph type="body" sz="quarter" idx="10"/>
          </p:nvPr>
        </p:nvSpPr>
        <p:spPr>
          <a:xfrm>
            <a:off x="2684914" y="5838825"/>
            <a:ext cx="3941763" cy="334963"/>
          </a:xfrm>
          <a:prstGeom prst="rect">
            <a:avLst/>
          </a:prstGeom>
        </p:spPr>
        <p:txBody>
          <a:bodyPr anchor="ctr"/>
          <a:lstStyle>
            <a:lvl1pPr marL="0" indent="0" algn="ctr">
              <a:buNone/>
              <a:defRPr sz="1600">
                <a:latin typeface="微软雅黑" panose="020B0503020204020204" pitchFamily="34" charset="-122"/>
                <a:ea typeface="微软雅黑" panose="020B0503020204020204" pitchFamily="34" charset="-122"/>
              </a:defRPr>
            </a:lvl1pPr>
          </a:lstStyle>
          <a:p>
            <a:pPr lvl="0"/>
            <a:r>
              <a:rPr lang="zh-CN" altLang="en-US" smtClean="0"/>
              <a:t>单击此处编辑母版文本样式</a:t>
            </a:r>
          </a:p>
        </p:txBody>
      </p:sp>
    </p:spTree>
    <p:extLst>
      <p:ext uri="{BB962C8B-B14F-4D97-AF65-F5344CB8AC3E}">
        <p14:creationId xmlns:p14="http://schemas.microsoft.com/office/powerpoint/2010/main" val="2112403132"/>
      </p:ext>
    </p:extLst>
  </p:cSld>
  <p:clrMapOvr>
    <a:masterClrMapping/>
  </p:clrMapOvr>
  <p:transition/>
  <p:timing>
    <p:tnLst>
      <p:par>
        <p:cTn id="1" dur="indefinite" restart="never" nodeType="tmRoot"/>
      </p:par>
    </p:tnLst>
  </p:timing>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5979661" cy="561975"/>
          </a:xfrm>
          <a:prstGeom prst="rect">
            <a:avLst/>
          </a:prstGeom>
        </p:spPr>
        <p:txBody>
          <a:bodyPr anchor="ctr"/>
          <a:lstStyle>
            <a:lvl1pPr algn="l">
              <a:defRPr sz="2400">
                <a:solidFill>
                  <a:schemeClr val="tx1"/>
                </a:solidFill>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397871" y="771787"/>
            <a:ext cx="8360234" cy="5570290"/>
          </a:xfrm>
          <a:prstGeom prst="rect">
            <a:avLst/>
          </a:prstGeom>
        </p:spPr>
        <p:txBody>
          <a:bodyPr/>
          <a:lstStyle>
            <a:lvl1pPr marL="285750" indent="-285750">
              <a:buFont typeface="Wingdings" panose="05000000000000000000" pitchFamily="2" charset="2"/>
              <a:buChar char="n"/>
              <a:defRPr sz="1800" b="1">
                <a:latin typeface="楷体" panose="02010609060101010101" pitchFamily="49" charset="-122"/>
                <a:ea typeface="楷体" panose="02010609060101010101" pitchFamily="49" charset="-122"/>
              </a:defRPr>
            </a:lvl1pPr>
            <a:lvl2pPr marL="742950" indent="-285750">
              <a:buFont typeface="Wingdings" panose="05000000000000000000" pitchFamily="2" charset="2"/>
              <a:buChar char="l"/>
              <a:defRPr sz="1600" b="0">
                <a:latin typeface="楷体" panose="02010609060101010101" pitchFamily="49" charset="-122"/>
                <a:ea typeface="楷体" panose="02010609060101010101" pitchFamily="49" charset="-122"/>
              </a:defRPr>
            </a:lvl2pPr>
            <a:lvl3pPr marL="1143000" indent="-228600">
              <a:buFont typeface="Wingdings" panose="05000000000000000000" pitchFamily="2" charset="2"/>
              <a:buChar char="Ø"/>
              <a:defRPr sz="1400">
                <a:latin typeface="楷体" panose="02010609060101010101" pitchFamily="49" charset="-122"/>
                <a:ea typeface="楷体" panose="02010609060101010101" pitchFamily="49" charset="-122"/>
              </a:defRPr>
            </a:lvl3pPr>
            <a:lvl4pPr marL="1600200" indent="-228600">
              <a:buFont typeface="Wingdings" panose="05000000000000000000" pitchFamily="2" charset="2"/>
              <a:buChar char="ü"/>
              <a:defRPr sz="1400">
                <a:latin typeface="楷体" panose="02010609060101010101" pitchFamily="49" charset="-122"/>
                <a:ea typeface="楷体" panose="02010609060101010101" pitchFamily="49" charset="-122"/>
              </a:defRPr>
            </a:lvl4pPr>
            <a:lvl5pPr>
              <a:defRPr sz="1400">
                <a:latin typeface="楷体" panose="02010609060101010101" pitchFamily="49" charset="-122"/>
                <a:ea typeface="楷体" panose="02010609060101010101"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spTree>
    <p:extLst>
      <p:ext uri="{BB962C8B-B14F-4D97-AF65-F5344CB8AC3E}">
        <p14:creationId xmlns:p14="http://schemas.microsoft.com/office/powerpoint/2010/main" val="3951451355"/>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5316" name="Line 4"/>
          <p:cNvSpPr>
            <a:spLocks noChangeShapeType="1"/>
          </p:cNvSpPr>
          <p:nvPr/>
        </p:nvSpPr>
        <p:spPr bwMode="auto">
          <a:xfrm flipV="1">
            <a:off x="381004" y="723901"/>
            <a:ext cx="8382000" cy="0"/>
          </a:xfrm>
          <a:prstGeom prst="line">
            <a:avLst/>
          </a:prstGeom>
          <a:noFill/>
          <a:ln w="28575">
            <a:solidFill>
              <a:srgbClr val="CC0000"/>
            </a:solidFill>
            <a:round/>
            <a:headEnd/>
            <a:tailEnd/>
          </a:ln>
          <a:effectLst/>
        </p:spPr>
        <p:txBody>
          <a:bodyPr/>
          <a:lstStyle/>
          <a:p>
            <a:pPr algn="ctr">
              <a:defRPr/>
            </a:pPr>
            <a:endParaRPr lang="zh-CN" altLang="en-US" dirty="0">
              <a:ea typeface="微软雅黑" pitchFamily="34" charset="-122"/>
            </a:endParaRPr>
          </a:p>
        </p:txBody>
      </p:sp>
      <p:sp>
        <p:nvSpPr>
          <p:cNvPr id="2" name="Line 10"/>
          <p:cNvSpPr>
            <a:spLocks noChangeShapeType="1"/>
          </p:cNvSpPr>
          <p:nvPr/>
        </p:nvSpPr>
        <p:spPr bwMode="auto">
          <a:xfrm flipV="1">
            <a:off x="395292" y="6381751"/>
            <a:ext cx="8382000" cy="0"/>
          </a:xfrm>
          <a:prstGeom prst="line">
            <a:avLst/>
          </a:prstGeom>
          <a:noFill/>
          <a:ln w="38100">
            <a:solidFill>
              <a:srgbClr val="CC0000"/>
            </a:solidFill>
            <a:round/>
            <a:headEnd/>
            <a:tailEnd/>
          </a:ln>
          <a:effectLst/>
        </p:spPr>
        <p:txBody>
          <a:bodyPr lIns="71438" tIns="36512" rIns="71438" bIns="36512"/>
          <a:lstStyle/>
          <a:p>
            <a:pPr algn="ctr" eaLnBrk="0" hangingPunct="0">
              <a:lnSpc>
                <a:spcPct val="120000"/>
              </a:lnSpc>
              <a:spcBef>
                <a:spcPct val="50000"/>
              </a:spcBef>
              <a:buClr>
                <a:schemeClr val="accent1"/>
              </a:buClr>
              <a:buFont typeface="Wingdings" pitchFamily="2" charset="2"/>
              <a:buNone/>
              <a:defRPr/>
            </a:pPr>
            <a:endParaRPr lang="zh-CN" altLang="en-US" sz="1400">
              <a:latin typeface="Times New Roman" pitchFamily="18" charset="0"/>
              <a:ea typeface="华文楷体" pitchFamily="2" charset="-122"/>
            </a:endParaRPr>
          </a:p>
        </p:txBody>
      </p:sp>
      <p:sp>
        <p:nvSpPr>
          <p:cNvPr id="23561" name="Rectangle 9"/>
          <p:cNvSpPr>
            <a:spLocks noChangeArrowheads="1"/>
          </p:cNvSpPr>
          <p:nvPr/>
        </p:nvSpPr>
        <p:spPr bwMode="auto">
          <a:xfrm>
            <a:off x="4140203" y="6453194"/>
            <a:ext cx="1157289" cy="246857"/>
          </a:xfrm>
          <a:prstGeom prst="rect">
            <a:avLst/>
          </a:prstGeom>
          <a:noFill/>
          <a:ln w="9525">
            <a:noFill/>
            <a:miter lim="800000"/>
            <a:headEnd/>
            <a:tailEnd/>
          </a:ln>
        </p:spPr>
        <p:txBody>
          <a:bodyPr lIns="92067" tIns="46035" rIns="92067" bIns="46035">
            <a:spAutoFit/>
          </a:bodyPr>
          <a:lstStyle/>
          <a:p>
            <a:pPr algn="ctr" defTabSz="762000" eaLnBrk="0" hangingPunct="0">
              <a:defRPr/>
            </a:pPr>
            <a:fld id="{558DDB7A-F71A-4AA3-953E-18D85D2FCC7E}" type="slidenum">
              <a:rPr kumimoji="1" lang="en-US" altLang="zh-TW" sz="1000" b="0" smtClean="0">
                <a:latin typeface="微软雅黑" pitchFamily="34" charset="-122"/>
                <a:ea typeface="华文楷体" pitchFamily="2" charset="-122"/>
              </a:rPr>
              <a:pPr algn="ctr" defTabSz="762000" eaLnBrk="0" hangingPunct="0">
                <a:defRPr/>
              </a:pPr>
              <a:t>‹#›</a:t>
            </a:fld>
            <a:endParaRPr kumimoji="1" lang="zh-TW" altLang="en-US" sz="1000" b="0" dirty="0">
              <a:latin typeface="微软雅黑" pitchFamily="34" charset="-122"/>
              <a:ea typeface="华文楷体" pitchFamily="2" charset="-122"/>
            </a:endParaRPr>
          </a:p>
        </p:txBody>
      </p:sp>
    </p:spTree>
  </p:cSld>
  <p:clrMap bg1="lt1" tx1="dk1" bg2="lt2" tx2="dk2" accent1="accent1" accent2="accent2" accent3="accent3" accent4="accent4" accent5="accent5" accent6="accent6" hlink="hlink" folHlink="folHlink"/>
  <p:sldLayoutIdLst>
    <p:sldLayoutId id="2147483685" r:id="rId1"/>
    <p:sldLayoutId id="2147483684" r:id="rId2"/>
  </p:sldLayoutIdLst>
  <p:transition/>
  <p:timing>
    <p:tnLst>
      <p:par>
        <p:cTn id="1" dur="indefinite" restart="never" nodeType="tmRoot"/>
      </p:par>
    </p:tnLst>
  </p:timing>
  <p:txStyles>
    <p:title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Arial" charset="0"/>
          <a:ea typeface="黑体" pitchFamily="2" charset="-122"/>
        </a:defRPr>
      </a:lvl2pPr>
      <a:lvl3pPr algn="ctr" rtl="0" eaLnBrk="1" fontAlgn="base" hangingPunct="1">
        <a:spcBef>
          <a:spcPct val="0"/>
        </a:spcBef>
        <a:spcAft>
          <a:spcPct val="0"/>
        </a:spcAft>
        <a:defRPr sz="3200" b="1">
          <a:solidFill>
            <a:schemeClr val="tx2"/>
          </a:solidFill>
          <a:latin typeface="Arial" charset="0"/>
          <a:ea typeface="黑体" pitchFamily="2" charset="-122"/>
        </a:defRPr>
      </a:lvl3pPr>
      <a:lvl4pPr algn="ctr" rtl="0" eaLnBrk="1" fontAlgn="base" hangingPunct="1">
        <a:spcBef>
          <a:spcPct val="0"/>
        </a:spcBef>
        <a:spcAft>
          <a:spcPct val="0"/>
        </a:spcAft>
        <a:defRPr sz="3200" b="1">
          <a:solidFill>
            <a:schemeClr val="tx2"/>
          </a:solidFill>
          <a:latin typeface="Arial" charset="0"/>
          <a:ea typeface="黑体" pitchFamily="2" charset="-122"/>
        </a:defRPr>
      </a:lvl4pPr>
      <a:lvl5pPr algn="ctr" rtl="0" eaLnBrk="1" fontAlgn="base" hangingPunct="1">
        <a:spcBef>
          <a:spcPct val="0"/>
        </a:spcBef>
        <a:spcAft>
          <a:spcPct val="0"/>
        </a:spcAft>
        <a:defRPr sz="3200" b="1">
          <a:solidFill>
            <a:schemeClr val="tx2"/>
          </a:solidFill>
          <a:latin typeface="Arial" charset="0"/>
          <a:ea typeface="黑体" pitchFamily="2" charset="-122"/>
        </a:defRPr>
      </a:lvl5pPr>
      <a:lvl6pPr marL="457200" algn="ctr" rtl="0" eaLnBrk="1" fontAlgn="base" hangingPunct="1">
        <a:spcBef>
          <a:spcPct val="0"/>
        </a:spcBef>
        <a:spcAft>
          <a:spcPct val="0"/>
        </a:spcAft>
        <a:defRPr sz="3200" b="1">
          <a:solidFill>
            <a:schemeClr val="tx2"/>
          </a:solidFill>
          <a:latin typeface="Arial" charset="0"/>
          <a:ea typeface="黑体" pitchFamily="2" charset="-122"/>
        </a:defRPr>
      </a:lvl6pPr>
      <a:lvl7pPr marL="914400" algn="ctr" rtl="0" eaLnBrk="1" fontAlgn="base" hangingPunct="1">
        <a:spcBef>
          <a:spcPct val="0"/>
        </a:spcBef>
        <a:spcAft>
          <a:spcPct val="0"/>
        </a:spcAft>
        <a:defRPr sz="3200" b="1">
          <a:solidFill>
            <a:schemeClr val="tx2"/>
          </a:solidFill>
          <a:latin typeface="Arial" charset="0"/>
          <a:ea typeface="黑体" pitchFamily="2" charset="-122"/>
        </a:defRPr>
      </a:lvl7pPr>
      <a:lvl8pPr marL="1371600" algn="ctr" rtl="0" eaLnBrk="1" fontAlgn="base" hangingPunct="1">
        <a:spcBef>
          <a:spcPct val="0"/>
        </a:spcBef>
        <a:spcAft>
          <a:spcPct val="0"/>
        </a:spcAft>
        <a:defRPr sz="3200" b="1">
          <a:solidFill>
            <a:schemeClr val="tx2"/>
          </a:solidFill>
          <a:latin typeface="Arial" charset="0"/>
          <a:ea typeface="黑体" pitchFamily="2" charset="-122"/>
        </a:defRPr>
      </a:lvl8pPr>
      <a:lvl9pPr marL="1828800" algn="ctr" rtl="0" eaLnBrk="1" fontAlgn="base" hangingPunct="1">
        <a:spcBef>
          <a:spcPct val="0"/>
        </a:spcBef>
        <a:spcAft>
          <a:spcPct val="0"/>
        </a:spcAft>
        <a:defRPr sz="3200" b="1">
          <a:solidFill>
            <a:schemeClr val="tx2"/>
          </a:solidFill>
          <a:latin typeface="Arial" charset="0"/>
          <a:ea typeface="黑体" pitchFamily="2" charset="-122"/>
        </a:defRPr>
      </a:lvl9pPr>
    </p:titleStyle>
    <p:body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ea typeface="+mn-ea"/>
        </a:defRPr>
      </a:lvl2pPr>
      <a:lvl3pPr marL="1143000" indent="-228600" algn="l" rtl="0" eaLnBrk="1" fontAlgn="base" hangingPunct="1">
        <a:spcBef>
          <a:spcPct val="20000"/>
        </a:spcBef>
        <a:spcAft>
          <a:spcPct val="0"/>
        </a:spcAft>
        <a:buChar char="•"/>
        <a:defRPr sz="2000">
          <a:solidFill>
            <a:schemeClr val="tx1"/>
          </a:solidFill>
          <a:latin typeface="+mn-lt"/>
          <a:ea typeface="+mn-ea"/>
        </a:defRPr>
      </a:lvl3pPr>
      <a:lvl4pPr marL="1600200" indent="-228600" algn="l" rtl="0" eaLnBrk="1" fontAlgn="base" hangingPunct="1">
        <a:spcBef>
          <a:spcPct val="20000"/>
        </a:spcBef>
        <a:spcAft>
          <a:spcPct val="0"/>
        </a:spcAft>
        <a:buChar char="–"/>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a:solidFill>
            <a:schemeClr val="tx1"/>
          </a:solidFill>
          <a:latin typeface="+mn-lt"/>
          <a:ea typeface="+mn-ea"/>
        </a:defRPr>
      </a:lvl6pPr>
      <a:lvl7pPr marL="2971800" indent="-228600" algn="l" rtl="0" eaLnBrk="1" fontAlgn="base" hangingPunct="1">
        <a:spcBef>
          <a:spcPct val="20000"/>
        </a:spcBef>
        <a:spcAft>
          <a:spcPct val="0"/>
        </a:spcAft>
        <a:buChar char="»"/>
        <a:defRPr>
          <a:solidFill>
            <a:schemeClr val="tx1"/>
          </a:solidFill>
          <a:latin typeface="+mn-lt"/>
          <a:ea typeface="+mn-ea"/>
        </a:defRPr>
      </a:lvl7pPr>
      <a:lvl8pPr marL="3429000" indent="-228600" algn="l" rtl="0" eaLnBrk="1" fontAlgn="base" hangingPunct="1">
        <a:spcBef>
          <a:spcPct val="20000"/>
        </a:spcBef>
        <a:spcAft>
          <a:spcPct val="0"/>
        </a:spcAft>
        <a:buChar char="»"/>
        <a:defRPr>
          <a:solidFill>
            <a:schemeClr val="tx1"/>
          </a:solidFill>
          <a:latin typeface="+mn-lt"/>
          <a:ea typeface="+mn-ea"/>
        </a:defRPr>
      </a:lvl8pPr>
      <a:lvl9pPr marL="3886200" indent="-228600" algn="l" rtl="0" eaLnBrk="1" fontAlgn="base" hangingPunct="1">
        <a:spcBef>
          <a:spcPct val="20000"/>
        </a:spcBef>
        <a:spcAft>
          <a:spcPct val="0"/>
        </a:spcAft>
        <a:buChar char="»"/>
        <a:defRPr>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hyperlink" Target="http://www.pentest-standard.org/" TargetMode="External"/><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2.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5.xml"/><Relationship Id="rId2" Type="http://schemas.openxmlformats.org/officeDocument/2006/relationships/diagramData" Target="../diagrams/data25.xml"/><Relationship Id="rId1" Type="http://schemas.openxmlformats.org/officeDocument/2006/relationships/slideLayout" Target="../slideLayouts/slideLayout2.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11.jpg"/></Relationships>
</file>

<file path=ppt/slides/_rels/slide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28.xml"/><Relationship Id="rId2" Type="http://schemas.openxmlformats.org/officeDocument/2006/relationships/diagramData" Target="../diagrams/data28.xml"/><Relationship Id="rId1" Type="http://schemas.openxmlformats.org/officeDocument/2006/relationships/slideLayout" Target="../slideLayouts/slideLayout2.xml"/><Relationship Id="rId6" Type="http://schemas.microsoft.com/office/2007/relationships/diagramDrawing" Target="../diagrams/drawing28.xml"/><Relationship Id="rId5" Type="http://schemas.openxmlformats.org/officeDocument/2006/relationships/diagramColors" Target="../diagrams/colors28.xml"/><Relationship Id="rId4" Type="http://schemas.openxmlformats.org/officeDocument/2006/relationships/diagramQuickStyle" Target="../diagrams/quickStyle28.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9.xml"/><Relationship Id="rId2" Type="http://schemas.openxmlformats.org/officeDocument/2006/relationships/diagramData" Target="../diagrams/data29.xml"/><Relationship Id="rId1" Type="http://schemas.openxmlformats.org/officeDocument/2006/relationships/slideLayout" Target="../slideLayouts/slideLayout2.xml"/><Relationship Id="rId6" Type="http://schemas.microsoft.com/office/2007/relationships/diagramDrawing" Target="../diagrams/drawing29.xml"/><Relationship Id="rId5" Type="http://schemas.openxmlformats.org/officeDocument/2006/relationships/diagramColors" Target="../diagrams/colors29.xml"/><Relationship Id="rId4" Type="http://schemas.openxmlformats.org/officeDocument/2006/relationships/diagramQuickStyle" Target="../diagrams/quickStyle29.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30.xml"/><Relationship Id="rId2" Type="http://schemas.openxmlformats.org/officeDocument/2006/relationships/diagramData" Target="../diagrams/data30.xml"/><Relationship Id="rId1" Type="http://schemas.openxmlformats.org/officeDocument/2006/relationships/slideLayout" Target="../slideLayouts/slideLayout2.xml"/><Relationship Id="rId6" Type="http://schemas.microsoft.com/office/2007/relationships/diagramDrawing" Target="../diagrams/drawing30.xml"/><Relationship Id="rId5" Type="http://schemas.openxmlformats.org/officeDocument/2006/relationships/diagramColors" Target="../diagrams/colors30.xml"/><Relationship Id="rId4" Type="http://schemas.openxmlformats.org/officeDocument/2006/relationships/diagramQuickStyle" Target="../diagrams/quickStyle30.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31.xml"/><Relationship Id="rId2" Type="http://schemas.openxmlformats.org/officeDocument/2006/relationships/diagramData" Target="../diagrams/data31.xml"/><Relationship Id="rId1" Type="http://schemas.openxmlformats.org/officeDocument/2006/relationships/slideLayout" Target="../slideLayouts/slideLayout2.xml"/><Relationship Id="rId6" Type="http://schemas.microsoft.com/office/2007/relationships/diagramDrawing" Target="../diagrams/drawing31.xml"/><Relationship Id="rId5" Type="http://schemas.openxmlformats.org/officeDocument/2006/relationships/diagramColors" Target="../diagrams/colors31.xml"/><Relationship Id="rId4" Type="http://schemas.openxmlformats.org/officeDocument/2006/relationships/diagramQuickStyle" Target="../diagrams/quickStyle31.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32.xml"/><Relationship Id="rId2" Type="http://schemas.openxmlformats.org/officeDocument/2006/relationships/diagramData" Target="../diagrams/data32.xml"/><Relationship Id="rId1" Type="http://schemas.openxmlformats.org/officeDocument/2006/relationships/slideLayout" Target="../slideLayouts/slideLayout2.xml"/><Relationship Id="rId6" Type="http://schemas.microsoft.com/office/2007/relationships/diagramDrawing" Target="../diagrams/drawing32.xml"/><Relationship Id="rId5" Type="http://schemas.openxmlformats.org/officeDocument/2006/relationships/diagramColors" Target="../diagrams/colors32.xml"/><Relationship Id="rId4" Type="http://schemas.openxmlformats.org/officeDocument/2006/relationships/diagramQuickStyle" Target="../diagrams/quickStyle3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33.xml"/><Relationship Id="rId2" Type="http://schemas.openxmlformats.org/officeDocument/2006/relationships/diagramData" Target="../diagrams/data33.xml"/><Relationship Id="rId1" Type="http://schemas.openxmlformats.org/officeDocument/2006/relationships/slideLayout" Target="../slideLayouts/slideLayout2.xml"/><Relationship Id="rId6" Type="http://schemas.microsoft.com/office/2007/relationships/diagramDrawing" Target="../diagrams/drawing33.xml"/><Relationship Id="rId5" Type="http://schemas.openxmlformats.org/officeDocument/2006/relationships/diagramColors" Target="../diagrams/colors33.xml"/><Relationship Id="rId4" Type="http://schemas.openxmlformats.org/officeDocument/2006/relationships/diagramQuickStyle" Target="../diagrams/quickStyle33.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34.xml"/><Relationship Id="rId2" Type="http://schemas.openxmlformats.org/officeDocument/2006/relationships/diagramData" Target="../diagrams/data34.xml"/><Relationship Id="rId1" Type="http://schemas.openxmlformats.org/officeDocument/2006/relationships/slideLayout" Target="../slideLayouts/slideLayout2.xml"/><Relationship Id="rId6" Type="http://schemas.microsoft.com/office/2007/relationships/diagramDrawing" Target="../diagrams/drawing34.xml"/><Relationship Id="rId5" Type="http://schemas.openxmlformats.org/officeDocument/2006/relationships/diagramColors" Target="../diagrams/colors34.xml"/><Relationship Id="rId4" Type="http://schemas.openxmlformats.org/officeDocument/2006/relationships/diagramQuickStyle" Target="../diagrams/quickStyle34.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35.xml"/><Relationship Id="rId7" Type="http://schemas.microsoft.com/office/2007/relationships/diagramDrawing" Target="../diagrams/drawing35.xm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diagramColors" Target="../diagrams/colors35.xml"/><Relationship Id="rId5" Type="http://schemas.openxmlformats.org/officeDocument/2006/relationships/diagramQuickStyle" Target="../diagrams/quickStyle35.xml"/><Relationship Id="rId4" Type="http://schemas.openxmlformats.org/officeDocument/2006/relationships/diagramLayout" Target="../diagrams/layout3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36.xml"/><Relationship Id="rId2" Type="http://schemas.openxmlformats.org/officeDocument/2006/relationships/diagramData" Target="../diagrams/data36.xml"/><Relationship Id="rId1" Type="http://schemas.openxmlformats.org/officeDocument/2006/relationships/slideLayout" Target="../slideLayouts/slideLayout2.xml"/><Relationship Id="rId6" Type="http://schemas.microsoft.com/office/2007/relationships/diagramDrawing" Target="../diagrams/drawing36.xml"/><Relationship Id="rId5" Type="http://schemas.openxmlformats.org/officeDocument/2006/relationships/diagramColors" Target="../diagrams/colors36.xml"/><Relationship Id="rId4" Type="http://schemas.openxmlformats.org/officeDocument/2006/relationships/diagramQuickStyle" Target="../diagrams/quickStyle36.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37.xml"/><Relationship Id="rId2" Type="http://schemas.openxmlformats.org/officeDocument/2006/relationships/diagramData" Target="../diagrams/data37.xml"/><Relationship Id="rId1" Type="http://schemas.openxmlformats.org/officeDocument/2006/relationships/slideLayout" Target="../slideLayouts/slideLayout2.xml"/><Relationship Id="rId6" Type="http://schemas.microsoft.com/office/2007/relationships/diagramDrawing" Target="../diagrams/drawing37.xml"/><Relationship Id="rId5" Type="http://schemas.openxmlformats.org/officeDocument/2006/relationships/diagramColors" Target="../diagrams/colors37.xml"/><Relationship Id="rId4" Type="http://schemas.openxmlformats.org/officeDocument/2006/relationships/diagramQuickStyle" Target="../diagrams/quickStyle37.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38.xml"/><Relationship Id="rId2" Type="http://schemas.openxmlformats.org/officeDocument/2006/relationships/diagramData" Target="../diagrams/data38.xml"/><Relationship Id="rId1" Type="http://schemas.openxmlformats.org/officeDocument/2006/relationships/slideLayout" Target="../slideLayouts/slideLayout2.xml"/><Relationship Id="rId6" Type="http://schemas.microsoft.com/office/2007/relationships/diagramDrawing" Target="../diagrams/drawing38.xml"/><Relationship Id="rId5" Type="http://schemas.openxmlformats.org/officeDocument/2006/relationships/diagramColors" Target="../diagrams/colors38.xml"/><Relationship Id="rId4" Type="http://schemas.openxmlformats.org/officeDocument/2006/relationships/diagramQuickStyle" Target="../diagrams/quickStyle38.xml"/></Relationships>
</file>

<file path=ppt/slides/_rels/slide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课程内容介绍</a:t>
            </a:r>
            <a:endParaRPr lang="zh-CN" altLang="en-US" dirty="0"/>
          </a:p>
        </p:txBody>
      </p:sp>
      <p:sp>
        <p:nvSpPr>
          <p:cNvPr id="3" name="内容占位符 2"/>
          <p:cNvSpPr>
            <a:spLocks noGrp="1"/>
          </p:cNvSpPr>
          <p:nvPr>
            <p:ph idx="1"/>
          </p:nvPr>
        </p:nvSpPr>
        <p:spPr/>
        <p:txBody>
          <a:bodyPr/>
          <a:lstStyle/>
          <a:p>
            <a:pPr marL="0" indent="0">
              <a:buNone/>
            </a:pPr>
            <a:r>
              <a:rPr lang="zh-CN" altLang="en-US" sz="2800" smtClean="0">
                <a:solidFill>
                  <a:srgbClr val="FF0000"/>
                </a:solidFill>
              </a:rPr>
              <a:t>第一部分 网络攻防基础知识</a:t>
            </a:r>
            <a:endParaRPr lang="en-US" altLang="zh-CN" sz="2800" smtClean="0">
              <a:solidFill>
                <a:srgbClr val="FF0000"/>
              </a:solidFill>
            </a:endParaRPr>
          </a:p>
          <a:p>
            <a:pPr marL="0" indent="0">
              <a:buNone/>
            </a:pPr>
            <a:r>
              <a:rPr lang="zh-CN" altLang="en-US" sz="2800" smtClean="0"/>
              <a:t>第二部分 </a:t>
            </a:r>
            <a:r>
              <a:rPr lang="en-US" altLang="zh-CN" sz="2800" smtClean="0"/>
              <a:t>WEB</a:t>
            </a:r>
            <a:r>
              <a:rPr lang="zh-CN" altLang="en-US" sz="2800" smtClean="0"/>
              <a:t>应用安全漏洞</a:t>
            </a:r>
            <a:endParaRPr lang="en-US" altLang="zh-CN" sz="2800" smtClean="0"/>
          </a:p>
          <a:p>
            <a:pPr marL="0" indent="0">
              <a:buNone/>
            </a:pPr>
            <a:r>
              <a:rPr lang="zh-CN" altLang="en-US" sz="2800" smtClean="0"/>
              <a:t>第三部分 系统安全漏洞</a:t>
            </a:r>
            <a:endParaRPr lang="zh-CN" altLang="en-US" sz="2800" dirty="0"/>
          </a:p>
        </p:txBody>
      </p:sp>
    </p:spTree>
    <p:extLst>
      <p:ext uri="{BB962C8B-B14F-4D97-AF65-F5344CB8AC3E}">
        <p14:creationId xmlns:p14="http://schemas.microsoft.com/office/powerpoint/2010/main" val="660200962"/>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1.5 </a:t>
            </a:r>
            <a:r>
              <a:rPr lang="zh-CN" altLang="en-US" dirty="0" smtClean="0"/>
              <a:t>小结</a:t>
            </a:r>
            <a:endParaRPr lang="zh-CN" altLang="en-US" dirty="0"/>
          </a:p>
        </p:txBody>
      </p:sp>
      <p:sp>
        <p:nvSpPr>
          <p:cNvPr id="3" name="内容占位符 2"/>
          <p:cNvSpPr>
            <a:spLocks noGrp="1"/>
          </p:cNvSpPr>
          <p:nvPr>
            <p:ph idx="1"/>
          </p:nvPr>
        </p:nvSpPr>
        <p:spPr/>
        <p:txBody>
          <a:bodyPr/>
          <a:lstStyle/>
          <a:p>
            <a:r>
              <a:rPr lang="zh-CN" altLang="en-US" dirty="0"/>
              <a:t>小结</a:t>
            </a:r>
            <a:endParaRPr lang="en-US" altLang="zh-CN" dirty="0"/>
          </a:p>
          <a:p>
            <a:pPr lvl="1"/>
            <a:r>
              <a:rPr lang="zh-CN" altLang="en-US" dirty="0"/>
              <a:t>渗透测试</a:t>
            </a:r>
            <a:endParaRPr lang="en-US" altLang="zh-CN" dirty="0"/>
          </a:p>
          <a:p>
            <a:pPr lvl="1"/>
            <a:r>
              <a:rPr lang="zh-CN" altLang="en-US" dirty="0"/>
              <a:t>黑客入侵</a:t>
            </a:r>
            <a:endParaRPr lang="en-US" altLang="zh-CN" dirty="0"/>
          </a:p>
          <a:p>
            <a:pPr lvl="1"/>
            <a:r>
              <a:rPr lang="zh-CN" altLang="en-US" dirty="0"/>
              <a:t>安全漏洞</a:t>
            </a:r>
          </a:p>
        </p:txBody>
      </p:sp>
    </p:spTree>
    <p:extLst>
      <p:ext uri="{BB962C8B-B14F-4D97-AF65-F5344CB8AC3E}">
        <p14:creationId xmlns:p14="http://schemas.microsoft.com/office/powerpoint/2010/main" val="51473278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AutoShape 11"/>
          <p:cNvSpPr>
            <a:spLocks noChangeArrowheads="1"/>
          </p:cNvSpPr>
          <p:nvPr/>
        </p:nvSpPr>
        <p:spPr bwMode="auto">
          <a:xfrm>
            <a:off x="1780526" y="3943848"/>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defRPr/>
            </a:pPr>
            <a:r>
              <a:rPr kumimoji="1" lang="en-US" altLang="zh-CN" b="0" kern="0" dirty="0" smtClean="0">
                <a:solidFill>
                  <a:schemeClr val="tx1"/>
                </a:solidFill>
                <a:latin typeface="微软雅黑" pitchFamily="34" charset="-122"/>
                <a:ea typeface="微软雅黑" pitchFamily="34" charset="-122"/>
              </a:rPr>
              <a:t>4</a:t>
            </a:r>
            <a:endParaRPr kumimoji="1" lang="en-GB" altLang="zh-CN" b="0" kern="0" dirty="0">
              <a:solidFill>
                <a:schemeClr val="tx1"/>
              </a:solidFill>
              <a:latin typeface="微软雅黑" pitchFamily="34" charset="-122"/>
              <a:ea typeface="微软雅黑" pitchFamily="34" charset="-122"/>
            </a:endParaRPr>
          </a:p>
        </p:txBody>
      </p:sp>
      <p:sp>
        <p:nvSpPr>
          <p:cNvPr id="5" name="AutoShape 3"/>
          <p:cNvSpPr>
            <a:spLocks noChangeArrowheads="1"/>
          </p:cNvSpPr>
          <p:nvPr/>
        </p:nvSpPr>
        <p:spPr bwMode="auto">
          <a:xfrm>
            <a:off x="2561152" y="3943848"/>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b="0" kern="0" dirty="0" smtClean="0">
                <a:solidFill>
                  <a:schemeClr val="tx1"/>
                </a:solidFill>
                <a:latin typeface="微软雅黑" pitchFamily="34" charset="-122"/>
                <a:ea typeface="微软雅黑" pitchFamily="34" charset="-122"/>
              </a:rPr>
              <a:t>渗透测试的课程回顾</a:t>
            </a:r>
            <a:endParaRPr kumimoji="1" lang="zh-CN" altLang="en-US" b="0" kern="0" dirty="0">
              <a:solidFill>
                <a:schemeClr val="tx1"/>
              </a:solidFill>
              <a:latin typeface="微软雅黑" pitchFamily="34" charset="-122"/>
              <a:ea typeface="微软雅黑" pitchFamily="34" charset="-122"/>
            </a:endParaRPr>
          </a:p>
        </p:txBody>
      </p:sp>
      <p:sp>
        <p:nvSpPr>
          <p:cNvPr id="8" name="AutoShape 11"/>
          <p:cNvSpPr>
            <a:spLocks noChangeArrowheads="1"/>
          </p:cNvSpPr>
          <p:nvPr/>
        </p:nvSpPr>
        <p:spPr bwMode="auto">
          <a:xfrm>
            <a:off x="1783153" y="3574436"/>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3</a:t>
            </a:r>
            <a:endParaRPr kumimoji="1" lang="en-GB" altLang="zh-CN" b="0" kern="0" dirty="0">
              <a:latin typeface="微软雅黑" pitchFamily="34" charset="-122"/>
              <a:ea typeface="微软雅黑" pitchFamily="34" charset="-122"/>
            </a:endParaRPr>
          </a:p>
        </p:txBody>
      </p:sp>
      <p:sp>
        <p:nvSpPr>
          <p:cNvPr id="9" name="AutoShape 3"/>
          <p:cNvSpPr>
            <a:spLocks noChangeArrowheads="1"/>
          </p:cNvSpPr>
          <p:nvPr/>
        </p:nvSpPr>
        <p:spPr bwMode="auto">
          <a:xfrm>
            <a:off x="2563779" y="3574436"/>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pPr>
            <a:r>
              <a:rPr kumimoji="1" lang="zh-CN" altLang="en-US" b="0" kern="0" dirty="0" smtClean="0">
                <a:latin typeface="微软雅黑" pitchFamily="34" charset="-122"/>
                <a:ea typeface="微软雅黑" pitchFamily="34" charset="-122"/>
              </a:rPr>
              <a:t>黑客入侵的行为轨迹</a:t>
            </a:r>
            <a:endParaRPr kumimoji="1" lang="zh-CN" altLang="en-US" b="0" kern="0" dirty="0">
              <a:latin typeface="微软雅黑" pitchFamily="34" charset="-122"/>
              <a:ea typeface="微软雅黑" pitchFamily="34" charset="-122"/>
            </a:endParaRPr>
          </a:p>
        </p:txBody>
      </p:sp>
      <p:sp>
        <p:nvSpPr>
          <p:cNvPr id="24" name="AutoShape 11"/>
          <p:cNvSpPr>
            <a:spLocks noChangeArrowheads="1"/>
          </p:cNvSpPr>
          <p:nvPr/>
        </p:nvSpPr>
        <p:spPr bwMode="auto">
          <a:xfrm>
            <a:off x="1783460" y="1334299"/>
            <a:ext cx="540556" cy="295529"/>
          </a:xfrm>
          <a:prstGeom prst="roundRect">
            <a:avLst>
              <a:gd name="adj" fmla="val 16667"/>
            </a:avLst>
          </a:prstGeom>
          <a:solidFill>
            <a:srgbClr val="9999FF"/>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2</a:t>
            </a:r>
            <a:endParaRPr kumimoji="1" lang="en-GB" altLang="zh-CN" b="0" kern="0" dirty="0">
              <a:latin typeface="微软雅黑" pitchFamily="34" charset="-122"/>
              <a:ea typeface="微软雅黑" pitchFamily="34" charset="-122"/>
            </a:endParaRPr>
          </a:p>
        </p:txBody>
      </p:sp>
      <p:sp>
        <p:nvSpPr>
          <p:cNvPr id="25" name="AutoShape 3"/>
          <p:cNvSpPr>
            <a:spLocks noChangeArrowheads="1"/>
          </p:cNvSpPr>
          <p:nvPr/>
        </p:nvSpPr>
        <p:spPr bwMode="auto">
          <a:xfrm>
            <a:off x="2564086" y="1334299"/>
            <a:ext cx="4686938" cy="295529"/>
          </a:xfrm>
          <a:prstGeom prst="roundRect">
            <a:avLst>
              <a:gd name="adj" fmla="val 16667"/>
            </a:avLst>
          </a:prstGeom>
          <a:solidFill>
            <a:srgbClr val="9999FF"/>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eaLnBrk="0" fontAlgn="auto" hangingPunct="0">
              <a:spcBef>
                <a:spcPts val="0"/>
              </a:spcBef>
              <a:spcAft>
                <a:spcPts val="0"/>
              </a:spcAft>
            </a:pPr>
            <a:r>
              <a:rPr kumimoji="1" lang="zh-CN" altLang="en-US" b="0" kern="0" dirty="0">
                <a:latin typeface="微软雅黑" pitchFamily="34" charset="-122"/>
                <a:ea typeface="微软雅黑" pitchFamily="34" charset="-122"/>
              </a:rPr>
              <a:t>渗透测试的执行步骤</a:t>
            </a:r>
          </a:p>
        </p:txBody>
      </p:sp>
      <p:sp>
        <p:nvSpPr>
          <p:cNvPr id="26" name="AutoShape 11"/>
          <p:cNvSpPr>
            <a:spLocks noChangeArrowheads="1"/>
          </p:cNvSpPr>
          <p:nvPr/>
        </p:nvSpPr>
        <p:spPr bwMode="auto">
          <a:xfrm>
            <a:off x="1786087" y="964887"/>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1</a:t>
            </a:r>
            <a:endParaRPr kumimoji="1" lang="en-GB" altLang="zh-CN" b="0" kern="0" dirty="0">
              <a:latin typeface="微软雅黑" pitchFamily="34" charset="-122"/>
              <a:ea typeface="微软雅黑" pitchFamily="34" charset="-122"/>
            </a:endParaRPr>
          </a:p>
        </p:txBody>
      </p:sp>
      <p:sp>
        <p:nvSpPr>
          <p:cNvPr id="27" name="AutoShape 3"/>
          <p:cNvSpPr>
            <a:spLocks noChangeArrowheads="1"/>
          </p:cNvSpPr>
          <p:nvPr/>
        </p:nvSpPr>
        <p:spPr bwMode="auto">
          <a:xfrm>
            <a:off x="2566713" y="964887"/>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pPr>
            <a:r>
              <a:rPr kumimoji="1" lang="zh-CN" altLang="en-US" b="0" kern="0" dirty="0">
                <a:latin typeface="微软雅黑" pitchFamily="34" charset="-122"/>
                <a:ea typeface="微软雅黑" pitchFamily="34" charset="-122"/>
              </a:rPr>
              <a:t>渗透测试的基本概念</a:t>
            </a:r>
          </a:p>
        </p:txBody>
      </p:sp>
      <p:sp>
        <p:nvSpPr>
          <p:cNvPr id="11" name="AutoShape 11"/>
          <p:cNvSpPr>
            <a:spLocks noChangeArrowheads="1"/>
          </p:cNvSpPr>
          <p:nvPr/>
        </p:nvSpPr>
        <p:spPr bwMode="auto">
          <a:xfrm>
            <a:off x="2608346" y="2102001"/>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smtClean="0">
                <a:solidFill>
                  <a:prstClr val="black"/>
                </a:solidFill>
                <a:latin typeface="微软雅黑" pitchFamily="34" charset="-122"/>
                <a:ea typeface="微软雅黑" pitchFamily="34" charset="-122"/>
              </a:rPr>
              <a:t>2.2</a:t>
            </a:r>
            <a:endParaRPr kumimoji="1" lang="en-GB" altLang="zh-CN" sz="1400" b="0" kern="0" dirty="0">
              <a:solidFill>
                <a:prstClr val="black"/>
              </a:solidFill>
              <a:latin typeface="微软雅黑" pitchFamily="34" charset="-122"/>
              <a:ea typeface="微软雅黑" pitchFamily="34" charset="-122"/>
            </a:endParaRPr>
          </a:p>
        </p:txBody>
      </p:sp>
      <p:sp>
        <p:nvSpPr>
          <p:cNvPr id="12" name="AutoShape 3"/>
          <p:cNvSpPr>
            <a:spLocks noChangeArrowheads="1"/>
          </p:cNvSpPr>
          <p:nvPr/>
        </p:nvSpPr>
        <p:spPr bwMode="auto">
          <a:xfrm>
            <a:off x="3329517" y="2102001"/>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渗透测试执行标准的七个阶段</a:t>
            </a:r>
            <a:endParaRPr kumimoji="1" lang="zh-CN" altLang="en-US" sz="1400" b="0" kern="0" dirty="0">
              <a:solidFill>
                <a:prstClr val="black"/>
              </a:solidFill>
              <a:latin typeface="微软雅黑" pitchFamily="34" charset="-122"/>
              <a:ea typeface="微软雅黑" pitchFamily="34" charset="-122"/>
            </a:endParaRPr>
          </a:p>
        </p:txBody>
      </p:sp>
      <p:sp>
        <p:nvSpPr>
          <p:cNvPr id="13" name="AutoShape 11"/>
          <p:cNvSpPr>
            <a:spLocks noChangeArrowheads="1"/>
          </p:cNvSpPr>
          <p:nvPr/>
        </p:nvSpPr>
        <p:spPr bwMode="auto">
          <a:xfrm>
            <a:off x="2608346" y="2462621"/>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smtClean="0">
                <a:solidFill>
                  <a:prstClr val="black"/>
                </a:solidFill>
                <a:latin typeface="微软雅黑" pitchFamily="34" charset="-122"/>
                <a:ea typeface="微软雅黑" pitchFamily="34" charset="-122"/>
              </a:rPr>
              <a:t>2.3</a:t>
            </a:r>
            <a:endParaRPr kumimoji="1" lang="en-GB" altLang="zh-CN" sz="1400" b="0" kern="0" dirty="0">
              <a:solidFill>
                <a:prstClr val="black"/>
              </a:solidFill>
              <a:latin typeface="微软雅黑" pitchFamily="34" charset="-122"/>
              <a:ea typeface="微软雅黑" pitchFamily="34" charset="-122"/>
            </a:endParaRPr>
          </a:p>
        </p:txBody>
      </p:sp>
      <p:sp>
        <p:nvSpPr>
          <p:cNvPr id="14" name="AutoShape 3"/>
          <p:cNvSpPr>
            <a:spLocks noChangeArrowheads="1"/>
          </p:cNvSpPr>
          <p:nvPr/>
        </p:nvSpPr>
        <p:spPr bwMode="auto">
          <a:xfrm>
            <a:off x="3329517" y="2462621"/>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渗透测试执行标准分解</a:t>
            </a:r>
            <a:endParaRPr kumimoji="1" lang="zh-CN" altLang="en-US" sz="1400" b="0" kern="0" dirty="0">
              <a:solidFill>
                <a:prstClr val="black"/>
              </a:solidFill>
              <a:latin typeface="微软雅黑" pitchFamily="34" charset="-122"/>
              <a:ea typeface="微软雅黑" pitchFamily="34" charset="-122"/>
            </a:endParaRPr>
          </a:p>
        </p:txBody>
      </p:sp>
      <p:sp>
        <p:nvSpPr>
          <p:cNvPr id="15" name="AutoShape 11"/>
          <p:cNvSpPr>
            <a:spLocks noChangeArrowheads="1"/>
          </p:cNvSpPr>
          <p:nvPr/>
        </p:nvSpPr>
        <p:spPr bwMode="auto">
          <a:xfrm>
            <a:off x="2608346" y="2832032"/>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smtClean="0">
                <a:solidFill>
                  <a:prstClr val="black"/>
                </a:solidFill>
                <a:latin typeface="微软雅黑" pitchFamily="34" charset="-122"/>
                <a:ea typeface="微软雅黑" pitchFamily="34" charset="-122"/>
              </a:rPr>
              <a:t>2.4</a:t>
            </a:r>
            <a:endParaRPr kumimoji="1" lang="en-GB" altLang="zh-CN" sz="1400" b="0" kern="0" dirty="0">
              <a:solidFill>
                <a:prstClr val="black"/>
              </a:solidFill>
              <a:latin typeface="微软雅黑" pitchFamily="34" charset="-122"/>
              <a:ea typeface="微软雅黑" pitchFamily="34" charset="-122"/>
            </a:endParaRPr>
          </a:p>
        </p:txBody>
      </p:sp>
      <p:sp>
        <p:nvSpPr>
          <p:cNvPr id="16" name="AutoShape 3"/>
          <p:cNvSpPr>
            <a:spLocks noChangeArrowheads="1"/>
          </p:cNvSpPr>
          <p:nvPr/>
        </p:nvSpPr>
        <p:spPr bwMode="auto">
          <a:xfrm>
            <a:off x="3329517" y="2832032"/>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问题</a:t>
            </a:r>
            <a:endParaRPr kumimoji="1" lang="zh-CN" altLang="en-US" sz="1400" b="0" kern="0" dirty="0">
              <a:solidFill>
                <a:prstClr val="black"/>
              </a:solidFill>
              <a:latin typeface="微软雅黑" pitchFamily="34" charset="-122"/>
              <a:ea typeface="微软雅黑" pitchFamily="34" charset="-122"/>
            </a:endParaRPr>
          </a:p>
        </p:txBody>
      </p:sp>
      <p:sp>
        <p:nvSpPr>
          <p:cNvPr id="17" name="AutoShape 11"/>
          <p:cNvSpPr>
            <a:spLocks noChangeArrowheads="1"/>
          </p:cNvSpPr>
          <p:nvPr/>
        </p:nvSpPr>
        <p:spPr bwMode="auto">
          <a:xfrm>
            <a:off x="2608346" y="3201444"/>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smtClean="0">
                <a:solidFill>
                  <a:prstClr val="black"/>
                </a:solidFill>
                <a:latin typeface="微软雅黑" pitchFamily="34" charset="-122"/>
                <a:ea typeface="微软雅黑" pitchFamily="34" charset="-122"/>
              </a:rPr>
              <a:t>2.5</a:t>
            </a:r>
            <a:endParaRPr kumimoji="1" lang="en-GB" altLang="zh-CN" sz="1400" b="0" kern="0" dirty="0">
              <a:solidFill>
                <a:prstClr val="black"/>
              </a:solidFill>
              <a:latin typeface="微软雅黑" pitchFamily="34" charset="-122"/>
              <a:ea typeface="微软雅黑" pitchFamily="34" charset="-122"/>
            </a:endParaRPr>
          </a:p>
        </p:txBody>
      </p:sp>
      <p:sp>
        <p:nvSpPr>
          <p:cNvPr id="18" name="AutoShape 3"/>
          <p:cNvSpPr>
            <a:spLocks noChangeArrowheads="1"/>
          </p:cNvSpPr>
          <p:nvPr/>
        </p:nvSpPr>
        <p:spPr bwMode="auto">
          <a:xfrm>
            <a:off x="3329517" y="3201444"/>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小结</a:t>
            </a:r>
            <a:endParaRPr kumimoji="1" lang="zh-CN" altLang="en-US" sz="1400" b="0" kern="0" dirty="0">
              <a:solidFill>
                <a:prstClr val="black"/>
              </a:solidFill>
              <a:latin typeface="微软雅黑" pitchFamily="34" charset="-122"/>
              <a:ea typeface="微软雅黑" pitchFamily="34" charset="-122"/>
            </a:endParaRPr>
          </a:p>
        </p:txBody>
      </p:sp>
      <p:sp>
        <p:nvSpPr>
          <p:cNvPr id="19" name="AutoShape 11"/>
          <p:cNvSpPr>
            <a:spLocks noChangeArrowheads="1"/>
          </p:cNvSpPr>
          <p:nvPr/>
        </p:nvSpPr>
        <p:spPr bwMode="auto">
          <a:xfrm>
            <a:off x="2608346" y="1735132"/>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smtClean="0">
                <a:solidFill>
                  <a:prstClr val="black"/>
                </a:solidFill>
                <a:latin typeface="微软雅黑" pitchFamily="34" charset="-122"/>
                <a:ea typeface="微软雅黑" pitchFamily="34" charset="-122"/>
              </a:rPr>
              <a:t>2.1</a:t>
            </a:r>
            <a:endParaRPr kumimoji="1" lang="en-GB" altLang="zh-CN" sz="1400" b="0" kern="0" dirty="0">
              <a:solidFill>
                <a:prstClr val="black"/>
              </a:solidFill>
              <a:latin typeface="微软雅黑" pitchFamily="34" charset="-122"/>
              <a:ea typeface="微软雅黑" pitchFamily="34" charset="-122"/>
            </a:endParaRPr>
          </a:p>
        </p:txBody>
      </p:sp>
      <p:sp>
        <p:nvSpPr>
          <p:cNvPr id="20" name="AutoShape 3"/>
          <p:cNvSpPr>
            <a:spLocks noChangeArrowheads="1"/>
          </p:cNvSpPr>
          <p:nvPr/>
        </p:nvSpPr>
        <p:spPr bwMode="auto">
          <a:xfrm>
            <a:off x="3329517" y="1735132"/>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渗透测试执行标准来源</a:t>
            </a:r>
            <a:endParaRPr kumimoji="1" lang="zh-CN" altLang="en-US" sz="1400" b="0" kern="0" dirty="0">
              <a:solidFill>
                <a:prstClr val="black"/>
              </a:solidFill>
              <a:latin typeface="微软雅黑" pitchFamily="34" charset="-122"/>
              <a:ea typeface="微软雅黑" pitchFamily="34" charset="-122"/>
            </a:endParaRPr>
          </a:p>
        </p:txBody>
      </p:sp>
    </p:spTree>
    <p:extLst>
      <p:ext uri="{BB962C8B-B14F-4D97-AF65-F5344CB8AC3E}">
        <p14:creationId xmlns:p14="http://schemas.microsoft.com/office/powerpoint/2010/main" val="407841102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2.1 </a:t>
            </a:r>
            <a:r>
              <a:rPr lang="zh-CN" altLang="en-US" dirty="0" smtClean="0"/>
              <a:t>渗透测试执行标准来源</a:t>
            </a:r>
            <a:endParaRPr lang="zh-CN" altLang="en-US" dirty="0"/>
          </a:p>
        </p:txBody>
      </p:sp>
      <p:graphicFrame>
        <p:nvGraphicFramePr>
          <p:cNvPr id="5" name="图示 4"/>
          <p:cNvGraphicFramePr/>
          <p:nvPr>
            <p:extLst>
              <p:ext uri="{D42A27DB-BD31-4B8C-83A1-F6EECF244321}">
                <p14:modId xmlns:p14="http://schemas.microsoft.com/office/powerpoint/2010/main" val="3291346788"/>
              </p:ext>
            </p:extLst>
          </p:nvPr>
        </p:nvGraphicFramePr>
        <p:xfrm>
          <a:off x="1524000" y="1397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文本框 2"/>
          <p:cNvSpPr txBox="1"/>
          <p:nvPr/>
        </p:nvSpPr>
        <p:spPr>
          <a:xfrm>
            <a:off x="568171" y="5859262"/>
            <a:ext cx="7326429" cy="338554"/>
          </a:xfrm>
          <a:prstGeom prst="rect">
            <a:avLst/>
          </a:prstGeom>
          <a:noFill/>
        </p:spPr>
        <p:txBody>
          <a:bodyPr wrap="none" rtlCol="0">
            <a:spAutoFit/>
          </a:bodyPr>
          <a:lstStyle/>
          <a:p>
            <a:r>
              <a:rPr lang="zh-CN" altLang="en-US" dirty="0" smtClean="0"/>
              <a:t>目前</a:t>
            </a:r>
            <a:r>
              <a:rPr lang="zh-CN" altLang="en-US" dirty="0"/>
              <a:t>该标准尚在制定过程中</a:t>
            </a:r>
            <a:r>
              <a:rPr lang="zh-CN" altLang="en-US" dirty="0" smtClean="0"/>
              <a:t>，网站地址：</a:t>
            </a:r>
            <a:r>
              <a:rPr lang="en-US" altLang="zh-CN" dirty="0">
                <a:hlinkClick r:id="rId8"/>
              </a:rPr>
              <a:t>http://www.pentest-standard.org/</a:t>
            </a:r>
            <a:r>
              <a:rPr lang="zh-CN" altLang="en-US" dirty="0" smtClean="0"/>
              <a:t>。</a:t>
            </a:r>
            <a:endParaRPr lang="zh-CN" altLang="en-US" dirty="0"/>
          </a:p>
        </p:txBody>
      </p:sp>
    </p:spTree>
    <p:extLst>
      <p:ext uri="{BB962C8B-B14F-4D97-AF65-F5344CB8AC3E}">
        <p14:creationId xmlns:p14="http://schemas.microsoft.com/office/powerpoint/2010/main" val="2580652253"/>
      </p:ext>
    </p:extLst>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2.2 </a:t>
            </a:r>
            <a:r>
              <a:rPr lang="zh-CN" altLang="en-US" dirty="0" smtClean="0"/>
              <a:t>渗透测试执行标准七个阶段</a:t>
            </a:r>
            <a:endParaRPr lang="zh-CN" altLang="en-US" dirty="0"/>
          </a:p>
        </p:txBody>
      </p:sp>
      <p:graphicFrame>
        <p:nvGraphicFramePr>
          <p:cNvPr id="5" name="内容占位符 4"/>
          <p:cNvGraphicFramePr>
            <a:graphicFrameLocks noGrp="1"/>
          </p:cNvGraphicFramePr>
          <p:nvPr>
            <p:ph idx="1"/>
            <p:extLst>
              <p:ext uri="{D42A27DB-BD31-4B8C-83A1-F6EECF244321}">
                <p14:modId xmlns:p14="http://schemas.microsoft.com/office/powerpoint/2010/main" val="1855539473"/>
              </p:ext>
            </p:extLst>
          </p:nvPr>
        </p:nvGraphicFramePr>
        <p:xfrm>
          <a:off x="920739" y="1164184"/>
          <a:ext cx="7510659" cy="37427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55991379"/>
      </p:ext>
    </p:extLst>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2.3 </a:t>
            </a:r>
            <a:r>
              <a:rPr lang="zh-CN" altLang="en-US" dirty="0" smtClean="0"/>
              <a:t>渗透执行标准分解：前期交互阶段</a:t>
            </a:r>
            <a:endParaRPr lang="zh-CN" altLang="en-US" dirty="0"/>
          </a:p>
        </p:txBody>
      </p:sp>
      <p:graphicFrame>
        <p:nvGraphicFramePr>
          <p:cNvPr id="5" name="图示 4"/>
          <p:cNvGraphicFramePr/>
          <p:nvPr>
            <p:extLst>
              <p:ext uri="{D42A27DB-BD31-4B8C-83A1-F6EECF244321}">
                <p14:modId xmlns:p14="http://schemas.microsoft.com/office/powerpoint/2010/main" val="56014563"/>
              </p:ext>
            </p:extLst>
          </p:nvPr>
        </p:nvGraphicFramePr>
        <p:xfrm>
          <a:off x="595061" y="946558"/>
          <a:ext cx="7989666" cy="41092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69642524"/>
      </p:ext>
    </p:extLst>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3 </a:t>
            </a:r>
            <a:r>
              <a:rPr lang="zh-CN" altLang="en-US" dirty="0"/>
              <a:t>渗透执行标准分解</a:t>
            </a:r>
            <a:r>
              <a:rPr lang="zh-CN" altLang="en-US" dirty="0" smtClean="0"/>
              <a:t>：情报搜集阶段</a:t>
            </a:r>
            <a:endParaRPr lang="zh-CN" altLang="en-US" dirty="0"/>
          </a:p>
        </p:txBody>
      </p:sp>
      <p:graphicFrame>
        <p:nvGraphicFramePr>
          <p:cNvPr id="5" name="图示 4"/>
          <p:cNvGraphicFramePr/>
          <p:nvPr>
            <p:extLst>
              <p:ext uri="{D42A27DB-BD31-4B8C-83A1-F6EECF244321}">
                <p14:modId xmlns:p14="http://schemas.microsoft.com/office/powerpoint/2010/main" val="2169882107"/>
              </p:ext>
            </p:extLst>
          </p:nvPr>
        </p:nvGraphicFramePr>
        <p:xfrm>
          <a:off x="586771" y="1006018"/>
          <a:ext cx="8040115" cy="40816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0183203"/>
      </p:ext>
    </p:extLst>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3 </a:t>
            </a:r>
            <a:r>
              <a:rPr lang="zh-CN" altLang="en-US" dirty="0"/>
              <a:t>渗透执行标准分解：威胁</a:t>
            </a:r>
            <a:r>
              <a:rPr lang="zh-CN" altLang="en-US" dirty="0" smtClean="0"/>
              <a:t>建模阶段</a:t>
            </a:r>
            <a:endParaRPr lang="zh-CN" altLang="en-US" dirty="0"/>
          </a:p>
        </p:txBody>
      </p:sp>
      <p:graphicFrame>
        <p:nvGraphicFramePr>
          <p:cNvPr id="5" name="图示 4"/>
          <p:cNvGraphicFramePr/>
          <p:nvPr>
            <p:extLst>
              <p:ext uri="{D42A27DB-BD31-4B8C-83A1-F6EECF244321}">
                <p14:modId xmlns:p14="http://schemas.microsoft.com/office/powerpoint/2010/main" val="274944279"/>
              </p:ext>
            </p:extLst>
          </p:nvPr>
        </p:nvGraphicFramePr>
        <p:xfrm>
          <a:off x="624612" y="1346552"/>
          <a:ext cx="7819398" cy="33051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7935960"/>
      </p:ext>
    </p:extLst>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3 </a:t>
            </a:r>
            <a:r>
              <a:rPr lang="zh-CN" altLang="en-US" dirty="0"/>
              <a:t>渗透执行标准分解：漏洞</a:t>
            </a:r>
            <a:r>
              <a:rPr lang="zh-CN" altLang="en-US" dirty="0" smtClean="0"/>
              <a:t>分析阶段</a:t>
            </a:r>
            <a:endParaRPr lang="zh-CN" altLang="en-US" dirty="0"/>
          </a:p>
        </p:txBody>
      </p:sp>
      <p:graphicFrame>
        <p:nvGraphicFramePr>
          <p:cNvPr id="5" name="图示 4"/>
          <p:cNvGraphicFramePr/>
          <p:nvPr>
            <p:extLst>
              <p:ext uri="{D42A27DB-BD31-4B8C-83A1-F6EECF244321}">
                <p14:modId xmlns:p14="http://schemas.microsoft.com/office/powerpoint/2010/main" val="1101039423"/>
              </p:ext>
            </p:extLst>
          </p:nvPr>
        </p:nvGraphicFramePr>
        <p:xfrm>
          <a:off x="1053436" y="1040525"/>
          <a:ext cx="7283370" cy="43942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01086656"/>
      </p:ext>
    </p:extLst>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3 </a:t>
            </a:r>
            <a:r>
              <a:rPr lang="zh-CN" altLang="en-US" dirty="0"/>
              <a:t>渗透执行标准分解：渗透</a:t>
            </a:r>
            <a:r>
              <a:rPr lang="zh-CN" altLang="en-US" dirty="0" smtClean="0"/>
              <a:t>攻击阶段</a:t>
            </a:r>
            <a:endParaRPr lang="zh-CN" altLang="en-US" dirty="0"/>
          </a:p>
        </p:txBody>
      </p:sp>
      <p:graphicFrame>
        <p:nvGraphicFramePr>
          <p:cNvPr id="5" name="图示 4"/>
          <p:cNvGraphicFramePr/>
          <p:nvPr>
            <p:extLst>
              <p:ext uri="{D42A27DB-BD31-4B8C-83A1-F6EECF244321}">
                <p14:modId xmlns:p14="http://schemas.microsoft.com/office/powerpoint/2010/main" val="153502445"/>
              </p:ext>
            </p:extLst>
          </p:nvPr>
        </p:nvGraphicFramePr>
        <p:xfrm>
          <a:off x="718726" y="1081691"/>
          <a:ext cx="7731111" cy="3038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2578589"/>
      </p:ext>
    </p:extLst>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3 </a:t>
            </a:r>
            <a:r>
              <a:rPr lang="zh-CN" altLang="en-US" dirty="0"/>
              <a:t>渗透执行标准分解：后</a:t>
            </a:r>
            <a:r>
              <a:rPr lang="zh-CN" altLang="en-US" dirty="0" smtClean="0"/>
              <a:t>渗透攻击阶段</a:t>
            </a:r>
            <a:endParaRPr lang="zh-CN" altLang="en-US" dirty="0"/>
          </a:p>
        </p:txBody>
      </p:sp>
      <p:graphicFrame>
        <p:nvGraphicFramePr>
          <p:cNvPr id="5" name="图示 4"/>
          <p:cNvGraphicFramePr/>
          <p:nvPr>
            <p:extLst>
              <p:ext uri="{D42A27DB-BD31-4B8C-83A1-F6EECF244321}">
                <p14:modId xmlns:p14="http://schemas.microsoft.com/office/powerpoint/2010/main" val="730369631"/>
              </p:ext>
            </p:extLst>
          </p:nvPr>
        </p:nvGraphicFramePr>
        <p:xfrm>
          <a:off x="593082" y="1087996"/>
          <a:ext cx="8027503" cy="36860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5606134"/>
      </p:ext>
    </p:extLst>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AutoShape 11"/>
          <p:cNvSpPr>
            <a:spLocks noChangeArrowheads="1"/>
          </p:cNvSpPr>
          <p:nvPr/>
        </p:nvSpPr>
        <p:spPr bwMode="auto">
          <a:xfrm>
            <a:off x="1780526" y="4007348"/>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defRPr/>
            </a:pPr>
            <a:r>
              <a:rPr kumimoji="1" lang="en-US" altLang="zh-CN" b="0" kern="0" dirty="0" smtClean="0">
                <a:solidFill>
                  <a:schemeClr val="tx1"/>
                </a:solidFill>
                <a:latin typeface="微软雅黑" pitchFamily="34" charset="-122"/>
                <a:ea typeface="微软雅黑" pitchFamily="34" charset="-122"/>
              </a:rPr>
              <a:t>4</a:t>
            </a:r>
            <a:endParaRPr kumimoji="1" lang="en-GB" altLang="zh-CN" b="0" kern="0" dirty="0">
              <a:solidFill>
                <a:schemeClr val="tx1"/>
              </a:solidFill>
              <a:latin typeface="微软雅黑" pitchFamily="34" charset="-122"/>
              <a:ea typeface="微软雅黑" pitchFamily="34" charset="-122"/>
            </a:endParaRPr>
          </a:p>
        </p:txBody>
      </p:sp>
      <p:sp>
        <p:nvSpPr>
          <p:cNvPr id="5" name="AutoShape 3"/>
          <p:cNvSpPr>
            <a:spLocks noChangeArrowheads="1"/>
          </p:cNvSpPr>
          <p:nvPr/>
        </p:nvSpPr>
        <p:spPr bwMode="auto">
          <a:xfrm>
            <a:off x="2561152" y="4007348"/>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b="0" kern="0" dirty="0" smtClean="0">
                <a:solidFill>
                  <a:schemeClr val="tx1"/>
                </a:solidFill>
                <a:latin typeface="微软雅黑" pitchFamily="34" charset="-122"/>
                <a:ea typeface="微软雅黑" pitchFamily="34" charset="-122"/>
              </a:rPr>
              <a:t>渗透测试的课程回顾</a:t>
            </a:r>
            <a:endParaRPr kumimoji="1" lang="zh-CN" altLang="en-US" b="0" kern="0" dirty="0">
              <a:solidFill>
                <a:schemeClr val="tx1"/>
              </a:solidFill>
              <a:latin typeface="微软雅黑" pitchFamily="34" charset="-122"/>
              <a:ea typeface="微软雅黑" pitchFamily="34" charset="-122"/>
            </a:endParaRPr>
          </a:p>
        </p:txBody>
      </p:sp>
      <p:sp>
        <p:nvSpPr>
          <p:cNvPr id="8" name="AutoShape 11"/>
          <p:cNvSpPr>
            <a:spLocks noChangeArrowheads="1"/>
          </p:cNvSpPr>
          <p:nvPr/>
        </p:nvSpPr>
        <p:spPr bwMode="auto">
          <a:xfrm>
            <a:off x="1783153" y="3637936"/>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3</a:t>
            </a:r>
            <a:endParaRPr kumimoji="1" lang="en-GB" altLang="zh-CN" b="0" kern="0" dirty="0">
              <a:latin typeface="微软雅黑" pitchFamily="34" charset="-122"/>
              <a:ea typeface="微软雅黑" pitchFamily="34" charset="-122"/>
            </a:endParaRPr>
          </a:p>
        </p:txBody>
      </p:sp>
      <p:sp>
        <p:nvSpPr>
          <p:cNvPr id="9" name="AutoShape 3"/>
          <p:cNvSpPr>
            <a:spLocks noChangeArrowheads="1"/>
          </p:cNvSpPr>
          <p:nvPr/>
        </p:nvSpPr>
        <p:spPr bwMode="auto">
          <a:xfrm>
            <a:off x="2563779" y="3637936"/>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pPr>
            <a:r>
              <a:rPr kumimoji="1" lang="zh-CN" altLang="en-US" b="0" kern="0" dirty="0" smtClean="0">
                <a:latin typeface="微软雅黑" pitchFamily="34" charset="-122"/>
                <a:ea typeface="微软雅黑" pitchFamily="34" charset="-122"/>
              </a:rPr>
              <a:t>黑客入侵的行为轨迹</a:t>
            </a:r>
            <a:endParaRPr kumimoji="1" lang="zh-CN" altLang="en-US" b="0" kern="0" dirty="0">
              <a:latin typeface="微软雅黑" pitchFamily="34" charset="-122"/>
              <a:ea typeface="微软雅黑" pitchFamily="34" charset="-122"/>
            </a:endParaRPr>
          </a:p>
        </p:txBody>
      </p:sp>
      <p:sp>
        <p:nvSpPr>
          <p:cNvPr id="24" name="AutoShape 11"/>
          <p:cNvSpPr>
            <a:spLocks noChangeArrowheads="1"/>
          </p:cNvSpPr>
          <p:nvPr/>
        </p:nvSpPr>
        <p:spPr bwMode="auto">
          <a:xfrm>
            <a:off x="1783460" y="3251999"/>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defRPr/>
            </a:pPr>
            <a:r>
              <a:rPr kumimoji="1" lang="en-US" altLang="zh-CN" b="0" kern="0" dirty="0">
                <a:solidFill>
                  <a:schemeClr val="tx1"/>
                </a:solidFill>
                <a:latin typeface="微软雅黑" pitchFamily="34" charset="-122"/>
                <a:ea typeface="微软雅黑" pitchFamily="34" charset="-122"/>
              </a:rPr>
              <a:t>2</a:t>
            </a:r>
            <a:endParaRPr kumimoji="1" lang="en-GB" altLang="zh-CN" b="0" kern="0" dirty="0">
              <a:solidFill>
                <a:schemeClr val="tx1"/>
              </a:solidFill>
              <a:latin typeface="微软雅黑" pitchFamily="34" charset="-122"/>
              <a:ea typeface="微软雅黑" pitchFamily="34" charset="-122"/>
            </a:endParaRPr>
          </a:p>
        </p:txBody>
      </p:sp>
      <p:sp>
        <p:nvSpPr>
          <p:cNvPr id="25" name="AutoShape 3"/>
          <p:cNvSpPr>
            <a:spLocks noChangeArrowheads="1"/>
          </p:cNvSpPr>
          <p:nvPr/>
        </p:nvSpPr>
        <p:spPr bwMode="auto">
          <a:xfrm>
            <a:off x="2564086" y="3251999"/>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b="0" kern="0" dirty="0" smtClean="0">
                <a:solidFill>
                  <a:schemeClr val="tx1"/>
                </a:solidFill>
                <a:latin typeface="微软雅黑" pitchFamily="34" charset="-122"/>
                <a:ea typeface="微软雅黑" pitchFamily="34" charset="-122"/>
              </a:rPr>
              <a:t>渗透测试的执行步骤</a:t>
            </a:r>
            <a:endParaRPr kumimoji="1" lang="zh-CN" altLang="en-US" b="0" kern="0" dirty="0">
              <a:solidFill>
                <a:schemeClr val="tx1"/>
              </a:solidFill>
              <a:latin typeface="微软雅黑" pitchFamily="34" charset="-122"/>
              <a:ea typeface="微软雅黑" pitchFamily="34" charset="-122"/>
            </a:endParaRPr>
          </a:p>
        </p:txBody>
      </p:sp>
      <p:sp>
        <p:nvSpPr>
          <p:cNvPr id="26" name="AutoShape 11"/>
          <p:cNvSpPr>
            <a:spLocks noChangeArrowheads="1"/>
          </p:cNvSpPr>
          <p:nvPr/>
        </p:nvSpPr>
        <p:spPr bwMode="auto">
          <a:xfrm>
            <a:off x="1786087" y="964887"/>
            <a:ext cx="540556" cy="295529"/>
          </a:xfrm>
          <a:prstGeom prst="roundRect">
            <a:avLst>
              <a:gd name="adj" fmla="val 16667"/>
            </a:avLst>
          </a:prstGeom>
          <a:solidFill>
            <a:srgbClr val="9999FF"/>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defRPr/>
            </a:pPr>
            <a:r>
              <a:rPr kumimoji="1" lang="en-US" altLang="zh-CN" b="0" kern="0" dirty="0" smtClean="0">
                <a:solidFill>
                  <a:schemeClr val="tx1"/>
                </a:solidFill>
                <a:latin typeface="微软雅黑" pitchFamily="34" charset="-122"/>
                <a:ea typeface="微软雅黑" pitchFamily="34" charset="-122"/>
              </a:rPr>
              <a:t>1</a:t>
            </a:r>
            <a:endParaRPr kumimoji="1" lang="en-GB" altLang="zh-CN" b="0" kern="0" dirty="0">
              <a:solidFill>
                <a:schemeClr val="tx1"/>
              </a:solidFill>
              <a:latin typeface="微软雅黑" pitchFamily="34" charset="-122"/>
              <a:ea typeface="微软雅黑" pitchFamily="34" charset="-122"/>
            </a:endParaRPr>
          </a:p>
        </p:txBody>
      </p:sp>
      <p:sp>
        <p:nvSpPr>
          <p:cNvPr id="27" name="AutoShape 3"/>
          <p:cNvSpPr>
            <a:spLocks noChangeArrowheads="1"/>
          </p:cNvSpPr>
          <p:nvPr/>
        </p:nvSpPr>
        <p:spPr bwMode="auto">
          <a:xfrm>
            <a:off x="2566713" y="964887"/>
            <a:ext cx="4686938" cy="295529"/>
          </a:xfrm>
          <a:prstGeom prst="roundRect">
            <a:avLst>
              <a:gd name="adj" fmla="val 16667"/>
            </a:avLst>
          </a:prstGeom>
          <a:solidFill>
            <a:srgbClr val="9999FF"/>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eaLnBrk="0" fontAlgn="auto" hangingPunct="0">
              <a:spcBef>
                <a:spcPts val="0"/>
              </a:spcBef>
              <a:spcAft>
                <a:spcPts val="0"/>
              </a:spcAft>
            </a:pPr>
            <a:r>
              <a:rPr kumimoji="1" lang="zh-CN" altLang="en-US" b="0" kern="0" dirty="0" smtClean="0">
                <a:solidFill>
                  <a:schemeClr val="tx1"/>
                </a:solidFill>
                <a:latin typeface="微软雅黑" pitchFamily="34" charset="-122"/>
                <a:ea typeface="微软雅黑" pitchFamily="34" charset="-122"/>
              </a:rPr>
              <a:t>渗透测试的基本概念</a:t>
            </a:r>
            <a:endParaRPr kumimoji="1" lang="zh-CN" altLang="en-US" b="0" kern="0" dirty="0">
              <a:solidFill>
                <a:schemeClr val="tx1"/>
              </a:solidFill>
              <a:latin typeface="微软雅黑" pitchFamily="34" charset="-122"/>
              <a:ea typeface="微软雅黑" pitchFamily="34" charset="-122"/>
            </a:endParaRPr>
          </a:p>
        </p:txBody>
      </p:sp>
      <p:sp>
        <p:nvSpPr>
          <p:cNvPr id="13" name="AutoShape 11"/>
          <p:cNvSpPr>
            <a:spLocks noChangeArrowheads="1"/>
          </p:cNvSpPr>
          <p:nvPr/>
        </p:nvSpPr>
        <p:spPr bwMode="auto">
          <a:xfrm>
            <a:off x="2608346" y="1721001"/>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1</a:t>
            </a:r>
            <a:r>
              <a:rPr kumimoji="1" lang="en-US" altLang="zh-CN" sz="1400" b="0" kern="0" dirty="0" smtClean="0">
                <a:solidFill>
                  <a:prstClr val="black"/>
                </a:solidFill>
                <a:latin typeface="微软雅黑" pitchFamily="34" charset="-122"/>
                <a:ea typeface="微软雅黑" pitchFamily="34" charset="-122"/>
              </a:rPr>
              <a:t>.2</a:t>
            </a:r>
            <a:endParaRPr kumimoji="1" lang="en-GB" altLang="zh-CN" sz="1400" b="0" kern="0" dirty="0">
              <a:solidFill>
                <a:prstClr val="black"/>
              </a:solidFill>
              <a:latin typeface="微软雅黑" pitchFamily="34" charset="-122"/>
              <a:ea typeface="微软雅黑" pitchFamily="34" charset="-122"/>
            </a:endParaRPr>
          </a:p>
        </p:txBody>
      </p:sp>
      <p:sp>
        <p:nvSpPr>
          <p:cNvPr id="14" name="AutoShape 3"/>
          <p:cNvSpPr>
            <a:spLocks noChangeArrowheads="1"/>
          </p:cNvSpPr>
          <p:nvPr/>
        </p:nvSpPr>
        <p:spPr bwMode="auto">
          <a:xfrm>
            <a:off x="3329517" y="1721001"/>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黑客入侵</a:t>
            </a:r>
            <a:endParaRPr kumimoji="1" lang="zh-CN" altLang="en-US" sz="1400" b="0" kern="0" dirty="0">
              <a:solidFill>
                <a:prstClr val="black"/>
              </a:solidFill>
              <a:latin typeface="微软雅黑" pitchFamily="34" charset="-122"/>
              <a:ea typeface="微软雅黑" pitchFamily="34" charset="-122"/>
            </a:endParaRPr>
          </a:p>
        </p:txBody>
      </p:sp>
      <p:sp>
        <p:nvSpPr>
          <p:cNvPr id="15" name="AutoShape 11"/>
          <p:cNvSpPr>
            <a:spLocks noChangeArrowheads="1"/>
          </p:cNvSpPr>
          <p:nvPr/>
        </p:nvSpPr>
        <p:spPr bwMode="auto">
          <a:xfrm>
            <a:off x="2608346" y="2081621"/>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1</a:t>
            </a:r>
            <a:r>
              <a:rPr kumimoji="1" lang="en-US" altLang="zh-CN" sz="1400" b="0" kern="0" dirty="0" smtClean="0">
                <a:solidFill>
                  <a:prstClr val="black"/>
                </a:solidFill>
                <a:latin typeface="微软雅黑" pitchFamily="34" charset="-122"/>
                <a:ea typeface="微软雅黑" pitchFamily="34" charset="-122"/>
              </a:rPr>
              <a:t>.3</a:t>
            </a:r>
            <a:endParaRPr kumimoji="1" lang="en-GB" altLang="zh-CN" sz="1400" b="0" kern="0" dirty="0">
              <a:solidFill>
                <a:prstClr val="black"/>
              </a:solidFill>
              <a:latin typeface="微软雅黑" pitchFamily="34" charset="-122"/>
              <a:ea typeface="微软雅黑" pitchFamily="34" charset="-122"/>
            </a:endParaRPr>
          </a:p>
        </p:txBody>
      </p:sp>
      <p:sp>
        <p:nvSpPr>
          <p:cNvPr id="16" name="AutoShape 3"/>
          <p:cNvSpPr>
            <a:spLocks noChangeArrowheads="1"/>
          </p:cNvSpPr>
          <p:nvPr/>
        </p:nvSpPr>
        <p:spPr bwMode="auto">
          <a:xfrm>
            <a:off x="3329517" y="2081621"/>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安全漏洞</a:t>
            </a:r>
            <a:endParaRPr kumimoji="1" lang="zh-CN" altLang="en-US" sz="1400" b="0" kern="0" dirty="0">
              <a:solidFill>
                <a:prstClr val="black"/>
              </a:solidFill>
              <a:latin typeface="微软雅黑" pitchFamily="34" charset="-122"/>
              <a:ea typeface="微软雅黑" pitchFamily="34" charset="-122"/>
            </a:endParaRPr>
          </a:p>
        </p:txBody>
      </p:sp>
      <p:sp>
        <p:nvSpPr>
          <p:cNvPr id="17" name="AutoShape 11"/>
          <p:cNvSpPr>
            <a:spLocks noChangeArrowheads="1"/>
          </p:cNvSpPr>
          <p:nvPr/>
        </p:nvSpPr>
        <p:spPr bwMode="auto">
          <a:xfrm>
            <a:off x="2608346" y="2451032"/>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1</a:t>
            </a:r>
            <a:r>
              <a:rPr kumimoji="1" lang="en-US" altLang="zh-CN" sz="1400" b="0" kern="0" dirty="0" smtClean="0">
                <a:solidFill>
                  <a:prstClr val="black"/>
                </a:solidFill>
                <a:latin typeface="微软雅黑" pitchFamily="34" charset="-122"/>
                <a:ea typeface="微软雅黑" pitchFamily="34" charset="-122"/>
              </a:rPr>
              <a:t>.4</a:t>
            </a:r>
            <a:endParaRPr kumimoji="1" lang="en-GB" altLang="zh-CN" sz="1400" b="0" kern="0" dirty="0">
              <a:solidFill>
                <a:prstClr val="black"/>
              </a:solidFill>
              <a:latin typeface="微软雅黑" pitchFamily="34" charset="-122"/>
              <a:ea typeface="微软雅黑" pitchFamily="34" charset="-122"/>
            </a:endParaRPr>
          </a:p>
        </p:txBody>
      </p:sp>
      <p:sp>
        <p:nvSpPr>
          <p:cNvPr id="18" name="AutoShape 3"/>
          <p:cNvSpPr>
            <a:spLocks noChangeArrowheads="1"/>
          </p:cNvSpPr>
          <p:nvPr/>
        </p:nvSpPr>
        <p:spPr bwMode="auto">
          <a:xfrm>
            <a:off x="3329517" y="2451032"/>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问题</a:t>
            </a:r>
            <a:endParaRPr kumimoji="1" lang="zh-CN" altLang="en-US" sz="1400" b="0" kern="0" dirty="0">
              <a:solidFill>
                <a:prstClr val="black"/>
              </a:solidFill>
              <a:latin typeface="微软雅黑" pitchFamily="34" charset="-122"/>
              <a:ea typeface="微软雅黑" pitchFamily="34" charset="-122"/>
            </a:endParaRPr>
          </a:p>
        </p:txBody>
      </p:sp>
      <p:sp>
        <p:nvSpPr>
          <p:cNvPr id="19" name="AutoShape 11"/>
          <p:cNvSpPr>
            <a:spLocks noChangeArrowheads="1"/>
          </p:cNvSpPr>
          <p:nvPr/>
        </p:nvSpPr>
        <p:spPr bwMode="auto">
          <a:xfrm>
            <a:off x="2608346" y="2820444"/>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1</a:t>
            </a:r>
            <a:r>
              <a:rPr kumimoji="1" lang="en-US" altLang="zh-CN" sz="1400" b="0" kern="0" dirty="0" smtClean="0">
                <a:solidFill>
                  <a:prstClr val="black"/>
                </a:solidFill>
                <a:latin typeface="微软雅黑" pitchFamily="34" charset="-122"/>
                <a:ea typeface="微软雅黑" pitchFamily="34" charset="-122"/>
              </a:rPr>
              <a:t>.5</a:t>
            </a:r>
            <a:endParaRPr kumimoji="1" lang="en-GB" altLang="zh-CN" sz="1400" b="0" kern="0" dirty="0">
              <a:solidFill>
                <a:prstClr val="black"/>
              </a:solidFill>
              <a:latin typeface="微软雅黑" pitchFamily="34" charset="-122"/>
              <a:ea typeface="微软雅黑" pitchFamily="34" charset="-122"/>
            </a:endParaRPr>
          </a:p>
        </p:txBody>
      </p:sp>
      <p:sp>
        <p:nvSpPr>
          <p:cNvPr id="20" name="AutoShape 3"/>
          <p:cNvSpPr>
            <a:spLocks noChangeArrowheads="1"/>
          </p:cNvSpPr>
          <p:nvPr/>
        </p:nvSpPr>
        <p:spPr bwMode="auto">
          <a:xfrm>
            <a:off x="3329517" y="2820444"/>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小结</a:t>
            </a:r>
            <a:endParaRPr kumimoji="1" lang="zh-CN" altLang="en-US" sz="1400" b="0" kern="0" dirty="0">
              <a:solidFill>
                <a:prstClr val="black"/>
              </a:solidFill>
              <a:latin typeface="微软雅黑" pitchFamily="34" charset="-122"/>
              <a:ea typeface="微软雅黑" pitchFamily="34" charset="-122"/>
            </a:endParaRPr>
          </a:p>
        </p:txBody>
      </p:sp>
      <p:sp>
        <p:nvSpPr>
          <p:cNvPr id="23" name="AutoShape 11"/>
          <p:cNvSpPr>
            <a:spLocks noChangeArrowheads="1"/>
          </p:cNvSpPr>
          <p:nvPr/>
        </p:nvSpPr>
        <p:spPr bwMode="auto">
          <a:xfrm>
            <a:off x="2608346" y="1354132"/>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1</a:t>
            </a:r>
            <a:r>
              <a:rPr kumimoji="1" lang="en-US" altLang="zh-CN" sz="1400" b="0" kern="0" dirty="0" smtClean="0">
                <a:solidFill>
                  <a:prstClr val="black"/>
                </a:solidFill>
                <a:latin typeface="微软雅黑" pitchFamily="34" charset="-122"/>
                <a:ea typeface="微软雅黑" pitchFamily="34" charset="-122"/>
              </a:rPr>
              <a:t>.1</a:t>
            </a:r>
            <a:endParaRPr kumimoji="1" lang="en-GB" altLang="zh-CN" sz="1400" b="0" kern="0" dirty="0">
              <a:solidFill>
                <a:prstClr val="black"/>
              </a:solidFill>
              <a:latin typeface="微软雅黑" pitchFamily="34" charset="-122"/>
              <a:ea typeface="微软雅黑" pitchFamily="34" charset="-122"/>
            </a:endParaRPr>
          </a:p>
        </p:txBody>
      </p:sp>
      <p:sp>
        <p:nvSpPr>
          <p:cNvPr id="28" name="AutoShape 3"/>
          <p:cNvSpPr>
            <a:spLocks noChangeArrowheads="1"/>
          </p:cNvSpPr>
          <p:nvPr/>
        </p:nvSpPr>
        <p:spPr bwMode="auto">
          <a:xfrm>
            <a:off x="3329517" y="1354132"/>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渗透测试</a:t>
            </a:r>
            <a:endParaRPr kumimoji="1" lang="zh-CN" altLang="en-US" sz="1400" b="0" kern="0" dirty="0">
              <a:solidFill>
                <a:prstClr val="black"/>
              </a:solidFill>
              <a:latin typeface="微软雅黑" pitchFamily="34" charset="-122"/>
              <a:ea typeface="微软雅黑" pitchFamily="34" charset="-122"/>
            </a:endParaRPr>
          </a:p>
        </p:txBody>
      </p:sp>
    </p:spTree>
    <p:extLst>
      <p:ext uri="{BB962C8B-B14F-4D97-AF65-F5344CB8AC3E}">
        <p14:creationId xmlns:p14="http://schemas.microsoft.com/office/powerpoint/2010/main" val="2190426463"/>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3 </a:t>
            </a:r>
            <a:r>
              <a:rPr lang="zh-CN" altLang="en-US" dirty="0"/>
              <a:t>渗透执行标准分解：报告</a:t>
            </a:r>
            <a:r>
              <a:rPr lang="zh-CN" altLang="en-US" dirty="0" smtClean="0"/>
              <a:t>阶段</a:t>
            </a:r>
            <a:endParaRPr lang="zh-CN" altLang="en-US" dirty="0"/>
          </a:p>
        </p:txBody>
      </p:sp>
      <p:graphicFrame>
        <p:nvGraphicFramePr>
          <p:cNvPr id="5" name="图示 4"/>
          <p:cNvGraphicFramePr/>
          <p:nvPr>
            <p:extLst>
              <p:ext uri="{D42A27DB-BD31-4B8C-83A1-F6EECF244321}">
                <p14:modId xmlns:p14="http://schemas.microsoft.com/office/powerpoint/2010/main" val="1717395921"/>
              </p:ext>
            </p:extLst>
          </p:nvPr>
        </p:nvGraphicFramePr>
        <p:xfrm>
          <a:off x="586775" y="1106916"/>
          <a:ext cx="8071646" cy="3534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04721074"/>
      </p:ext>
    </p:extLst>
  </p:cSld>
  <p:clrMapOvr>
    <a:masterClrMapping/>
  </p:clrMapOvr>
  <p:transition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2.4 </a:t>
            </a:r>
            <a:r>
              <a:rPr lang="zh-CN" altLang="en-US" dirty="0" smtClean="0"/>
              <a:t>问题</a:t>
            </a:r>
            <a:endParaRPr lang="zh-CN" altLang="en-US" dirty="0"/>
          </a:p>
        </p:txBody>
      </p:sp>
      <p:sp>
        <p:nvSpPr>
          <p:cNvPr id="3" name="内容占位符 2"/>
          <p:cNvSpPr>
            <a:spLocks noGrp="1"/>
          </p:cNvSpPr>
          <p:nvPr>
            <p:ph idx="1"/>
          </p:nvPr>
        </p:nvSpPr>
        <p:spPr/>
        <p:txBody>
          <a:bodyPr/>
          <a:lstStyle/>
          <a:p>
            <a:r>
              <a:rPr lang="zh-CN" altLang="en-US" dirty="0" smtClean="0"/>
              <a:t>谈谈渗透攻击阶段和后渗透攻击阶段的区别？</a:t>
            </a:r>
            <a:endParaRPr lang="en-US" altLang="zh-CN" dirty="0" smtClean="0"/>
          </a:p>
        </p:txBody>
      </p:sp>
      <p:graphicFrame>
        <p:nvGraphicFramePr>
          <p:cNvPr id="4" name="图示 3"/>
          <p:cNvGraphicFramePr/>
          <p:nvPr>
            <p:extLst>
              <p:ext uri="{D42A27DB-BD31-4B8C-83A1-F6EECF244321}">
                <p14:modId xmlns:p14="http://schemas.microsoft.com/office/powerpoint/2010/main" val="1434254339"/>
              </p:ext>
            </p:extLst>
          </p:nvPr>
        </p:nvGraphicFramePr>
        <p:xfrm>
          <a:off x="1810248" y="1383524"/>
          <a:ext cx="5512904" cy="3481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93428802"/>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2.5 </a:t>
            </a:r>
            <a:r>
              <a:rPr lang="zh-CN" altLang="en-US" dirty="0" smtClean="0"/>
              <a:t>小结</a:t>
            </a:r>
            <a:endParaRPr lang="zh-CN" altLang="en-US" dirty="0"/>
          </a:p>
        </p:txBody>
      </p:sp>
      <p:sp>
        <p:nvSpPr>
          <p:cNvPr id="3" name="内容占位符 2"/>
          <p:cNvSpPr>
            <a:spLocks noGrp="1"/>
          </p:cNvSpPr>
          <p:nvPr>
            <p:ph idx="1"/>
          </p:nvPr>
        </p:nvSpPr>
        <p:spPr/>
        <p:txBody>
          <a:bodyPr/>
          <a:lstStyle/>
          <a:p>
            <a:r>
              <a:rPr lang="zh-CN" altLang="en-US" dirty="0" smtClean="0"/>
              <a:t>小结</a:t>
            </a:r>
            <a:endParaRPr lang="en-US" altLang="zh-CN" dirty="0" smtClean="0"/>
          </a:p>
          <a:p>
            <a:pPr lvl="1"/>
            <a:r>
              <a:rPr lang="zh-CN" altLang="en-US" dirty="0" smtClean="0"/>
              <a:t>渗透测试执行标准的七个过程：</a:t>
            </a:r>
            <a:endParaRPr lang="en-US" altLang="zh-CN" dirty="0" smtClean="0"/>
          </a:p>
          <a:p>
            <a:pPr lvl="2"/>
            <a:r>
              <a:rPr lang="zh-CN" altLang="en-US" dirty="0" smtClean="0"/>
              <a:t>前期交互阶段</a:t>
            </a:r>
            <a:endParaRPr lang="en-US" altLang="zh-CN" dirty="0" smtClean="0"/>
          </a:p>
          <a:p>
            <a:pPr lvl="2"/>
            <a:r>
              <a:rPr lang="zh-CN" altLang="en-US" dirty="0" smtClean="0"/>
              <a:t>情报搜集阶段</a:t>
            </a:r>
            <a:endParaRPr lang="en-US" altLang="zh-CN" dirty="0" smtClean="0"/>
          </a:p>
          <a:p>
            <a:pPr lvl="2"/>
            <a:r>
              <a:rPr lang="zh-CN" altLang="en-US" dirty="0" smtClean="0"/>
              <a:t>威胁建模阶段</a:t>
            </a:r>
            <a:endParaRPr lang="en-US" altLang="zh-CN" dirty="0" smtClean="0"/>
          </a:p>
          <a:p>
            <a:pPr lvl="2"/>
            <a:r>
              <a:rPr lang="zh-CN" altLang="en-US" dirty="0" smtClean="0"/>
              <a:t>漏洞分析阶段</a:t>
            </a:r>
            <a:endParaRPr lang="en-US" altLang="zh-CN" dirty="0" smtClean="0"/>
          </a:p>
          <a:p>
            <a:pPr lvl="2"/>
            <a:r>
              <a:rPr lang="zh-CN" altLang="en-US" dirty="0" smtClean="0"/>
              <a:t>渗透攻击阶段</a:t>
            </a:r>
            <a:endParaRPr lang="en-US" altLang="zh-CN" dirty="0" smtClean="0"/>
          </a:p>
          <a:p>
            <a:pPr lvl="2"/>
            <a:r>
              <a:rPr lang="zh-CN" altLang="en-US" dirty="0" smtClean="0"/>
              <a:t>后渗透攻击阶段</a:t>
            </a:r>
            <a:endParaRPr lang="en-US" altLang="zh-CN" dirty="0" smtClean="0"/>
          </a:p>
          <a:p>
            <a:pPr lvl="2"/>
            <a:r>
              <a:rPr lang="zh-CN" altLang="en-US" dirty="0" smtClean="0"/>
              <a:t>报告阶段</a:t>
            </a:r>
            <a:endParaRPr lang="zh-CN" altLang="en-US" dirty="0"/>
          </a:p>
        </p:txBody>
      </p:sp>
    </p:spTree>
    <p:extLst>
      <p:ext uri="{BB962C8B-B14F-4D97-AF65-F5344CB8AC3E}">
        <p14:creationId xmlns:p14="http://schemas.microsoft.com/office/powerpoint/2010/main" val="244982608"/>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AutoShape 11"/>
          <p:cNvSpPr>
            <a:spLocks noChangeArrowheads="1"/>
          </p:cNvSpPr>
          <p:nvPr/>
        </p:nvSpPr>
        <p:spPr bwMode="auto">
          <a:xfrm>
            <a:off x="1780526" y="5131298"/>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defRPr/>
            </a:pPr>
            <a:r>
              <a:rPr kumimoji="1" lang="en-US" altLang="zh-CN" b="0" kern="0" dirty="0" smtClean="0">
                <a:solidFill>
                  <a:schemeClr val="tx1"/>
                </a:solidFill>
                <a:latin typeface="微软雅黑" pitchFamily="34" charset="-122"/>
                <a:ea typeface="微软雅黑" pitchFamily="34" charset="-122"/>
              </a:rPr>
              <a:t>4</a:t>
            </a:r>
            <a:endParaRPr kumimoji="1" lang="en-GB" altLang="zh-CN" b="0" kern="0" dirty="0">
              <a:solidFill>
                <a:schemeClr val="tx1"/>
              </a:solidFill>
              <a:latin typeface="微软雅黑" pitchFamily="34" charset="-122"/>
              <a:ea typeface="微软雅黑" pitchFamily="34" charset="-122"/>
            </a:endParaRPr>
          </a:p>
        </p:txBody>
      </p:sp>
      <p:sp>
        <p:nvSpPr>
          <p:cNvPr id="5" name="AutoShape 3"/>
          <p:cNvSpPr>
            <a:spLocks noChangeArrowheads="1"/>
          </p:cNvSpPr>
          <p:nvPr/>
        </p:nvSpPr>
        <p:spPr bwMode="auto">
          <a:xfrm>
            <a:off x="2561152" y="5131298"/>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b="0" kern="0" dirty="0" smtClean="0">
                <a:solidFill>
                  <a:schemeClr val="tx1"/>
                </a:solidFill>
                <a:latin typeface="微软雅黑" pitchFamily="34" charset="-122"/>
                <a:ea typeface="微软雅黑" pitchFamily="34" charset="-122"/>
              </a:rPr>
              <a:t>渗透测试的课程回顾</a:t>
            </a:r>
            <a:endParaRPr kumimoji="1" lang="zh-CN" altLang="en-US" b="0" kern="0" dirty="0">
              <a:solidFill>
                <a:schemeClr val="tx1"/>
              </a:solidFill>
              <a:latin typeface="微软雅黑" pitchFamily="34" charset="-122"/>
              <a:ea typeface="微软雅黑" pitchFamily="34" charset="-122"/>
            </a:endParaRPr>
          </a:p>
        </p:txBody>
      </p:sp>
      <p:sp>
        <p:nvSpPr>
          <p:cNvPr id="8" name="AutoShape 11"/>
          <p:cNvSpPr>
            <a:spLocks noChangeArrowheads="1"/>
          </p:cNvSpPr>
          <p:nvPr/>
        </p:nvSpPr>
        <p:spPr bwMode="auto">
          <a:xfrm>
            <a:off x="1783153" y="1720236"/>
            <a:ext cx="540556" cy="295529"/>
          </a:xfrm>
          <a:prstGeom prst="roundRect">
            <a:avLst>
              <a:gd name="adj" fmla="val 16667"/>
            </a:avLst>
          </a:prstGeom>
          <a:solidFill>
            <a:srgbClr val="9999FF"/>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3</a:t>
            </a:r>
            <a:endParaRPr kumimoji="1" lang="en-GB" altLang="zh-CN" b="0" kern="0" dirty="0">
              <a:latin typeface="微软雅黑" pitchFamily="34" charset="-122"/>
              <a:ea typeface="微软雅黑" pitchFamily="34" charset="-122"/>
            </a:endParaRPr>
          </a:p>
        </p:txBody>
      </p:sp>
      <p:sp>
        <p:nvSpPr>
          <p:cNvPr id="9" name="AutoShape 3"/>
          <p:cNvSpPr>
            <a:spLocks noChangeArrowheads="1"/>
          </p:cNvSpPr>
          <p:nvPr/>
        </p:nvSpPr>
        <p:spPr bwMode="auto">
          <a:xfrm>
            <a:off x="2563779" y="1720236"/>
            <a:ext cx="4686938" cy="295529"/>
          </a:xfrm>
          <a:prstGeom prst="roundRect">
            <a:avLst>
              <a:gd name="adj" fmla="val 16667"/>
            </a:avLst>
          </a:prstGeom>
          <a:solidFill>
            <a:srgbClr val="9999FF"/>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eaLnBrk="0" fontAlgn="auto" hangingPunct="0">
              <a:spcBef>
                <a:spcPts val="0"/>
              </a:spcBef>
              <a:spcAft>
                <a:spcPts val="0"/>
              </a:spcAft>
            </a:pPr>
            <a:r>
              <a:rPr kumimoji="1" lang="zh-CN" altLang="en-US" b="0" kern="0" dirty="0">
                <a:latin typeface="微软雅黑" pitchFamily="34" charset="-122"/>
                <a:ea typeface="微软雅黑" pitchFamily="34" charset="-122"/>
              </a:rPr>
              <a:t>黑客入侵的行为轨迹</a:t>
            </a:r>
          </a:p>
        </p:txBody>
      </p:sp>
      <p:sp>
        <p:nvSpPr>
          <p:cNvPr id="24" name="AutoShape 11"/>
          <p:cNvSpPr>
            <a:spLocks noChangeArrowheads="1"/>
          </p:cNvSpPr>
          <p:nvPr/>
        </p:nvSpPr>
        <p:spPr bwMode="auto">
          <a:xfrm>
            <a:off x="1783460" y="1334299"/>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2</a:t>
            </a:r>
            <a:endParaRPr kumimoji="1" lang="en-GB" altLang="zh-CN" b="0" kern="0" dirty="0">
              <a:latin typeface="微软雅黑" pitchFamily="34" charset="-122"/>
              <a:ea typeface="微软雅黑" pitchFamily="34" charset="-122"/>
            </a:endParaRPr>
          </a:p>
        </p:txBody>
      </p:sp>
      <p:sp>
        <p:nvSpPr>
          <p:cNvPr id="25" name="AutoShape 3"/>
          <p:cNvSpPr>
            <a:spLocks noChangeArrowheads="1"/>
          </p:cNvSpPr>
          <p:nvPr/>
        </p:nvSpPr>
        <p:spPr bwMode="auto">
          <a:xfrm>
            <a:off x="2564086" y="1334299"/>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pPr>
            <a:r>
              <a:rPr kumimoji="1" lang="zh-CN" altLang="en-US" b="0" kern="0" dirty="0">
                <a:latin typeface="微软雅黑" pitchFamily="34" charset="-122"/>
                <a:ea typeface="微软雅黑" pitchFamily="34" charset="-122"/>
              </a:rPr>
              <a:t>渗透测试的执行步骤</a:t>
            </a:r>
          </a:p>
        </p:txBody>
      </p:sp>
      <p:sp>
        <p:nvSpPr>
          <p:cNvPr id="26" name="AutoShape 11"/>
          <p:cNvSpPr>
            <a:spLocks noChangeArrowheads="1"/>
          </p:cNvSpPr>
          <p:nvPr/>
        </p:nvSpPr>
        <p:spPr bwMode="auto">
          <a:xfrm>
            <a:off x="1786087" y="964887"/>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1</a:t>
            </a:r>
            <a:endParaRPr kumimoji="1" lang="en-GB" altLang="zh-CN" b="0" kern="0" dirty="0">
              <a:latin typeface="微软雅黑" pitchFamily="34" charset="-122"/>
              <a:ea typeface="微软雅黑" pitchFamily="34" charset="-122"/>
            </a:endParaRPr>
          </a:p>
        </p:txBody>
      </p:sp>
      <p:sp>
        <p:nvSpPr>
          <p:cNvPr id="27" name="AutoShape 3"/>
          <p:cNvSpPr>
            <a:spLocks noChangeArrowheads="1"/>
          </p:cNvSpPr>
          <p:nvPr/>
        </p:nvSpPr>
        <p:spPr bwMode="auto">
          <a:xfrm>
            <a:off x="2566713" y="964887"/>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pPr>
            <a:r>
              <a:rPr kumimoji="1" lang="zh-CN" altLang="en-US" b="0" kern="0" dirty="0">
                <a:latin typeface="微软雅黑" pitchFamily="34" charset="-122"/>
                <a:ea typeface="微软雅黑" pitchFamily="34" charset="-122"/>
              </a:rPr>
              <a:t>渗透测试的基本概念</a:t>
            </a:r>
          </a:p>
        </p:txBody>
      </p:sp>
      <p:sp>
        <p:nvSpPr>
          <p:cNvPr id="11" name="AutoShape 11"/>
          <p:cNvSpPr>
            <a:spLocks noChangeArrowheads="1"/>
          </p:cNvSpPr>
          <p:nvPr/>
        </p:nvSpPr>
        <p:spPr bwMode="auto">
          <a:xfrm>
            <a:off x="2608346" y="2495701"/>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3</a:t>
            </a:r>
            <a:r>
              <a:rPr kumimoji="1" lang="en-US" altLang="zh-CN" sz="1400" b="0" kern="0" dirty="0" smtClean="0">
                <a:solidFill>
                  <a:prstClr val="black"/>
                </a:solidFill>
                <a:latin typeface="微软雅黑" pitchFamily="34" charset="-122"/>
                <a:ea typeface="微软雅黑" pitchFamily="34" charset="-122"/>
              </a:rPr>
              <a:t>.2</a:t>
            </a:r>
            <a:endParaRPr kumimoji="1" lang="en-GB" altLang="zh-CN" sz="1400" b="0" kern="0" dirty="0">
              <a:solidFill>
                <a:prstClr val="black"/>
              </a:solidFill>
              <a:latin typeface="微软雅黑" pitchFamily="34" charset="-122"/>
              <a:ea typeface="微软雅黑" pitchFamily="34" charset="-122"/>
            </a:endParaRPr>
          </a:p>
        </p:txBody>
      </p:sp>
      <p:sp>
        <p:nvSpPr>
          <p:cNvPr id="12" name="AutoShape 3"/>
          <p:cNvSpPr>
            <a:spLocks noChangeArrowheads="1"/>
          </p:cNvSpPr>
          <p:nvPr/>
        </p:nvSpPr>
        <p:spPr bwMode="auto">
          <a:xfrm>
            <a:off x="3329517" y="2495701"/>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行为轨迹</a:t>
            </a:r>
            <a:endParaRPr kumimoji="1" lang="zh-CN" altLang="en-US" sz="1400" b="0" kern="0" dirty="0">
              <a:solidFill>
                <a:prstClr val="black"/>
              </a:solidFill>
              <a:latin typeface="微软雅黑" pitchFamily="34" charset="-122"/>
              <a:ea typeface="微软雅黑" pitchFamily="34" charset="-122"/>
            </a:endParaRPr>
          </a:p>
        </p:txBody>
      </p:sp>
      <p:sp>
        <p:nvSpPr>
          <p:cNvPr id="13" name="AutoShape 11"/>
          <p:cNvSpPr>
            <a:spLocks noChangeArrowheads="1"/>
          </p:cNvSpPr>
          <p:nvPr/>
        </p:nvSpPr>
        <p:spPr bwMode="auto">
          <a:xfrm>
            <a:off x="2608346" y="2856321"/>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3</a:t>
            </a:r>
            <a:r>
              <a:rPr kumimoji="1" lang="en-US" altLang="zh-CN" sz="1400" b="0" kern="0" dirty="0" smtClean="0">
                <a:solidFill>
                  <a:prstClr val="black"/>
                </a:solidFill>
                <a:latin typeface="微软雅黑" pitchFamily="34" charset="-122"/>
                <a:ea typeface="微软雅黑" pitchFamily="34" charset="-122"/>
              </a:rPr>
              <a:t>.3</a:t>
            </a:r>
            <a:endParaRPr kumimoji="1" lang="en-GB" altLang="zh-CN" sz="1400" b="0" kern="0" dirty="0">
              <a:solidFill>
                <a:prstClr val="black"/>
              </a:solidFill>
              <a:latin typeface="微软雅黑" pitchFamily="34" charset="-122"/>
              <a:ea typeface="微软雅黑" pitchFamily="34" charset="-122"/>
            </a:endParaRPr>
          </a:p>
        </p:txBody>
      </p:sp>
      <p:sp>
        <p:nvSpPr>
          <p:cNvPr id="14" name="AutoShape 3"/>
          <p:cNvSpPr>
            <a:spLocks noChangeArrowheads="1"/>
          </p:cNvSpPr>
          <p:nvPr/>
        </p:nvSpPr>
        <p:spPr bwMode="auto">
          <a:xfrm>
            <a:off x="3329517" y="2856321"/>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明确目标</a:t>
            </a:r>
            <a:endParaRPr kumimoji="1" lang="zh-CN" altLang="en-US" sz="1400" b="0" kern="0" dirty="0">
              <a:solidFill>
                <a:prstClr val="black"/>
              </a:solidFill>
              <a:latin typeface="微软雅黑" pitchFamily="34" charset="-122"/>
              <a:ea typeface="微软雅黑" pitchFamily="34" charset="-122"/>
            </a:endParaRPr>
          </a:p>
        </p:txBody>
      </p:sp>
      <p:sp>
        <p:nvSpPr>
          <p:cNvPr id="15" name="AutoShape 11"/>
          <p:cNvSpPr>
            <a:spLocks noChangeArrowheads="1"/>
          </p:cNvSpPr>
          <p:nvPr/>
        </p:nvSpPr>
        <p:spPr bwMode="auto">
          <a:xfrm>
            <a:off x="2608346" y="3225732"/>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3</a:t>
            </a:r>
            <a:r>
              <a:rPr kumimoji="1" lang="en-US" altLang="zh-CN" sz="1400" b="0" kern="0" dirty="0" smtClean="0">
                <a:solidFill>
                  <a:prstClr val="black"/>
                </a:solidFill>
                <a:latin typeface="微软雅黑" pitchFamily="34" charset="-122"/>
                <a:ea typeface="微软雅黑" pitchFamily="34" charset="-122"/>
              </a:rPr>
              <a:t>.4</a:t>
            </a:r>
            <a:endParaRPr kumimoji="1" lang="en-GB" altLang="zh-CN" sz="1400" b="0" kern="0" dirty="0">
              <a:solidFill>
                <a:prstClr val="black"/>
              </a:solidFill>
              <a:latin typeface="微软雅黑" pitchFamily="34" charset="-122"/>
              <a:ea typeface="微软雅黑" pitchFamily="34" charset="-122"/>
            </a:endParaRPr>
          </a:p>
        </p:txBody>
      </p:sp>
      <p:sp>
        <p:nvSpPr>
          <p:cNvPr id="16" name="AutoShape 3"/>
          <p:cNvSpPr>
            <a:spLocks noChangeArrowheads="1"/>
          </p:cNvSpPr>
          <p:nvPr/>
        </p:nvSpPr>
        <p:spPr bwMode="auto">
          <a:xfrm>
            <a:off x="3329517" y="3225732"/>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控制目标</a:t>
            </a:r>
            <a:endParaRPr kumimoji="1" lang="zh-CN" altLang="en-US" sz="1400" b="0" kern="0" dirty="0">
              <a:solidFill>
                <a:prstClr val="black"/>
              </a:solidFill>
              <a:latin typeface="微软雅黑" pitchFamily="34" charset="-122"/>
              <a:ea typeface="微软雅黑" pitchFamily="34" charset="-122"/>
            </a:endParaRPr>
          </a:p>
        </p:txBody>
      </p:sp>
      <p:sp>
        <p:nvSpPr>
          <p:cNvPr id="17" name="AutoShape 11"/>
          <p:cNvSpPr>
            <a:spLocks noChangeArrowheads="1"/>
          </p:cNvSpPr>
          <p:nvPr/>
        </p:nvSpPr>
        <p:spPr bwMode="auto">
          <a:xfrm>
            <a:off x="2608346" y="3595144"/>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3</a:t>
            </a:r>
            <a:r>
              <a:rPr kumimoji="1" lang="en-US" altLang="zh-CN" sz="1400" b="0" kern="0" dirty="0" smtClean="0">
                <a:solidFill>
                  <a:prstClr val="black"/>
                </a:solidFill>
                <a:latin typeface="微软雅黑" pitchFamily="34" charset="-122"/>
                <a:ea typeface="微软雅黑" pitchFamily="34" charset="-122"/>
              </a:rPr>
              <a:t>.5</a:t>
            </a:r>
            <a:endParaRPr kumimoji="1" lang="en-GB" altLang="zh-CN" sz="1400" b="0" kern="0" dirty="0">
              <a:solidFill>
                <a:prstClr val="black"/>
              </a:solidFill>
              <a:latin typeface="微软雅黑" pitchFamily="34" charset="-122"/>
              <a:ea typeface="微软雅黑" pitchFamily="34" charset="-122"/>
            </a:endParaRPr>
          </a:p>
        </p:txBody>
      </p:sp>
      <p:sp>
        <p:nvSpPr>
          <p:cNvPr id="18" name="AutoShape 3"/>
          <p:cNvSpPr>
            <a:spLocks noChangeArrowheads="1"/>
          </p:cNvSpPr>
          <p:nvPr/>
        </p:nvSpPr>
        <p:spPr bwMode="auto">
          <a:xfrm>
            <a:off x="3329517" y="3595144"/>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收割撤退</a:t>
            </a:r>
            <a:endParaRPr kumimoji="1" lang="zh-CN" altLang="en-US" sz="1400" b="0" kern="0" dirty="0">
              <a:solidFill>
                <a:prstClr val="black"/>
              </a:solidFill>
              <a:latin typeface="微软雅黑" pitchFamily="34" charset="-122"/>
              <a:ea typeface="微软雅黑" pitchFamily="34" charset="-122"/>
            </a:endParaRPr>
          </a:p>
        </p:txBody>
      </p:sp>
      <p:sp>
        <p:nvSpPr>
          <p:cNvPr id="19" name="AutoShape 11"/>
          <p:cNvSpPr>
            <a:spLocks noChangeArrowheads="1"/>
          </p:cNvSpPr>
          <p:nvPr/>
        </p:nvSpPr>
        <p:spPr bwMode="auto">
          <a:xfrm>
            <a:off x="2608346" y="3964555"/>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3</a:t>
            </a:r>
            <a:r>
              <a:rPr kumimoji="1" lang="en-US" altLang="zh-CN" sz="1400" b="0" kern="0" dirty="0" smtClean="0">
                <a:solidFill>
                  <a:prstClr val="black"/>
                </a:solidFill>
                <a:latin typeface="微软雅黑" pitchFamily="34" charset="-122"/>
                <a:ea typeface="微软雅黑" pitchFamily="34" charset="-122"/>
              </a:rPr>
              <a:t>.6</a:t>
            </a:r>
            <a:endParaRPr kumimoji="1" lang="en-GB" altLang="zh-CN" sz="1400" b="0" kern="0" dirty="0">
              <a:solidFill>
                <a:prstClr val="black"/>
              </a:solidFill>
              <a:latin typeface="微软雅黑" pitchFamily="34" charset="-122"/>
              <a:ea typeface="微软雅黑" pitchFamily="34" charset="-122"/>
            </a:endParaRPr>
          </a:p>
        </p:txBody>
      </p:sp>
      <p:sp>
        <p:nvSpPr>
          <p:cNvPr id="20" name="AutoShape 3"/>
          <p:cNvSpPr>
            <a:spLocks noChangeArrowheads="1"/>
          </p:cNvSpPr>
          <p:nvPr/>
        </p:nvSpPr>
        <p:spPr bwMode="auto">
          <a:xfrm>
            <a:off x="3329517" y="3964555"/>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攻击工具</a:t>
            </a:r>
            <a:endParaRPr kumimoji="1" lang="zh-CN" altLang="en-US" sz="1400" b="0" kern="0" dirty="0">
              <a:solidFill>
                <a:prstClr val="black"/>
              </a:solidFill>
              <a:latin typeface="微软雅黑" pitchFamily="34" charset="-122"/>
              <a:ea typeface="微软雅黑" pitchFamily="34" charset="-122"/>
            </a:endParaRPr>
          </a:p>
        </p:txBody>
      </p:sp>
      <p:sp>
        <p:nvSpPr>
          <p:cNvPr id="21" name="AutoShape 11"/>
          <p:cNvSpPr>
            <a:spLocks noChangeArrowheads="1"/>
          </p:cNvSpPr>
          <p:nvPr/>
        </p:nvSpPr>
        <p:spPr bwMode="auto">
          <a:xfrm>
            <a:off x="2608346" y="2128832"/>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a:solidFill>
                  <a:prstClr val="black"/>
                </a:solidFill>
                <a:latin typeface="微软雅黑" pitchFamily="34" charset="-122"/>
                <a:ea typeface="微软雅黑" pitchFamily="34" charset="-122"/>
              </a:rPr>
              <a:t>3</a:t>
            </a:r>
            <a:r>
              <a:rPr kumimoji="1" lang="en-US" altLang="zh-CN" sz="1400" b="0" kern="0" dirty="0" smtClean="0">
                <a:solidFill>
                  <a:prstClr val="black"/>
                </a:solidFill>
                <a:latin typeface="微软雅黑" pitchFamily="34" charset="-122"/>
                <a:ea typeface="微软雅黑" pitchFamily="34" charset="-122"/>
              </a:rPr>
              <a:t>.1</a:t>
            </a:r>
            <a:endParaRPr kumimoji="1" lang="en-GB" altLang="zh-CN" sz="1400" b="0" kern="0" dirty="0">
              <a:solidFill>
                <a:prstClr val="black"/>
              </a:solidFill>
              <a:latin typeface="微软雅黑" pitchFamily="34" charset="-122"/>
              <a:ea typeface="微软雅黑" pitchFamily="34" charset="-122"/>
            </a:endParaRPr>
          </a:p>
        </p:txBody>
      </p:sp>
      <p:sp>
        <p:nvSpPr>
          <p:cNvPr id="22" name="AutoShape 3"/>
          <p:cNvSpPr>
            <a:spLocks noChangeArrowheads="1"/>
          </p:cNvSpPr>
          <p:nvPr/>
        </p:nvSpPr>
        <p:spPr bwMode="auto">
          <a:xfrm>
            <a:off x="3329517" y="2128832"/>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问题：为什么要了解黑客入侵的行为轨迹？</a:t>
            </a:r>
            <a:endParaRPr kumimoji="1" lang="zh-CN" altLang="en-US" sz="1400" b="0" kern="0" dirty="0">
              <a:solidFill>
                <a:prstClr val="black"/>
              </a:solidFill>
              <a:latin typeface="微软雅黑" pitchFamily="34" charset="-122"/>
              <a:ea typeface="微软雅黑" pitchFamily="34" charset="-122"/>
            </a:endParaRPr>
          </a:p>
        </p:txBody>
      </p:sp>
      <p:sp>
        <p:nvSpPr>
          <p:cNvPr id="23" name="AutoShape 11"/>
          <p:cNvSpPr>
            <a:spLocks noChangeArrowheads="1"/>
          </p:cNvSpPr>
          <p:nvPr/>
        </p:nvSpPr>
        <p:spPr bwMode="auto">
          <a:xfrm>
            <a:off x="2608346" y="4387782"/>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smtClean="0">
                <a:solidFill>
                  <a:prstClr val="black"/>
                </a:solidFill>
                <a:latin typeface="微软雅黑" pitchFamily="34" charset="-122"/>
                <a:ea typeface="微软雅黑" pitchFamily="34" charset="-122"/>
              </a:rPr>
              <a:t>3.7</a:t>
            </a:r>
            <a:endParaRPr kumimoji="1" lang="en-GB" altLang="zh-CN" sz="1400" b="0" kern="0" dirty="0">
              <a:solidFill>
                <a:prstClr val="black"/>
              </a:solidFill>
              <a:latin typeface="微软雅黑" pitchFamily="34" charset="-122"/>
              <a:ea typeface="微软雅黑" pitchFamily="34" charset="-122"/>
            </a:endParaRPr>
          </a:p>
        </p:txBody>
      </p:sp>
      <p:sp>
        <p:nvSpPr>
          <p:cNvPr id="28" name="AutoShape 3"/>
          <p:cNvSpPr>
            <a:spLocks noChangeArrowheads="1"/>
          </p:cNvSpPr>
          <p:nvPr/>
        </p:nvSpPr>
        <p:spPr bwMode="auto">
          <a:xfrm>
            <a:off x="3329517" y="4387782"/>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问题解答：为什么要了解黑客入侵的行为轨迹</a:t>
            </a:r>
            <a:r>
              <a:rPr kumimoji="1" lang="en-US" altLang="zh-CN" sz="1400" b="0" kern="0" dirty="0" smtClean="0">
                <a:solidFill>
                  <a:prstClr val="black"/>
                </a:solidFill>
                <a:latin typeface="微软雅黑" pitchFamily="34" charset="-122"/>
                <a:ea typeface="微软雅黑" pitchFamily="34" charset="-122"/>
              </a:rPr>
              <a:t>?</a:t>
            </a:r>
            <a:endParaRPr kumimoji="1" lang="zh-CN" altLang="en-US" sz="1400" b="0" kern="0" dirty="0">
              <a:solidFill>
                <a:prstClr val="black"/>
              </a:solidFill>
              <a:latin typeface="微软雅黑" pitchFamily="34" charset="-122"/>
              <a:ea typeface="微软雅黑" pitchFamily="34" charset="-122"/>
            </a:endParaRPr>
          </a:p>
        </p:txBody>
      </p:sp>
      <p:sp>
        <p:nvSpPr>
          <p:cNvPr id="29" name="AutoShape 11"/>
          <p:cNvSpPr>
            <a:spLocks noChangeArrowheads="1"/>
          </p:cNvSpPr>
          <p:nvPr/>
        </p:nvSpPr>
        <p:spPr bwMode="auto">
          <a:xfrm>
            <a:off x="2608346" y="4757194"/>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smtClean="0">
                <a:solidFill>
                  <a:prstClr val="black"/>
                </a:solidFill>
                <a:latin typeface="微软雅黑" pitchFamily="34" charset="-122"/>
                <a:ea typeface="微软雅黑" pitchFamily="34" charset="-122"/>
              </a:rPr>
              <a:t>3.8</a:t>
            </a:r>
            <a:endParaRPr kumimoji="1" lang="en-GB" altLang="zh-CN" sz="1400" b="0" kern="0" dirty="0">
              <a:solidFill>
                <a:prstClr val="black"/>
              </a:solidFill>
              <a:latin typeface="微软雅黑" pitchFamily="34" charset="-122"/>
              <a:ea typeface="微软雅黑" pitchFamily="34" charset="-122"/>
            </a:endParaRPr>
          </a:p>
        </p:txBody>
      </p:sp>
      <p:sp>
        <p:nvSpPr>
          <p:cNvPr id="30" name="AutoShape 3"/>
          <p:cNvSpPr>
            <a:spLocks noChangeArrowheads="1"/>
          </p:cNvSpPr>
          <p:nvPr/>
        </p:nvSpPr>
        <p:spPr bwMode="auto">
          <a:xfrm>
            <a:off x="3329517" y="4757194"/>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小结</a:t>
            </a:r>
            <a:endParaRPr kumimoji="1" lang="zh-CN" altLang="en-US" sz="1400" b="0" kern="0" dirty="0">
              <a:solidFill>
                <a:prstClr val="black"/>
              </a:solidFill>
              <a:latin typeface="微软雅黑" pitchFamily="34" charset="-122"/>
              <a:ea typeface="微软雅黑" pitchFamily="34" charset="-122"/>
            </a:endParaRPr>
          </a:p>
        </p:txBody>
      </p:sp>
    </p:spTree>
    <p:extLst>
      <p:ext uri="{BB962C8B-B14F-4D97-AF65-F5344CB8AC3E}">
        <p14:creationId xmlns:p14="http://schemas.microsoft.com/office/powerpoint/2010/main" val="2393550075"/>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8871" y="96318"/>
            <a:ext cx="6301903" cy="609600"/>
          </a:xfrm>
        </p:spPr>
        <p:txBody>
          <a:bodyPr anchor="ctr"/>
          <a:lstStyle/>
          <a:p>
            <a:r>
              <a:rPr lang="en-US" altLang="zh-CN" dirty="0"/>
              <a:t>3.1 </a:t>
            </a:r>
            <a:r>
              <a:rPr lang="zh-CN" altLang="en-US" dirty="0"/>
              <a:t>问题：为什么要了解黑客入侵的行为轨迹？</a:t>
            </a:r>
          </a:p>
        </p:txBody>
      </p:sp>
      <p:graphicFrame>
        <p:nvGraphicFramePr>
          <p:cNvPr id="5" name="内容占位符 4"/>
          <p:cNvGraphicFramePr>
            <a:graphicFrameLocks noGrp="1"/>
          </p:cNvGraphicFramePr>
          <p:nvPr>
            <p:ph idx="1"/>
            <p:extLst>
              <p:ext uri="{D42A27DB-BD31-4B8C-83A1-F6EECF244321}">
                <p14:modId xmlns:p14="http://schemas.microsoft.com/office/powerpoint/2010/main" val="2170068885"/>
              </p:ext>
            </p:extLst>
          </p:nvPr>
        </p:nvGraphicFramePr>
        <p:xfrm>
          <a:off x="1254967" y="1044349"/>
          <a:ext cx="6823558" cy="39627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61645813"/>
      </p:ext>
    </p:extLst>
  </p:cSld>
  <p:clrMapOvr>
    <a:masterClrMapping/>
  </p:clrMapOvr>
  <p:transition advClick="0"/>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2 </a:t>
            </a:r>
            <a:r>
              <a:rPr lang="zh-CN" altLang="en-US" dirty="0" smtClean="0"/>
              <a:t>行为轨迹：三个阶段</a:t>
            </a:r>
            <a:endParaRPr lang="zh-CN" altLang="en-US" dirty="0"/>
          </a:p>
        </p:txBody>
      </p:sp>
      <p:graphicFrame>
        <p:nvGraphicFramePr>
          <p:cNvPr id="6" name="内容占位符 5"/>
          <p:cNvGraphicFramePr>
            <a:graphicFrameLocks noGrp="1"/>
          </p:cNvGraphicFramePr>
          <p:nvPr>
            <p:ph idx="1"/>
            <p:extLst>
              <p:ext uri="{D42A27DB-BD31-4B8C-83A1-F6EECF244321}">
                <p14:modId xmlns:p14="http://schemas.microsoft.com/office/powerpoint/2010/main" val="882586432"/>
              </p:ext>
            </p:extLst>
          </p:nvPr>
        </p:nvGraphicFramePr>
        <p:xfrm>
          <a:off x="736452" y="899324"/>
          <a:ext cx="7644497" cy="4315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9632918"/>
      </p:ext>
    </p:extLst>
  </p:cSld>
  <p:clrMapOvr>
    <a:masterClrMapping/>
  </p:clrMapOvr>
  <p:transition advClick="0"/>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extLst>
              <p:ext uri="{D42A27DB-BD31-4B8C-83A1-F6EECF244321}">
                <p14:modId xmlns:p14="http://schemas.microsoft.com/office/powerpoint/2010/main" val="1419608641"/>
              </p:ext>
            </p:extLst>
          </p:nvPr>
        </p:nvGraphicFramePr>
        <p:xfrm>
          <a:off x="3756248" y="1046830"/>
          <a:ext cx="4920208" cy="47742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图片 4"/>
          <p:cNvPicPr>
            <a:picLocks noChangeAspect="1"/>
          </p:cNvPicPr>
          <p:nvPr/>
        </p:nvPicPr>
        <p:blipFill>
          <a:blip r:embed="rId8"/>
          <a:stretch>
            <a:fillRect/>
          </a:stretch>
        </p:blipFill>
        <p:spPr>
          <a:xfrm>
            <a:off x="467544" y="2200610"/>
            <a:ext cx="3384376" cy="2812019"/>
          </a:xfrm>
          <a:prstGeom prst="rect">
            <a:avLst/>
          </a:prstGeom>
        </p:spPr>
      </p:pic>
      <p:sp>
        <p:nvSpPr>
          <p:cNvPr id="2" name="标题 1"/>
          <p:cNvSpPr>
            <a:spLocks noGrp="1"/>
          </p:cNvSpPr>
          <p:nvPr>
            <p:ph type="title"/>
          </p:nvPr>
        </p:nvSpPr>
        <p:spPr/>
        <p:txBody>
          <a:bodyPr/>
          <a:lstStyle/>
          <a:p>
            <a:r>
              <a:rPr lang="en-US" altLang="zh-CN" dirty="0" smtClean="0"/>
              <a:t>3.3 </a:t>
            </a:r>
            <a:r>
              <a:rPr lang="zh-CN" altLang="en-US" dirty="0" smtClean="0"/>
              <a:t>明确目标</a:t>
            </a:r>
            <a:endParaRPr lang="zh-CN" altLang="en-US" dirty="0"/>
          </a:p>
        </p:txBody>
      </p:sp>
    </p:spTree>
    <p:extLst>
      <p:ext uri="{BB962C8B-B14F-4D97-AF65-F5344CB8AC3E}">
        <p14:creationId xmlns:p14="http://schemas.microsoft.com/office/powerpoint/2010/main" val="4170911869"/>
      </p:ext>
    </p:extLst>
  </p:cSld>
  <p:clrMapOvr>
    <a:masterClrMapping/>
  </p:clrMapOvr>
  <p:transition advClick="0"/>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3 </a:t>
            </a:r>
            <a:r>
              <a:rPr lang="zh-CN" altLang="en-US" dirty="0" smtClean="0"/>
              <a:t>明确目标：入侵企图</a:t>
            </a:r>
            <a:endParaRPr lang="zh-CN" altLang="en-US" dirty="0"/>
          </a:p>
        </p:txBody>
      </p:sp>
      <p:graphicFrame>
        <p:nvGraphicFramePr>
          <p:cNvPr id="5" name="内容占位符 4"/>
          <p:cNvGraphicFramePr>
            <a:graphicFrameLocks noGrp="1"/>
          </p:cNvGraphicFramePr>
          <p:nvPr>
            <p:ph idx="1"/>
            <p:extLst>
              <p:ext uri="{D42A27DB-BD31-4B8C-83A1-F6EECF244321}">
                <p14:modId xmlns:p14="http://schemas.microsoft.com/office/powerpoint/2010/main" val="3277099348"/>
              </p:ext>
            </p:extLst>
          </p:nvPr>
        </p:nvGraphicFramePr>
        <p:xfrm>
          <a:off x="233362" y="1423283"/>
          <a:ext cx="8803133" cy="3824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4796087"/>
      </p:ext>
    </p:extLst>
  </p:cSld>
  <p:clrMapOvr>
    <a:masterClrMapping/>
  </p:clrMapOvr>
  <p:transition advClick="0"/>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4 </a:t>
            </a:r>
            <a:r>
              <a:rPr lang="zh-CN" altLang="en-US" dirty="0" smtClean="0"/>
              <a:t>控制目标</a:t>
            </a:r>
            <a:endParaRPr lang="zh-CN" altLang="en-US" dirty="0"/>
          </a:p>
        </p:txBody>
      </p:sp>
      <p:graphicFrame>
        <p:nvGraphicFramePr>
          <p:cNvPr id="5" name="图示 4"/>
          <p:cNvGraphicFramePr/>
          <p:nvPr>
            <p:extLst>
              <p:ext uri="{D42A27DB-BD31-4B8C-83A1-F6EECF244321}">
                <p14:modId xmlns:p14="http://schemas.microsoft.com/office/powerpoint/2010/main" val="2691450721"/>
              </p:ext>
            </p:extLst>
          </p:nvPr>
        </p:nvGraphicFramePr>
        <p:xfrm>
          <a:off x="394948" y="1052736"/>
          <a:ext cx="8339147" cy="4149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21147112"/>
      </p:ext>
    </p:extLst>
  </p:cSld>
  <p:clrMapOvr>
    <a:masterClrMapping/>
  </p:clrMapOvr>
  <p:transition advClick="0"/>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4 </a:t>
            </a:r>
            <a:r>
              <a:rPr lang="zh-CN" altLang="en-US" dirty="0" smtClean="0"/>
              <a:t>控制目标：嗅探踩点</a:t>
            </a:r>
            <a:endParaRPr lang="zh-CN" altLang="en-US" dirty="0"/>
          </a:p>
        </p:txBody>
      </p:sp>
      <p:graphicFrame>
        <p:nvGraphicFramePr>
          <p:cNvPr id="5" name="内容占位符 4"/>
          <p:cNvGraphicFramePr>
            <a:graphicFrameLocks noGrp="1"/>
          </p:cNvGraphicFramePr>
          <p:nvPr>
            <p:ph idx="1"/>
            <p:extLst>
              <p:ext uri="{D42A27DB-BD31-4B8C-83A1-F6EECF244321}">
                <p14:modId xmlns:p14="http://schemas.microsoft.com/office/powerpoint/2010/main" val="862425068"/>
              </p:ext>
            </p:extLst>
          </p:nvPr>
        </p:nvGraphicFramePr>
        <p:xfrm>
          <a:off x="863983" y="1137037"/>
          <a:ext cx="7542190" cy="40151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3572740"/>
      </p:ext>
    </p:extLst>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1.1 </a:t>
            </a:r>
            <a:r>
              <a:rPr lang="zh-CN" altLang="en-US" dirty="0" smtClean="0"/>
              <a:t>渗透测试：基本概念</a:t>
            </a:r>
            <a:endParaRPr lang="zh-CN" altLang="en-US" dirty="0"/>
          </a:p>
        </p:txBody>
      </p:sp>
      <p:graphicFrame>
        <p:nvGraphicFramePr>
          <p:cNvPr id="5" name="图示 4"/>
          <p:cNvGraphicFramePr/>
          <p:nvPr>
            <p:extLst>
              <p:ext uri="{D42A27DB-BD31-4B8C-83A1-F6EECF244321}">
                <p14:modId xmlns:p14="http://schemas.microsoft.com/office/powerpoint/2010/main" val="906115057"/>
              </p:ext>
            </p:extLst>
          </p:nvPr>
        </p:nvGraphicFramePr>
        <p:xfrm>
          <a:off x="611560" y="1725111"/>
          <a:ext cx="7848872" cy="4824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文本框 2"/>
          <p:cNvSpPr txBox="1"/>
          <p:nvPr/>
        </p:nvSpPr>
        <p:spPr>
          <a:xfrm>
            <a:off x="295565" y="849745"/>
            <a:ext cx="8663708" cy="1200329"/>
          </a:xfrm>
          <a:prstGeom prst="rect">
            <a:avLst/>
          </a:prstGeom>
        </p:spPr>
        <p:txBody>
          <a:bodyPr/>
          <a:lstStyle>
            <a:lvl1pPr marL="285750" indent="-285750" eaLnBrk="1" hangingPunct="1">
              <a:spcBef>
                <a:spcPct val="20000"/>
              </a:spcBef>
              <a:buFont typeface="Wingdings" panose="05000000000000000000" pitchFamily="2" charset="2"/>
              <a:buChar char="n"/>
              <a:defRPr sz="1800">
                <a:latin typeface="楷体" panose="02010609060101010101" pitchFamily="49" charset="-122"/>
                <a:ea typeface="楷体" panose="02010609060101010101" pitchFamily="49" charset="-122"/>
              </a:defRPr>
            </a:lvl1pPr>
            <a:lvl2pPr marL="742950" indent="-285750" eaLnBrk="1" hangingPunct="1">
              <a:spcBef>
                <a:spcPct val="20000"/>
              </a:spcBef>
              <a:buFont typeface="Wingdings" panose="05000000000000000000" pitchFamily="2" charset="2"/>
              <a:buChar char="l"/>
              <a:defRPr b="0">
                <a:latin typeface="楷体" panose="02010609060101010101" pitchFamily="49" charset="-122"/>
                <a:ea typeface="楷体" panose="02010609060101010101" pitchFamily="49" charset="-122"/>
              </a:defRPr>
            </a:lvl2pPr>
            <a:lvl3pPr marL="1143000" indent="-228600" eaLnBrk="1" hangingPunct="1">
              <a:spcBef>
                <a:spcPct val="20000"/>
              </a:spcBef>
              <a:buFont typeface="Wingdings" panose="05000000000000000000" pitchFamily="2" charset="2"/>
              <a:buChar char="Ø"/>
              <a:defRPr sz="1400">
                <a:latin typeface="楷体" panose="02010609060101010101" pitchFamily="49" charset="-122"/>
                <a:ea typeface="楷体" panose="02010609060101010101" pitchFamily="49" charset="-122"/>
              </a:defRPr>
            </a:lvl3pPr>
            <a:lvl4pPr marL="1600200" indent="-228600" eaLnBrk="1" hangingPunct="1">
              <a:spcBef>
                <a:spcPct val="20000"/>
              </a:spcBef>
              <a:buFont typeface="Wingdings" panose="05000000000000000000" pitchFamily="2" charset="2"/>
              <a:buChar char="ü"/>
              <a:defRPr sz="1400">
                <a:latin typeface="楷体" panose="02010609060101010101" pitchFamily="49" charset="-122"/>
                <a:ea typeface="楷体" panose="02010609060101010101" pitchFamily="49" charset="-122"/>
              </a:defRPr>
            </a:lvl4pPr>
            <a:lvl5pPr marL="2057400" indent="-228600" eaLnBrk="1" hangingPunct="1">
              <a:spcBef>
                <a:spcPct val="20000"/>
              </a:spcBef>
              <a:buChar char="»"/>
              <a:defRPr sz="1400">
                <a:latin typeface="楷体" panose="02010609060101010101" pitchFamily="49" charset="-122"/>
                <a:ea typeface="楷体" panose="02010609060101010101" pitchFamily="49" charset="-122"/>
              </a:defRPr>
            </a:lvl5pPr>
            <a:lvl6pPr marL="2514600" indent="-228600" fontAlgn="base">
              <a:spcBef>
                <a:spcPct val="20000"/>
              </a:spcBef>
              <a:spcAft>
                <a:spcPct val="0"/>
              </a:spcAft>
              <a:buChar char="»"/>
              <a:defRPr>
                <a:latin typeface="+mn-lt"/>
                <a:ea typeface="+mn-ea"/>
              </a:defRPr>
            </a:lvl6pPr>
            <a:lvl7pPr marL="2971800" indent="-228600" fontAlgn="base">
              <a:spcBef>
                <a:spcPct val="20000"/>
              </a:spcBef>
              <a:spcAft>
                <a:spcPct val="0"/>
              </a:spcAft>
              <a:buChar char="»"/>
              <a:defRPr>
                <a:latin typeface="+mn-lt"/>
                <a:ea typeface="+mn-ea"/>
              </a:defRPr>
            </a:lvl7pPr>
            <a:lvl8pPr marL="3429000" indent="-228600" fontAlgn="base">
              <a:spcBef>
                <a:spcPct val="20000"/>
              </a:spcBef>
              <a:spcAft>
                <a:spcPct val="0"/>
              </a:spcAft>
              <a:buChar char="»"/>
              <a:defRPr>
                <a:latin typeface="+mn-lt"/>
                <a:ea typeface="+mn-ea"/>
              </a:defRPr>
            </a:lvl8pPr>
            <a:lvl9pPr marL="3886200" indent="-228600" fontAlgn="base">
              <a:spcBef>
                <a:spcPct val="20000"/>
              </a:spcBef>
              <a:spcAft>
                <a:spcPct val="0"/>
              </a:spcAft>
              <a:buChar char="»"/>
              <a:defRPr>
                <a:latin typeface="+mn-lt"/>
                <a:ea typeface="+mn-ea"/>
              </a:defRPr>
            </a:lvl9pPr>
          </a:lstStyle>
          <a:p>
            <a:r>
              <a:rPr lang="zh-CN" altLang="en-US" dirty="0" smtClean="0"/>
              <a:t>渗透</a:t>
            </a:r>
            <a:r>
              <a:rPr lang="zh-CN" altLang="en-US" dirty="0"/>
              <a:t>测试是通过模拟恶意黑客的攻击方法，来评估计算机网络系统安全的一种评估方法。这个过程包括对系统的任何弱点、技术缺陷或漏洞的主动分析，这个分析是从一个攻击者可能存在的位置来进行的，并且从这个位置有条件主动利用安全漏洞。</a:t>
            </a:r>
          </a:p>
        </p:txBody>
      </p:sp>
    </p:spTree>
    <p:extLst>
      <p:ext uri="{BB962C8B-B14F-4D97-AF65-F5344CB8AC3E}">
        <p14:creationId xmlns:p14="http://schemas.microsoft.com/office/powerpoint/2010/main" val="3279433832"/>
      </p:ext>
    </p:extLst>
  </p:cSld>
  <p:clrMapOvr>
    <a:masterClrMapping/>
  </p:clrMapOvr>
  <p:transition advClick="0"/>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4 </a:t>
            </a:r>
            <a:r>
              <a:rPr lang="zh-CN" altLang="en-US" dirty="0" smtClean="0"/>
              <a:t>控制目标：精准定位</a:t>
            </a:r>
            <a:endParaRPr lang="zh-CN" altLang="en-US" dirty="0"/>
          </a:p>
        </p:txBody>
      </p:sp>
      <p:graphicFrame>
        <p:nvGraphicFramePr>
          <p:cNvPr id="5" name="内容占位符 4"/>
          <p:cNvGraphicFramePr>
            <a:graphicFrameLocks noGrp="1"/>
          </p:cNvGraphicFramePr>
          <p:nvPr>
            <p:ph idx="1"/>
            <p:extLst>
              <p:ext uri="{D42A27DB-BD31-4B8C-83A1-F6EECF244321}">
                <p14:modId xmlns:p14="http://schemas.microsoft.com/office/powerpoint/2010/main" val="4067367209"/>
              </p:ext>
            </p:extLst>
          </p:nvPr>
        </p:nvGraphicFramePr>
        <p:xfrm>
          <a:off x="952269" y="1176797"/>
          <a:ext cx="7308860" cy="42654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9941517"/>
      </p:ext>
    </p:extLst>
  </p:cSld>
  <p:clrMapOvr>
    <a:masterClrMapping/>
  </p:clrMapOvr>
  <p:transition advClick="0"/>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8537" y="87929"/>
            <a:ext cx="6733951" cy="609600"/>
          </a:xfrm>
        </p:spPr>
        <p:txBody>
          <a:bodyPr/>
          <a:lstStyle/>
          <a:p>
            <a:r>
              <a:rPr lang="en-US" altLang="zh-CN" dirty="0" smtClean="0"/>
              <a:t>3.4 </a:t>
            </a:r>
            <a:r>
              <a:rPr lang="zh-CN" altLang="en-US" dirty="0" smtClean="0"/>
              <a:t>控制目标：精准定位</a:t>
            </a:r>
            <a:r>
              <a:rPr lang="en-US" altLang="zh-CN" dirty="0" smtClean="0"/>
              <a:t>—</a:t>
            </a:r>
            <a:r>
              <a:rPr lang="zh-CN" altLang="en-US" dirty="0" smtClean="0"/>
              <a:t>入侵环境</a:t>
            </a:r>
            <a:endParaRPr lang="zh-CN" altLang="en-US" dirty="0"/>
          </a:p>
        </p:txBody>
      </p:sp>
      <p:graphicFrame>
        <p:nvGraphicFramePr>
          <p:cNvPr id="5" name="图示 4"/>
          <p:cNvGraphicFramePr/>
          <p:nvPr>
            <p:extLst>
              <p:ext uri="{D42A27DB-BD31-4B8C-83A1-F6EECF244321}">
                <p14:modId xmlns:p14="http://schemas.microsoft.com/office/powerpoint/2010/main" val="4274102862"/>
              </p:ext>
            </p:extLst>
          </p:nvPr>
        </p:nvGraphicFramePr>
        <p:xfrm>
          <a:off x="327922" y="1397000"/>
          <a:ext cx="8500767" cy="37930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38710884"/>
      </p:ext>
    </p:extLst>
  </p:cSld>
  <p:clrMapOvr>
    <a:masterClrMapping/>
  </p:clrMapOvr>
  <p:transition advClick="0"/>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8871" y="87929"/>
            <a:ext cx="6589935" cy="609600"/>
          </a:xfrm>
        </p:spPr>
        <p:txBody>
          <a:bodyPr/>
          <a:lstStyle/>
          <a:p>
            <a:r>
              <a:rPr lang="en-US" altLang="zh-CN" dirty="0" smtClean="0"/>
              <a:t>3.4 </a:t>
            </a:r>
            <a:r>
              <a:rPr lang="zh-CN" altLang="en-US" dirty="0" smtClean="0"/>
              <a:t>控制目标：入侵环境和嗅探踩点</a:t>
            </a:r>
            <a:endParaRPr lang="zh-CN" altLang="en-US" dirty="0"/>
          </a:p>
        </p:txBody>
      </p:sp>
      <p:graphicFrame>
        <p:nvGraphicFramePr>
          <p:cNvPr id="5" name="图示 4"/>
          <p:cNvGraphicFramePr/>
          <p:nvPr>
            <p:extLst>
              <p:ext uri="{D42A27DB-BD31-4B8C-83A1-F6EECF244321}">
                <p14:modId xmlns:p14="http://schemas.microsoft.com/office/powerpoint/2010/main" val="3241546490"/>
              </p:ext>
            </p:extLst>
          </p:nvPr>
        </p:nvGraphicFramePr>
        <p:xfrm>
          <a:off x="1198077" y="1397000"/>
          <a:ext cx="7113499" cy="38031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73651697"/>
      </p:ext>
    </p:extLst>
  </p:cSld>
  <p:clrMapOvr>
    <a:masterClrMapping/>
  </p:clrMapOvr>
  <p:transition advClick="0"/>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4 </a:t>
            </a:r>
            <a:r>
              <a:rPr lang="zh-CN" altLang="en-US" dirty="0" smtClean="0"/>
              <a:t>控制目标：精确打击</a:t>
            </a:r>
            <a:endParaRPr lang="zh-CN" altLang="en-US" dirty="0"/>
          </a:p>
        </p:txBody>
      </p:sp>
      <p:graphicFrame>
        <p:nvGraphicFramePr>
          <p:cNvPr id="6" name="内容占位符 5"/>
          <p:cNvGraphicFramePr>
            <a:graphicFrameLocks noGrp="1"/>
          </p:cNvGraphicFramePr>
          <p:nvPr>
            <p:ph idx="1"/>
            <p:extLst>
              <p:ext uri="{D42A27DB-BD31-4B8C-83A1-F6EECF244321}">
                <p14:modId xmlns:p14="http://schemas.microsoft.com/office/powerpoint/2010/main" val="4205729009"/>
              </p:ext>
            </p:extLst>
          </p:nvPr>
        </p:nvGraphicFramePr>
        <p:xfrm>
          <a:off x="1210826" y="1570245"/>
          <a:ext cx="6066537" cy="36702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27987466"/>
      </p:ext>
    </p:extLst>
  </p:cSld>
  <p:clrMapOvr>
    <a:masterClrMapping/>
  </p:clrMapOvr>
  <p:transition advClick="0"/>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194167" cy="561975"/>
          </a:xfrm>
        </p:spPr>
        <p:txBody>
          <a:bodyPr/>
          <a:lstStyle/>
          <a:p>
            <a:r>
              <a:rPr lang="en-US" altLang="zh-CN" dirty="0" smtClean="0"/>
              <a:t>3.4 </a:t>
            </a:r>
            <a:r>
              <a:rPr lang="zh-CN" altLang="en-US" dirty="0" smtClean="0"/>
              <a:t>控制目标：漏洞利用</a:t>
            </a:r>
            <a:r>
              <a:rPr lang="en-US" altLang="zh-CN" dirty="0" smtClean="0"/>
              <a:t>—</a:t>
            </a:r>
            <a:r>
              <a:rPr lang="zh-CN" altLang="en-US" dirty="0" smtClean="0"/>
              <a:t>不同层面的安全漏洞</a:t>
            </a:r>
            <a:endParaRPr lang="zh-CN" altLang="en-US" dirty="0"/>
          </a:p>
        </p:txBody>
      </p:sp>
      <p:graphicFrame>
        <p:nvGraphicFramePr>
          <p:cNvPr id="4" name="内容占位符 3"/>
          <p:cNvGraphicFramePr>
            <a:graphicFrameLocks noGrp="1"/>
          </p:cNvGraphicFramePr>
          <p:nvPr>
            <p:ph idx="1"/>
            <p:extLst>
              <p:ext uri="{D42A27DB-BD31-4B8C-83A1-F6EECF244321}">
                <p14:modId xmlns:p14="http://schemas.microsoft.com/office/powerpoint/2010/main" val="1993766252"/>
              </p:ext>
            </p:extLst>
          </p:nvPr>
        </p:nvGraphicFramePr>
        <p:xfrm>
          <a:off x="1268125" y="973585"/>
          <a:ext cx="6557877" cy="45821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31057924"/>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15649" y="96318"/>
            <a:ext cx="7486781" cy="609600"/>
          </a:xfrm>
        </p:spPr>
        <p:txBody>
          <a:bodyPr/>
          <a:lstStyle/>
          <a:p>
            <a:r>
              <a:rPr lang="en-US" altLang="zh-CN" dirty="0" smtClean="0"/>
              <a:t>3.4 </a:t>
            </a:r>
            <a:r>
              <a:rPr lang="zh-CN" altLang="en-US" dirty="0" smtClean="0"/>
              <a:t>控制目标：漏洞利用</a:t>
            </a:r>
            <a:r>
              <a:rPr lang="en-US" altLang="zh-CN" dirty="0" smtClean="0"/>
              <a:t>—</a:t>
            </a:r>
            <a:r>
              <a:rPr lang="zh-CN" altLang="en-US" dirty="0" smtClean="0"/>
              <a:t>技术层面常见的漏洞对象</a:t>
            </a:r>
            <a:endParaRPr lang="zh-CN" altLang="en-US" dirty="0"/>
          </a:p>
        </p:txBody>
      </p:sp>
      <p:graphicFrame>
        <p:nvGraphicFramePr>
          <p:cNvPr id="8" name="图示 7"/>
          <p:cNvGraphicFramePr/>
          <p:nvPr>
            <p:extLst>
              <p:ext uri="{D42A27DB-BD31-4B8C-83A1-F6EECF244321}">
                <p14:modId xmlns:p14="http://schemas.microsoft.com/office/powerpoint/2010/main" val="3740167815"/>
              </p:ext>
            </p:extLst>
          </p:nvPr>
        </p:nvGraphicFramePr>
        <p:xfrm>
          <a:off x="601000" y="1191872"/>
          <a:ext cx="7950215" cy="44206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25051644"/>
      </p:ext>
    </p:extLst>
  </p:cSld>
  <p:clrMapOvr>
    <a:masterClrMapping/>
  </p:clrMapOvr>
  <p:transition advClick="0"/>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69" y="132671"/>
            <a:ext cx="8301513" cy="561975"/>
          </a:xfrm>
        </p:spPr>
        <p:txBody>
          <a:bodyPr/>
          <a:lstStyle/>
          <a:p>
            <a:r>
              <a:rPr lang="en-US" altLang="zh-CN" dirty="0" smtClean="0"/>
              <a:t>3.4 </a:t>
            </a:r>
            <a:r>
              <a:rPr lang="zh-CN" altLang="en-US" dirty="0"/>
              <a:t>控制目标：漏洞利用</a:t>
            </a:r>
            <a:r>
              <a:rPr lang="en-US" altLang="zh-CN" dirty="0"/>
              <a:t>—</a:t>
            </a:r>
            <a:r>
              <a:rPr lang="zh-CN" altLang="en-US" dirty="0"/>
              <a:t>技术层面</a:t>
            </a:r>
            <a:r>
              <a:rPr lang="en-US" altLang="zh-CN" dirty="0"/>
              <a:t>—</a:t>
            </a:r>
            <a:r>
              <a:rPr lang="zh-CN" altLang="en-US" dirty="0" smtClean="0"/>
              <a:t>应用程序安全漏洞</a:t>
            </a:r>
            <a:endParaRPr lang="zh-CN" altLang="en-US" dirty="0"/>
          </a:p>
        </p:txBody>
      </p:sp>
      <p:sp>
        <p:nvSpPr>
          <p:cNvPr id="3" name="内容占位符 2"/>
          <p:cNvSpPr>
            <a:spLocks noGrp="1"/>
          </p:cNvSpPr>
          <p:nvPr>
            <p:ph idx="1"/>
          </p:nvPr>
        </p:nvSpPr>
        <p:spPr>
          <a:xfrm>
            <a:off x="397870" y="771787"/>
            <a:ext cx="8393791" cy="1602297"/>
          </a:xfrm>
        </p:spPr>
        <p:txBody>
          <a:bodyPr/>
          <a:lstStyle/>
          <a:p>
            <a:r>
              <a:rPr lang="zh-CN" altLang="en-US" dirty="0" smtClean="0"/>
              <a:t>应用程序安全漏洞：</a:t>
            </a:r>
            <a:endParaRPr lang="en-US" altLang="zh-CN" dirty="0" smtClean="0"/>
          </a:p>
          <a:p>
            <a:pPr lvl="1"/>
            <a:r>
              <a:rPr lang="zh-CN" altLang="en-US" dirty="0" smtClean="0"/>
              <a:t>攻击者可以通过应用程序中许多不同的路径方法去危害您的业务或者企业组织。每种路径方法都代表一种风险，这些风险可能会，也可能不会严重到值得你去关注。</a:t>
            </a:r>
            <a:endParaRPr lang="en-US" altLang="zh-CN" dirty="0" smtClean="0"/>
          </a:p>
        </p:txBody>
      </p:sp>
      <p:pic>
        <p:nvPicPr>
          <p:cNvPr id="5" name="图片 4"/>
          <p:cNvPicPr>
            <a:picLocks noChangeAspect="1"/>
          </p:cNvPicPr>
          <p:nvPr/>
        </p:nvPicPr>
        <p:blipFill>
          <a:blip r:embed="rId3"/>
          <a:stretch>
            <a:fillRect/>
          </a:stretch>
        </p:blipFill>
        <p:spPr>
          <a:xfrm>
            <a:off x="210658" y="2144347"/>
            <a:ext cx="8732006" cy="3676650"/>
          </a:xfrm>
          <a:prstGeom prst="rect">
            <a:avLst/>
          </a:prstGeom>
        </p:spPr>
      </p:pic>
    </p:spTree>
    <p:extLst>
      <p:ext uri="{BB962C8B-B14F-4D97-AF65-F5344CB8AC3E}">
        <p14:creationId xmlns:p14="http://schemas.microsoft.com/office/powerpoint/2010/main" val="2339880372"/>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8041455" cy="561975"/>
          </a:xfrm>
        </p:spPr>
        <p:txBody>
          <a:bodyPr/>
          <a:lstStyle/>
          <a:p>
            <a:r>
              <a:rPr lang="en-US" altLang="zh-CN" dirty="0" smtClean="0"/>
              <a:t>3.4 </a:t>
            </a:r>
            <a:r>
              <a:rPr lang="zh-CN" altLang="en-US" dirty="0" smtClean="0"/>
              <a:t>控制</a:t>
            </a:r>
            <a:r>
              <a:rPr lang="zh-CN" altLang="en-US" dirty="0"/>
              <a:t>目标：漏洞利用</a:t>
            </a:r>
            <a:r>
              <a:rPr lang="en-US" altLang="zh-CN" dirty="0"/>
              <a:t>—</a:t>
            </a:r>
            <a:r>
              <a:rPr lang="zh-CN" altLang="en-US" dirty="0"/>
              <a:t>技术层面</a:t>
            </a:r>
            <a:r>
              <a:rPr lang="en-US" altLang="zh-CN" dirty="0"/>
              <a:t>—</a:t>
            </a:r>
            <a:r>
              <a:rPr lang="zh-CN" altLang="en-US" dirty="0"/>
              <a:t>应用程序安全漏洞</a:t>
            </a:r>
          </a:p>
        </p:txBody>
      </p:sp>
      <p:sp>
        <p:nvSpPr>
          <p:cNvPr id="3" name="内容占位符 2"/>
          <p:cNvSpPr>
            <a:spLocks noGrp="1"/>
          </p:cNvSpPr>
          <p:nvPr>
            <p:ph idx="1"/>
          </p:nvPr>
        </p:nvSpPr>
        <p:spPr/>
        <p:txBody>
          <a:bodyPr/>
          <a:lstStyle/>
          <a:p>
            <a:r>
              <a:rPr lang="en-US" altLang="zh-CN" dirty="0"/>
              <a:t>OWASP TOP 10</a:t>
            </a:r>
          </a:p>
          <a:p>
            <a:pPr lvl="1"/>
            <a:r>
              <a:rPr lang="zh-CN" altLang="en-US" dirty="0"/>
              <a:t>注入</a:t>
            </a:r>
          </a:p>
          <a:p>
            <a:pPr lvl="1"/>
            <a:r>
              <a:rPr lang="zh-CN" altLang="en-US" dirty="0"/>
              <a:t>失效的身份认证和会话管理</a:t>
            </a:r>
          </a:p>
          <a:p>
            <a:pPr lvl="1"/>
            <a:r>
              <a:rPr lang="zh-CN" altLang="en-US" dirty="0"/>
              <a:t>跨站脚本（</a:t>
            </a:r>
            <a:r>
              <a:rPr lang="en-US" altLang="zh-CN" dirty="0"/>
              <a:t>XSS</a:t>
            </a:r>
            <a:r>
              <a:rPr lang="zh-CN" altLang="en-US" dirty="0"/>
              <a:t>）</a:t>
            </a:r>
          </a:p>
          <a:p>
            <a:pPr lvl="1"/>
            <a:r>
              <a:rPr lang="zh-CN" altLang="en-US" dirty="0"/>
              <a:t>不安全的直接对象引用</a:t>
            </a:r>
          </a:p>
          <a:p>
            <a:pPr lvl="1"/>
            <a:r>
              <a:rPr lang="zh-CN" altLang="en-US" dirty="0"/>
              <a:t>安全配置错误</a:t>
            </a:r>
          </a:p>
          <a:p>
            <a:pPr lvl="1"/>
            <a:r>
              <a:rPr lang="zh-CN" altLang="en-US" dirty="0"/>
              <a:t>敏感信息泄漏</a:t>
            </a:r>
          </a:p>
          <a:p>
            <a:pPr lvl="1"/>
            <a:r>
              <a:rPr lang="zh-CN" altLang="en-US" dirty="0"/>
              <a:t>功能级访问控制缺失</a:t>
            </a:r>
          </a:p>
          <a:p>
            <a:pPr lvl="1"/>
            <a:r>
              <a:rPr lang="zh-CN" altLang="en-US" dirty="0"/>
              <a:t>跨站请求伪造（</a:t>
            </a:r>
            <a:r>
              <a:rPr lang="en-US" altLang="zh-CN" dirty="0"/>
              <a:t>CSRF</a:t>
            </a:r>
            <a:r>
              <a:rPr lang="zh-CN" altLang="en-US" dirty="0"/>
              <a:t>）</a:t>
            </a:r>
          </a:p>
          <a:p>
            <a:pPr lvl="1"/>
            <a:r>
              <a:rPr lang="zh-CN" altLang="en-US" dirty="0"/>
              <a:t>使用含有已知漏洞的组件</a:t>
            </a:r>
          </a:p>
          <a:p>
            <a:pPr lvl="1"/>
            <a:r>
              <a:rPr lang="zh-CN" altLang="en-US" dirty="0"/>
              <a:t>未验证的重定向和转发</a:t>
            </a:r>
            <a:endParaRPr lang="en-US" altLang="zh-CN" dirty="0"/>
          </a:p>
          <a:p>
            <a:r>
              <a:rPr lang="zh-CN" altLang="en-US" dirty="0"/>
              <a:t>了解：</a:t>
            </a:r>
            <a:endParaRPr lang="en-US" altLang="zh-CN" dirty="0"/>
          </a:p>
          <a:p>
            <a:pPr lvl="1"/>
            <a:r>
              <a:rPr lang="en-US" altLang="zh-CN" dirty="0"/>
              <a:t>OWASP</a:t>
            </a:r>
            <a:r>
              <a:rPr lang="zh-CN" altLang="en-US" dirty="0"/>
              <a:t>：</a:t>
            </a:r>
            <a:r>
              <a:rPr lang="en-US" altLang="zh-CN" dirty="0"/>
              <a:t>https://www.owasp.org/index.php/Main_Page</a:t>
            </a:r>
          </a:p>
          <a:p>
            <a:pPr lvl="1"/>
            <a:r>
              <a:rPr lang="en-US" altLang="zh-CN" dirty="0"/>
              <a:t>OWASP</a:t>
            </a:r>
            <a:r>
              <a:rPr lang="zh-CN" altLang="en-US" dirty="0"/>
              <a:t>中国：</a:t>
            </a:r>
            <a:r>
              <a:rPr lang="en-US" altLang="zh-CN" dirty="0"/>
              <a:t>http://www.owasp.org.cn/</a:t>
            </a:r>
            <a:endParaRPr lang="zh-CN" altLang="en-US" dirty="0"/>
          </a:p>
          <a:p>
            <a:endParaRPr lang="zh-CN" altLang="en-US" dirty="0"/>
          </a:p>
        </p:txBody>
      </p:sp>
      <p:pic>
        <p:nvPicPr>
          <p:cNvPr id="4" name="图片 3"/>
          <p:cNvPicPr>
            <a:picLocks noChangeAspect="1"/>
          </p:cNvPicPr>
          <p:nvPr/>
        </p:nvPicPr>
        <p:blipFill>
          <a:blip r:embed="rId3"/>
          <a:stretch>
            <a:fillRect/>
          </a:stretch>
        </p:blipFill>
        <p:spPr>
          <a:xfrm>
            <a:off x="397870" y="2538663"/>
            <a:ext cx="8360235" cy="3714499"/>
          </a:xfrm>
          <a:prstGeom prst="rect">
            <a:avLst/>
          </a:prstGeom>
        </p:spPr>
      </p:pic>
    </p:spTree>
    <p:extLst>
      <p:ext uri="{BB962C8B-B14F-4D97-AF65-F5344CB8AC3E}">
        <p14:creationId xmlns:p14="http://schemas.microsoft.com/office/powerpoint/2010/main" val="196319959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512948" cy="561975"/>
          </a:xfrm>
        </p:spPr>
        <p:txBody>
          <a:bodyPr/>
          <a:lstStyle/>
          <a:p>
            <a:r>
              <a:rPr lang="en-US" altLang="zh-CN" dirty="0" smtClean="0"/>
              <a:t>3.4 </a:t>
            </a:r>
            <a:r>
              <a:rPr lang="zh-CN" altLang="en-US" dirty="0"/>
              <a:t>控制目标：漏洞利用</a:t>
            </a:r>
            <a:r>
              <a:rPr lang="en-US" altLang="zh-CN" dirty="0"/>
              <a:t>—</a:t>
            </a:r>
            <a:r>
              <a:rPr lang="zh-CN" altLang="en-US" dirty="0"/>
              <a:t>技术层面</a:t>
            </a:r>
            <a:r>
              <a:rPr lang="en-US" altLang="zh-CN" dirty="0"/>
              <a:t>—</a:t>
            </a:r>
            <a:r>
              <a:rPr lang="zh-CN" altLang="en-US" dirty="0" smtClean="0"/>
              <a:t>网络漏洞</a:t>
            </a:r>
            <a:endParaRPr lang="zh-CN" altLang="en-US" dirty="0"/>
          </a:p>
        </p:txBody>
      </p:sp>
      <p:sp>
        <p:nvSpPr>
          <p:cNvPr id="3" name="内容占位符 2"/>
          <p:cNvSpPr>
            <a:spLocks noGrp="1"/>
          </p:cNvSpPr>
          <p:nvPr>
            <p:ph idx="1"/>
          </p:nvPr>
        </p:nvSpPr>
        <p:spPr/>
        <p:txBody>
          <a:bodyPr/>
          <a:lstStyle/>
          <a:p>
            <a:r>
              <a:rPr lang="zh-CN" altLang="en-US" dirty="0" smtClean="0"/>
              <a:t>网络漏洞：指网络架构、网络设备、安全设备等企业网络存在的安全漏洞，导致网络防护措施失效。</a:t>
            </a:r>
            <a:endParaRPr lang="en-US" altLang="zh-CN" dirty="0" smtClean="0"/>
          </a:p>
          <a:p>
            <a:pPr lvl="1"/>
            <a:r>
              <a:rPr lang="zh-CN" altLang="en-US" dirty="0" smtClean="0"/>
              <a:t>网络运维、管理层面：边界防火墙、</a:t>
            </a:r>
            <a:r>
              <a:rPr lang="en-US" altLang="zh-CN" dirty="0" smtClean="0"/>
              <a:t>IDS</a:t>
            </a:r>
            <a:r>
              <a:rPr lang="zh-CN" altLang="en-US" dirty="0" smtClean="0"/>
              <a:t>等设备部署不到位、安全策略缺陷等；</a:t>
            </a:r>
            <a:endParaRPr lang="en-US" altLang="zh-CN" dirty="0" smtClean="0"/>
          </a:p>
          <a:p>
            <a:pPr lvl="1"/>
            <a:r>
              <a:rPr lang="zh-CN" altLang="en-US" dirty="0" smtClean="0"/>
              <a:t>产品漏洞：使用的缺乏维护的操作系统（主要为低版本</a:t>
            </a:r>
            <a:r>
              <a:rPr lang="en-US" altLang="zh-CN" dirty="0" smtClean="0"/>
              <a:t>Linux</a:t>
            </a:r>
            <a:r>
              <a:rPr lang="zh-CN" altLang="en-US" dirty="0" smtClean="0"/>
              <a:t>内核）和</a:t>
            </a:r>
            <a:r>
              <a:rPr lang="en-US" altLang="zh-CN" dirty="0" smtClean="0"/>
              <a:t>Web</a:t>
            </a:r>
            <a:r>
              <a:rPr lang="zh-CN" altLang="en-US" dirty="0" smtClean="0"/>
              <a:t>管理接口漏洞。</a:t>
            </a:r>
            <a:endParaRPr lang="en-US" altLang="zh-CN" dirty="0" smtClean="0"/>
          </a:p>
          <a:p>
            <a:r>
              <a:rPr lang="zh-CN" altLang="en-US" dirty="0" smtClean="0"/>
              <a:t>危害</a:t>
            </a:r>
            <a:r>
              <a:rPr lang="zh-CN" altLang="en-US" dirty="0"/>
              <a:t>：</a:t>
            </a:r>
            <a:endParaRPr lang="en-US" altLang="zh-CN" dirty="0"/>
          </a:p>
          <a:p>
            <a:pPr lvl="1"/>
            <a:r>
              <a:rPr lang="zh-CN" altLang="en-US" dirty="0"/>
              <a:t>整改网络被控制，网络防护措施失效。</a:t>
            </a:r>
            <a:endParaRPr lang="en-US" altLang="zh-CN" dirty="0"/>
          </a:p>
          <a:p>
            <a:pPr lvl="1"/>
            <a:endParaRPr lang="en-US" altLang="zh-CN" dirty="0"/>
          </a:p>
          <a:p>
            <a:endParaRPr lang="en-US" altLang="zh-CN" dirty="0"/>
          </a:p>
          <a:p>
            <a:pPr lvl="1"/>
            <a:endParaRPr lang="en-US" altLang="zh-CN" dirty="0" smtClean="0"/>
          </a:p>
        </p:txBody>
      </p:sp>
      <p:grpSp>
        <p:nvGrpSpPr>
          <p:cNvPr id="6" name="组合 5"/>
          <p:cNvGrpSpPr/>
          <p:nvPr/>
        </p:nvGrpSpPr>
        <p:grpSpPr>
          <a:xfrm>
            <a:off x="397868" y="3556932"/>
            <a:ext cx="6096002" cy="2767263"/>
            <a:chOff x="397868" y="3556932"/>
            <a:chExt cx="6096002" cy="2767263"/>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870" y="3556932"/>
              <a:ext cx="6096000" cy="2767263"/>
            </a:xfrm>
            <a:prstGeom prst="rect">
              <a:avLst/>
            </a:prstGeom>
          </p:spPr>
        </p:pic>
        <p:sp>
          <p:nvSpPr>
            <p:cNvPr id="5" name="圆角矩形 4"/>
            <p:cNvSpPr/>
            <p:nvPr/>
          </p:nvSpPr>
          <p:spPr bwMode="auto">
            <a:xfrm>
              <a:off x="397868" y="3556932"/>
              <a:ext cx="6096001" cy="401457"/>
            </a:xfrm>
            <a:prstGeom prst="roundRect">
              <a:avLst/>
            </a:prstGeom>
            <a:solidFill>
              <a:srgbClr val="FF000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algn="ctr"/>
              <a:r>
                <a:rPr lang="zh-CN" altLang="en-US" dirty="0"/>
                <a:t>海康威视安全事件原因曝光 监控设备漏洞或引发敏感信息泄露</a:t>
              </a:r>
            </a:p>
            <a:p>
              <a:pPr algn="ctr"/>
              <a:endParaRPr lang="zh-CN" altLang="en-US" dirty="0" smtClean="0">
                <a:ln>
                  <a:solidFill>
                    <a:srgbClr val="FF0000"/>
                  </a:solidFill>
                </a:ln>
              </a:endParaRPr>
            </a:p>
          </p:txBody>
        </p:sp>
      </p:grpSp>
      <p:grpSp>
        <p:nvGrpSpPr>
          <p:cNvPr id="9" name="组合 8"/>
          <p:cNvGrpSpPr/>
          <p:nvPr/>
        </p:nvGrpSpPr>
        <p:grpSpPr>
          <a:xfrm>
            <a:off x="2297648" y="3556932"/>
            <a:ext cx="6460457" cy="2862286"/>
            <a:chOff x="2297648" y="3556932"/>
            <a:chExt cx="6460457" cy="2862286"/>
          </a:xfrm>
        </p:grpSpPr>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7648" y="3556932"/>
              <a:ext cx="6460457" cy="2862286"/>
            </a:xfrm>
            <a:prstGeom prst="rect">
              <a:avLst/>
            </a:prstGeom>
          </p:spPr>
        </p:pic>
        <p:sp>
          <p:nvSpPr>
            <p:cNvPr id="8" name="圆角矩形 7"/>
            <p:cNvSpPr/>
            <p:nvPr/>
          </p:nvSpPr>
          <p:spPr bwMode="auto">
            <a:xfrm>
              <a:off x="2322094" y="3705726"/>
              <a:ext cx="5498431" cy="445169"/>
            </a:xfrm>
            <a:prstGeom prst="roundRect">
              <a:avLst/>
            </a:prstGeom>
            <a:solidFill>
              <a:srgbClr val="FF000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algn="ctr"/>
              <a:r>
                <a:rPr lang="zh-CN" altLang="en-US" b="0" dirty="0"/>
                <a:t>漏洞名称：</a:t>
              </a:r>
              <a:r>
                <a:rPr lang="en-US" altLang="zh-CN" b="0" dirty="0"/>
                <a:t>D-Link</a:t>
              </a:r>
              <a:r>
                <a:rPr lang="zh-CN" altLang="en-US" b="0" dirty="0"/>
                <a:t>无线路由器远程命令执行漏洞</a:t>
              </a:r>
              <a:endParaRPr lang="zh-CN" altLang="en-US" dirty="0" smtClean="0">
                <a:ln>
                  <a:solidFill>
                    <a:srgbClr val="FF0000"/>
                  </a:solidFill>
                </a:ln>
              </a:endParaRPr>
            </a:p>
          </p:txBody>
        </p:sp>
      </p:grpSp>
    </p:spTree>
    <p:extLst>
      <p:ext uri="{BB962C8B-B14F-4D97-AF65-F5344CB8AC3E}">
        <p14:creationId xmlns:p14="http://schemas.microsoft.com/office/powerpoint/2010/main" val="272464494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731062" cy="561975"/>
          </a:xfrm>
        </p:spPr>
        <p:txBody>
          <a:bodyPr/>
          <a:lstStyle/>
          <a:p>
            <a:r>
              <a:rPr lang="en-US" altLang="zh-CN" dirty="0" smtClean="0"/>
              <a:t>3.4 </a:t>
            </a:r>
            <a:r>
              <a:rPr lang="zh-CN" altLang="en-US" dirty="0"/>
              <a:t>控制目标：漏洞利用</a:t>
            </a:r>
            <a:r>
              <a:rPr lang="en-US" altLang="zh-CN" dirty="0"/>
              <a:t>—</a:t>
            </a:r>
            <a:r>
              <a:rPr lang="zh-CN" altLang="en-US" dirty="0"/>
              <a:t>技术层面</a:t>
            </a:r>
            <a:r>
              <a:rPr lang="en-US" altLang="zh-CN" dirty="0"/>
              <a:t>—</a:t>
            </a:r>
            <a:r>
              <a:rPr lang="zh-CN" altLang="en-US" dirty="0" smtClean="0"/>
              <a:t>操作系统漏洞</a:t>
            </a:r>
            <a:endParaRPr lang="zh-CN" altLang="en-US" dirty="0"/>
          </a:p>
        </p:txBody>
      </p:sp>
      <p:sp>
        <p:nvSpPr>
          <p:cNvPr id="3" name="内容占位符 2"/>
          <p:cNvSpPr>
            <a:spLocks noGrp="1"/>
          </p:cNvSpPr>
          <p:nvPr>
            <p:ph idx="1"/>
          </p:nvPr>
        </p:nvSpPr>
        <p:spPr/>
        <p:txBody>
          <a:bodyPr/>
          <a:lstStyle/>
          <a:p>
            <a:r>
              <a:rPr lang="zh-CN" altLang="en-US" dirty="0" smtClean="0"/>
              <a:t>操作系统漏洞：</a:t>
            </a:r>
            <a:endParaRPr lang="en-US" altLang="zh-CN" dirty="0" smtClean="0"/>
          </a:p>
          <a:p>
            <a:pPr lvl="1"/>
            <a:r>
              <a:rPr lang="zh-CN" altLang="en-US" dirty="0" smtClean="0"/>
              <a:t>在自身方面指</a:t>
            </a:r>
            <a:r>
              <a:rPr lang="zh-CN" altLang="en-US" dirty="0"/>
              <a:t>计算机操作系统（如</a:t>
            </a:r>
            <a:r>
              <a:rPr lang="en-US" altLang="zh-CN" dirty="0"/>
              <a:t>Windows </a:t>
            </a:r>
            <a:r>
              <a:rPr lang="en-US" altLang="zh-CN" dirty="0" smtClean="0"/>
              <a:t>2003</a:t>
            </a:r>
            <a:r>
              <a:rPr lang="zh-CN" altLang="en-US" dirty="0" smtClean="0"/>
              <a:t>）</a:t>
            </a:r>
            <a:r>
              <a:rPr lang="zh-CN" altLang="en-US" dirty="0"/>
              <a:t>本身所存在的问题或技术缺陷，操作系统产品提供商通常会定期对已知漏洞发布补丁程序提供修复服务</a:t>
            </a:r>
            <a:r>
              <a:rPr lang="zh-CN" altLang="en-US" dirty="0" smtClean="0"/>
              <a:t>。</a:t>
            </a:r>
            <a:endParaRPr lang="en-US" altLang="zh-CN" dirty="0" smtClean="0"/>
          </a:p>
          <a:p>
            <a:pPr lvl="1"/>
            <a:r>
              <a:rPr lang="zh-CN" altLang="en-US" dirty="0" smtClean="0"/>
              <a:t>在使用方面指未识别和启用操作系统的安全机制或者不正确的使用，如：口令策略、匿名共享。</a:t>
            </a:r>
            <a:endParaRPr lang="en-US" altLang="zh-CN" dirty="0" smtClean="0"/>
          </a:p>
          <a:p>
            <a:pPr lvl="1"/>
            <a:endParaRPr lang="en-US" altLang="zh-CN" dirty="0" smtClean="0"/>
          </a:p>
          <a:p>
            <a:pPr lvl="1"/>
            <a:endParaRPr lang="en-US" altLang="zh-CN" dirty="0" smtClean="0"/>
          </a:p>
          <a:p>
            <a:r>
              <a:rPr lang="zh-CN" altLang="en-US" dirty="0" smtClean="0"/>
              <a:t>危害：</a:t>
            </a:r>
            <a:endParaRPr lang="en-US" altLang="zh-CN" dirty="0"/>
          </a:p>
          <a:p>
            <a:pPr lvl="1"/>
            <a:r>
              <a:rPr lang="zh-CN" altLang="en-US" dirty="0" smtClean="0"/>
              <a:t>服务器权限被获取，服务器、数据库、应用系统被控制；</a:t>
            </a:r>
            <a:endParaRPr lang="en-US" altLang="zh-CN" dirty="0" smtClean="0"/>
          </a:p>
          <a:p>
            <a:pPr lvl="1"/>
            <a:r>
              <a:rPr lang="zh-CN" altLang="en-US" dirty="0" smtClean="0"/>
              <a:t>被恶意利用为跳板或肉鸡，被挟持控制；</a:t>
            </a:r>
            <a:endParaRPr lang="en-US" altLang="zh-CN" dirty="0" smtClean="0"/>
          </a:p>
          <a:p>
            <a:pPr lvl="1"/>
            <a:r>
              <a:rPr lang="zh-CN" altLang="en-US" dirty="0" smtClean="0"/>
              <a:t>服务器上敏感文件被获取；</a:t>
            </a:r>
            <a:endParaRPr lang="en-US" altLang="zh-CN" dirty="0" smtClean="0"/>
          </a:p>
          <a:p>
            <a:pPr lvl="1"/>
            <a:r>
              <a:rPr lang="zh-CN" altLang="en-US" dirty="0" smtClean="0"/>
              <a:t>占用网络流量，刷网站流量；</a:t>
            </a:r>
            <a:endParaRPr lang="zh-CN" altLang="en-US" dirty="0"/>
          </a:p>
          <a:p>
            <a:pPr lvl="2"/>
            <a:endParaRPr lang="en-US" altLang="zh-CN" dirty="0"/>
          </a:p>
          <a:p>
            <a:pPr lvl="2"/>
            <a:endParaRPr lang="zh-CN" altLang="en-US" dirty="0"/>
          </a:p>
          <a:p>
            <a:pPr lvl="2"/>
            <a:endParaRPr lang="en-US" altLang="zh-CN" dirty="0"/>
          </a:p>
          <a:p>
            <a:endParaRPr lang="en-US" altLang="zh-CN" dirty="0" smtClean="0"/>
          </a:p>
          <a:p>
            <a:pPr lvl="1"/>
            <a:endParaRPr lang="zh-CN" altLang="en-US" dirty="0"/>
          </a:p>
          <a:p>
            <a:pPr lvl="2"/>
            <a:endParaRPr lang="zh-CN" altLang="en-US" dirty="0"/>
          </a:p>
          <a:p>
            <a:pPr lvl="2"/>
            <a:endParaRPr lang="en-US" altLang="zh-CN" dirty="0" smtClean="0"/>
          </a:p>
        </p:txBody>
      </p:sp>
      <p:pic>
        <p:nvPicPr>
          <p:cNvPr id="4" name="图片 3"/>
          <p:cNvPicPr>
            <a:picLocks noChangeAspect="1"/>
          </p:cNvPicPr>
          <p:nvPr/>
        </p:nvPicPr>
        <p:blipFill>
          <a:blip r:embed="rId3"/>
          <a:stretch>
            <a:fillRect/>
          </a:stretch>
        </p:blipFill>
        <p:spPr>
          <a:xfrm>
            <a:off x="397870" y="4572000"/>
            <a:ext cx="8360235" cy="1683920"/>
          </a:xfrm>
          <a:prstGeom prst="rect">
            <a:avLst/>
          </a:prstGeom>
        </p:spPr>
      </p:pic>
      <p:sp>
        <p:nvSpPr>
          <p:cNvPr id="6" name="圆角矩形 5"/>
          <p:cNvSpPr/>
          <p:nvPr/>
        </p:nvSpPr>
        <p:spPr bwMode="auto">
          <a:xfrm>
            <a:off x="397870" y="4572000"/>
            <a:ext cx="2369393" cy="625642"/>
          </a:xfrm>
          <a:prstGeom prst="roundRect">
            <a:avLst/>
          </a:prstGeom>
          <a:solidFill>
            <a:srgbClr val="FF000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algn="ctr"/>
            <a:r>
              <a:rPr lang="en-US" altLang="zh-CN" sz="3600" dirty="0" smtClean="0">
                <a:ln>
                  <a:solidFill>
                    <a:srgbClr val="FF0000"/>
                  </a:solidFill>
                </a:ln>
              </a:rPr>
              <a:t>MS08-067</a:t>
            </a:r>
            <a:endParaRPr lang="zh-CN" altLang="en-US" sz="3600" dirty="0" smtClean="0">
              <a:ln>
                <a:solidFill>
                  <a:srgbClr val="FF0000"/>
                </a:solidFill>
              </a:ln>
            </a:endParaRPr>
          </a:p>
        </p:txBody>
      </p:sp>
    </p:spTree>
    <p:extLst>
      <p:ext uri="{BB962C8B-B14F-4D97-AF65-F5344CB8AC3E}">
        <p14:creationId xmlns:p14="http://schemas.microsoft.com/office/powerpoint/2010/main" val="26319738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1.1 </a:t>
            </a:r>
            <a:r>
              <a:rPr lang="zh-CN" altLang="en-US" dirty="0" smtClean="0"/>
              <a:t>渗透测试：实施方式</a:t>
            </a:r>
            <a:endParaRPr lang="zh-CN" altLang="en-US" dirty="0"/>
          </a:p>
        </p:txBody>
      </p:sp>
      <p:graphicFrame>
        <p:nvGraphicFramePr>
          <p:cNvPr id="4" name="内容占位符 3"/>
          <p:cNvGraphicFramePr>
            <a:graphicFrameLocks noGrp="1"/>
          </p:cNvGraphicFramePr>
          <p:nvPr>
            <p:ph idx="1"/>
            <p:extLst>
              <p:ext uri="{D42A27DB-BD31-4B8C-83A1-F6EECF244321}">
                <p14:modId xmlns:p14="http://schemas.microsoft.com/office/powerpoint/2010/main" val="392580818"/>
              </p:ext>
            </p:extLst>
          </p:nvPr>
        </p:nvGraphicFramePr>
        <p:xfrm>
          <a:off x="1659112" y="1995777"/>
          <a:ext cx="6110135" cy="2941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1765299"/>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571671" cy="561975"/>
          </a:xfrm>
        </p:spPr>
        <p:txBody>
          <a:bodyPr/>
          <a:lstStyle/>
          <a:p>
            <a:r>
              <a:rPr lang="en-US" altLang="zh-CN" dirty="0" smtClean="0"/>
              <a:t>3.4 </a:t>
            </a:r>
            <a:r>
              <a:rPr lang="zh-CN" altLang="en-US" dirty="0"/>
              <a:t>控制目标：漏洞利用</a:t>
            </a:r>
            <a:r>
              <a:rPr lang="en-US" altLang="zh-CN" dirty="0"/>
              <a:t>—</a:t>
            </a:r>
            <a:r>
              <a:rPr lang="zh-CN" altLang="en-US" dirty="0"/>
              <a:t>技术层面</a:t>
            </a:r>
            <a:r>
              <a:rPr lang="en-US" altLang="zh-CN" dirty="0"/>
              <a:t>—</a:t>
            </a:r>
            <a:r>
              <a:rPr lang="zh-CN" altLang="en-US" dirty="0" smtClean="0"/>
              <a:t>数据库漏洞</a:t>
            </a:r>
            <a:endParaRPr lang="zh-CN" altLang="en-US" dirty="0"/>
          </a:p>
        </p:txBody>
      </p:sp>
      <p:sp>
        <p:nvSpPr>
          <p:cNvPr id="3" name="内容占位符 2"/>
          <p:cNvSpPr>
            <a:spLocks noGrp="1"/>
          </p:cNvSpPr>
          <p:nvPr>
            <p:ph idx="1"/>
          </p:nvPr>
        </p:nvSpPr>
        <p:spPr/>
        <p:txBody>
          <a:bodyPr/>
          <a:lstStyle/>
          <a:p>
            <a:r>
              <a:rPr lang="zh-CN" altLang="en-US" dirty="0" smtClean="0"/>
              <a:t>数据库漏洞：</a:t>
            </a:r>
            <a:endParaRPr lang="en-US" altLang="zh-CN" dirty="0" smtClean="0"/>
          </a:p>
          <a:p>
            <a:pPr lvl="1"/>
            <a:r>
              <a:rPr lang="zh-CN" altLang="en-US" dirty="0" smtClean="0"/>
              <a:t>在自身方面：指数据库系统自身存在的安全漏洞，如：</a:t>
            </a:r>
            <a:r>
              <a:rPr lang="en-US" altLang="zh-CN" dirty="0" err="1" smtClean="0"/>
              <a:t>xp_cmdshell</a:t>
            </a:r>
            <a:r>
              <a:rPr lang="zh-CN" altLang="en-US" dirty="0" smtClean="0"/>
              <a:t>；</a:t>
            </a:r>
            <a:endParaRPr lang="en-US" altLang="zh-CN" dirty="0" smtClean="0"/>
          </a:p>
          <a:p>
            <a:pPr lvl="1"/>
            <a:r>
              <a:rPr lang="zh-CN" altLang="en-US" dirty="0" smtClean="0"/>
              <a:t>在使用方面：加固不足，如：口令策略、锁定策略、敏感明文存储泄漏。</a:t>
            </a:r>
            <a:endParaRPr lang="en-US" altLang="zh-CN" dirty="0"/>
          </a:p>
          <a:p>
            <a:pPr lvl="1"/>
            <a:endParaRPr lang="en-US" altLang="zh-CN" dirty="0" smtClean="0"/>
          </a:p>
          <a:p>
            <a:pPr lvl="1"/>
            <a:endParaRPr lang="en-US" altLang="zh-CN" dirty="0" smtClean="0"/>
          </a:p>
          <a:p>
            <a:r>
              <a:rPr lang="zh-CN" altLang="en-US" dirty="0" smtClean="0"/>
              <a:t>危害：</a:t>
            </a:r>
            <a:endParaRPr lang="en-US" altLang="zh-CN" dirty="0" smtClean="0"/>
          </a:p>
          <a:p>
            <a:pPr lvl="1"/>
            <a:r>
              <a:rPr lang="zh-CN" altLang="en-US" dirty="0"/>
              <a:t>获取敏感数据</a:t>
            </a:r>
          </a:p>
          <a:p>
            <a:pPr lvl="1"/>
            <a:r>
              <a:rPr lang="zh-CN" altLang="en-US" dirty="0"/>
              <a:t>以此为跳板攻击系统其他应用</a:t>
            </a:r>
          </a:p>
          <a:p>
            <a:pPr lvl="1"/>
            <a:r>
              <a:rPr lang="zh-CN" altLang="en-US" dirty="0"/>
              <a:t>通过插入数据获取应用或系统后门</a:t>
            </a:r>
          </a:p>
          <a:p>
            <a:pPr lvl="1"/>
            <a:r>
              <a:rPr lang="zh-CN" altLang="en-US" dirty="0"/>
              <a:t>修改关键数据对数据拥有者造成</a:t>
            </a:r>
            <a:r>
              <a:rPr lang="zh-CN" altLang="en-US" dirty="0" smtClean="0"/>
              <a:t>损失</a:t>
            </a:r>
            <a:endParaRPr lang="en-US" altLang="zh-CN" dirty="0" smtClean="0"/>
          </a:p>
          <a:p>
            <a:pPr lvl="2"/>
            <a:endParaRPr lang="en-US" altLang="zh-CN" dirty="0" smtClean="0"/>
          </a:p>
          <a:p>
            <a:pPr lvl="1"/>
            <a:endParaRPr lang="zh-CN" altLang="en-US" dirty="0"/>
          </a:p>
        </p:txBody>
      </p:sp>
      <p:pic>
        <p:nvPicPr>
          <p:cNvPr id="5" name="图片 4"/>
          <p:cNvPicPr>
            <a:picLocks noChangeAspect="1"/>
          </p:cNvPicPr>
          <p:nvPr/>
        </p:nvPicPr>
        <p:blipFill>
          <a:blip r:embed="rId3"/>
          <a:stretch>
            <a:fillRect/>
          </a:stretch>
        </p:blipFill>
        <p:spPr>
          <a:xfrm>
            <a:off x="1070812" y="2664804"/>
            <a:ext cx="6641430" cy="3580838"/>
          </a:xfrm>
          <a:prstGeom prst="rect">
            <a:avLst/>
          </a:prstGeom>
        </p:spPr>
      </p:pic>
    </p:spTree>
    <p:extLst>
      <p:ext uri="{BB962C8B-B14F-4D97-AF65-F5344CB8AC3E}">
        <p14:creationId xmlns:p14="http://schemas.microsoft.com/office/powerpoint/2010/main" val="259286592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445836" cy="561975"/>
          </a:xfrm>
        </p:spPr>
        <p:txBody>
          <a:bodyPr/>
          <a:lstStyle/>
          <a:p>
            <a:r>
              <a:rPr lang="en-US" altLang="zh-CN" dirty="0" smtClean="0"/>
              <a:t>3.4 </a:t>
            </a:r>
            <a:r>
              <a:rPr lang="zh-CN" altLang="en-US" dirty="0"/>
              <a:t>控制目标：漏洞利用</a:t>
            </a:r>
            <a:r>
              <a:rPr lang="en-US" altLang="zh-CN" dirty="0"/>
              <a:t>—</a:t>
            </a:r>
            <a:r>
              <a:rPr lang="zh-CN" altLang="en-US" dirty="0"/>
              <a:t>技术层面</a:t>
            </a:r>
            <a:r>
              <a:rPr lang="en-US" altLang="zh-CN" dirty="0"/>
              <a:t>—</a:t>
            </a:r>
            <a:r>
              <a:rPr lang="zh-CN" altLang="en-US" dirty="0" smtClean="0"/>
              <a:t>中间件漏洞</a:t>
            </a:r>
            <a:endParaRPr lang="zh-CN" altLang="en-US" dirty="0"/>
          </a:p>
        </p:txBody>
      </p:sp>
      <p:sp>
        <p:nvSpPr>
          <p:cNvPr id="3" name="内容占位符 2"/>
          <p:cNvSpPr>
            <a:spLocks noGrp="1"/>
          </p:cNvSpPr>
          <p:nvPr>
            <p:ph idx="1"/>
          </p:nvPr>
        </p:nvSpPr>
        <p:spPr/>
        <p:txBody>
          <a:bodyPr/>
          <a:lstStyle/>
          <a:p>
            <a:r>
              <a:rPr lang="zh-CN" altLang="en-US" dirty="0" smtClean="0"/>
              <a:t>中间件漏洞：中间件自身存在的漏洞以及运维开发过程遗留的漏洞。</a:t>
            </a:r>
            <a:endParaRPr lang="en-US" altLang="zh-CN" dirty="0" smtClean="0"/>
          </a:p>
          <a:p>
            <a:pPr lvl="1"/>
            <a:r>
              <a:rPr lang="zh-CN" altLang="en-US" dirty="0" smtClean="0"/>
              <a:t>在自身方面：指中间件自身存在的安全漏洞，如：</a:t>
            </a:r>
            <a:r>
              <a:rPr lang="en-US" altLang="zh-CN" dirty="0" smtClean="0"/>
              <a:t>Tomcat session</a:t>
            </a:r>
            <a:r>
              <a:rPr lang="zh-CN" altLang="en-US" dirty="0" smtClean="0"/>
              <a:t>样例漏洞、</a:t>
            </a:r>
            <a:r>
              <a:rPr lang="en-US" altLang="zh-CN" dirty="0" err="1" smtClean="0"/>
              <a:t>Jobss</a:t>
            </a:r>
            <a:r>
              <a:rPr lang="zh-CN" altLang="en-US" dirty="0" smtClean="0"/>
              <a:t>命令执行漏洞。</a:t>
            </a:r>
            <a:endParaRPr lang="en-US" altLang="zh-CN" dirty="0" smtClean="0"/>
          </a:p>
          <a:p>
            <a:pPr lvl="1"/>
            <a:r>
              <a:rPr lang="zh-CN" altLang="en-US" dirty="0" smtClean="0"/>
              <a:t>在使用方面：加固不足、使用不当，如：管理控制台的默认配置，弱口令。</a:t>
            </a:r>
            <a:endParaRPr lang="en-US" altLang="zh-CN" dirty="0" smtClean="0"/>
          </a:p>
          <a:p>
            <a:pPr lvl="1"/>
            <a:endParaRPr lang="en-US" altLang="zh-CN" dirty="0" smtClean="0"/>
          </a:p>
          <a:p>
            <a:r>
              <a:rPr lang="zh-CN" altLang="en-US" dirty="0" smtClean="0"/>
              <a:t>危害：</a:t>
            </a:r>
            <a:endParaRPr lang="en-US" altLang="zh-CN" dirty="0" smtClean="0"/>
          </a:p>
          <a:p>
            <a:pPr lvl="1"/>
            <a:r>
              <a:rPr lang="zh-CN" altLang="en-US" dirty="0" smtClean="0"/>
              <a:t>利用中间件管理后台，部署恶意脚本、程序；</a:t>
            </a:r>
            <a:endParaRPr lang="en-US" altLang="zh-CN" dirty="0" smtClean="0"/>
          </a:p>
          <a:p>
            <a:pPr lvl="1"/>
            <a:r>
              <a:rPr lang="zh-CN" altLang="en-US" dirty="0" smtClean="0"/>
              <a:t>中断正常服务；</a:t>
            </a:r>
            <a:endParaRPr lang="en-US" altLang="zh-CN" dirty="0" smtClean="0"/>
          </a:p>
          <a:p>
            <a:pPr lvl="1"/>
            <a:r>
              <a:rPr lang="zh-CN" altLang="en-US" dirty="0" smtClean="0"/>
              <a:t>获得服务器权限；</a:t>
            </a:r>
            <a:endParaRPr lang="en-US" altLang="zh-CN" dirty="0" smtClean="0"/>
          </a:p>
          <a:p>
            <a:pPr lvl="1"/>
            <a:r>
              <a:rPr lang="zh-CN" altLang="en-US" dirty="0" smtClean="0"/>
              <a:t>获得应用权限。</a:t>
            </a:r>
            <a:endParaRPr lang="zh-CN" altLang="en-US" dirty="0"/>
          </a:p>
        </p:txBody>
      </p:sp>
      <p:pic>
        <p:nvPicPr>
          <p:cNvPr id="2050" name="图片 2" descr="C:\Users\MyThink\Desktop\捕获.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2440" y="4119561"/>
            <a:ext cx="7925665" cy="2064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596079"/>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596838" cy="561975"/>
          </a:xfrm>
        </p:spPr>
        <p:txBody>
          <a:bodyPr/>
          <a:lstStyle/>
          <a:p>
            <a:r>
              <a:rPr lang="en-US" altLang="zh-CN" dirty="0" smtClean="0"/>
              <a:t>3.4 </a:t>
            </a:r>
            <a:r>
              <a:rPr lang="zh-CN" altLang="en-US" dirty="0"/>
              <a:t>控制目标：漏洞利用</a:t>
            </a:r>
            <a:r>
              <a:rPr lang="en-US" altLang="zh-CN" dirty="0" smtClean="0"/>
              <a:t>—</a:t>
            </a:r>
            <a:r>
              <a:rPr lang="zh-CN" altLang="en-US" dirty="0" smtClean="0"/>
              <a:t>人员层面</a:t>
            </a:r>
            <a:r>
              <a:rPr lang="en-US" altLang="zh-CN" dirty="0" smtClean="0"/>
              <a:t>—</a:t>
            </a:r>
            <a:r>
              <a:rPr lang="zh-CN" altLang="en-US" dirty="0" smtClean="0"/>
              <a:t>意识漏洞</a:t>
            </a:r>
            <a:endParaRPr lang="zh-CN" altLang="en-US" dirty="0"/>
          </a:p>
        </p:txBody>
      </p:sp>
      <p:sp>
        <p:nvSpPr>
          <p:cNvPr id="3" name="内容占位符 2"/>
          <p:cNvSpPr>
            <a:spLocks noGrp="1"/>
          </p:cNvSpPr>
          <p:nvPr>
            <p:ph idx="1"/>
          </p:nvPr>
        </p:nvSpPr>
        <p:spPr/>
        <p:txBody>
          <a:bodyPr/>
          <a:lstStyle/>
          <a:p>
            <a:r>
              <a:rPr lang="zh-CN" altLang="en-US" dirty="0" smtClean="0"/>
              <a:t>意识漏洞：指用户、运维人员、开发人员等在设计、开发、运维、使用信息系统时，因安全意识薄弱而给信息系统造成的漏洞。造成的后果有：信息泄漏或被黑客进行社会工程学攻击利用。</a:t>
            </a:r>
            <a:endParaRPr lang="en-US" altLang="zh-CN" dirty="0" smtClean="0"/>
          </a:p>
          <a:p>
            <a:pPr lvl="1"/>
            <a:r>
              <a:rPr lang="zh-CN" altLang="en-US" dirty="0" smtClean="0"/>
              <a:t>例子：</a:t>
            </a:r>
            <a:endParaRPr lang="en-US" altLang="zh-CN" dirty="0" smtClean="0"/>
          </a:p>
          <a:p>
            <a:pPr lvl="2"/>
            <a:r>
              <a:rPr lang="zh-CN" altLang="en-US" dirty="0" smtClean="0"/>
              <a:t>使用弱口令；</a:t>
            </a:r>
            <a:endParaRPr lang="en-US" altLang="zh-CN" dirty="0" smtClean="0"/>
          </a:p>
          <a:p>
            <a:pPr lvl="2"/>
            <a:r>
              <a:rPr lang="zh-CN" altLang="en-US" dirty="0" smtClean="0"/>
              <a:t>信息泄漏：将密码写于便签上、使用弱口令、自行解除安全措施；</a:t>
            </a:r>
            <a:endParaRPr lang="en-US" altLang="zh-CN" dirty="0" smtClean="0"/>
          </a:p>
          <a:p>
            <a:pPr lvl="2"/>
            <a:r>
              <a:rPr lang="zh-CN" altLang="en-US" dirty="0" smtClean="0"/>
              <a:t>被社会工程学攻击：移动以及网络钓鱼；</a:t>
            </a:r>
            <a:endParaRPr lang="en-US" altLang="zh-CN" dirty="0" smtClean="0"/>
          </a:p>
          <a:p>
            <a:pPr lvl="2"/>
            <a:r>
              <a:rPr lang="zh-CN" altLang="en-US" dirty="0" smtClean="0"/>
              <a:t>配置文件泄漏。</a:t>
            </a:r>
            <a:endParaRPr lang="zh-CN" altLang="en-US" dirty="0"/>
          </a:p>
        </p:txBody>
      </p:sp>
      <p:pic>
        <p:nvPicPr>
          <p:cNvPr id="5" name="图片 4"/>
          <p:cNvPicPr>
            <a:picLocks noChangeAspect="1"/>
          </p:cNvPicPr>
          <p:nvPr/>
        </p:nvPicPr>
        <p:blipFill>
          <a:blip r:embed="rId3"/>
          <a:stretch>
            <a:fillRect/>
          </a:stretch>
        </p:blipFill>
        <p:spPr>
          <a:xfrm>
            <a:off x="708828" y="3116179"/>
            <a:ext cx="7738320" cy="3225898"/>
          </a:xfrm>
          <a:prstGeom prst="rect">
            <a:avLst/>
          </a:prstGeom>
        </p:spPr>
      </p:pic>
    </p:spTree>
    <p:extLst>
      <p:ext uri="{BB962C8B-B14F-4D97-AF65-F5344CB8AC3E}">
        <p14:creationId xmlns:p14="http://schemas.microsoft.com/office/powerpoint/2010/main" val="3174248770"/>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4 </a:t>
            </a:r>
            <a:r>
              <a:rPr lang="zh-CN" altLang="en-US" dirty="0"/>
              <a:t>控制目标：漏洞利用</a:t>
            </a:r>
            <a:r>
              <a:rPr lang="en-US" altLang="zh-CN" dirty="0" smtClean="0"/>
              <a:t>—</a:t>
            </a:r>
            <a:r>
              <a:rPr lang="zh-CN" altLang="en-US" dirty="0" smtClean="0"/>
              <a:t>管理层面的漏洞</a:t>
            </a:r>
            <a:endParaRPr lang="zh-CN" altLang="en-US" dirty="0"/>
          </a:p>
        </p:txBody>
      </p:sp>
      <p:sp>
        <p:nvSpPr>
          <p:cNvPr id="3" name="内容占位符 2"/>
          <p:cNvSpPr>
            <a:spLocks noGrp="1"/>
          </p:cNvSpPr>
          <p:nvPr>
            <p:ph idx="1"/>
          </p:nvPr>
        </p:nvSpPr>
        <p:spPr/>
        <p:txBody>
          <a:bodyPr/>
          <a:lstStyle/>
          <a:p>
            <a:r>
              <a:rPr lang="zh-CN" altLang="en-US" dirty="0" smtClean="0"/>
              <a:t>管理漏洞：</a:t>
            </a:r>
            <a:endParaRPr lang="en-US" altLang="zh-CN" dirty="0" smtClean="0"/>
          </a:p>
          <a:p>
            <a:pPr lvl="1"/>
            <a:r>
              <a:rPr lang="zh-CN" altLang="en-US" dirty="0" smtClean="0"/>
              <a:t>企业安全体系建设不健全；</a:t>
            </a:r>
            <a:endParaRPr lang="en-US" altLang="zh-CN" dirty="0" smtClean="0"/>
          </a:p>
          <a:p>
            <a:pPr lvl="1"/>
            <a:r>
              <a:rPr lang="zh-CN" altLang="en-US" dirty="0" smtClean="0"/>
              <a:t>缺少安全的软件开发过程；</a:t>
            </a:r>
            <a:endParaRPr lang="en-US" altLang="zh-CN" dirty="0" smtClean="0"/>
          </a:p>
          <a:p>
            <a:pPr lvl="1"/>
            <a:r>
              <a:rPr lang="zh-CN" altLang="en-US" dirty="0" smtClean="0"/>
              <a:t>缺少有效的应急响应机制；</a:t>
            </a:r>
            <a:endParaRPr lang="en-US" altLang="zh-CN" dirty="0" smtClean="0"/>
          </a:p>
          <a:p>
            <a:pPr lvl="1"/>
            <a:r>
              <a:rPr lang="zh-CN" altLang="en-US" dirty="0" smtClean="0"/>
              <a:t>缺少高效的威胁发现能力。</a:t>
            </a:r>
            <a:endParaRPr lang="en-US" altLang="zh-CN" dirty="0" smtClean="0"/>
          </a:p>
        </p:txBody>
      </p:sp>
    </p:spTree>
    <p:extLst>
      <p:ext uri="{BB962C8B-B14F-4D97-AF65-F5344CB8AC3E}">
        <p14:creationId xmlns:p14="http://schemas.microsoft.com/office/powerpoint/2010/main" val="2914893586"/>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5 </a:t>
            </a:r>
            <a:r>
              <a:rPr lang="zh-CN" altLang="en-US" dirty="0" smtClean="0"/>
              <a:t>收割撤退</a:t>
            </a:r>
            <a:endParaRPr lang="zh-CN" altLang="en-US" dirty="0"/>
          </a:p>
        </p:txBody>
      </p:sp>
      <p:graphicFrame>
        <p:nvGraphicFramePr>
          <p:cNvPr id="6" name="图示 5"/>
          <p:cNvGraphicFramePr/>
          <p:nvPr>
            <p:extLst>
              <p:ext uri="{D42A27DB-BD31-4B8C-83A1-F6EECF244321}">
                <p14:modId xmlns:p14="http://schemas.microsoft.com/office/powerpoint/2010/main" val="4043152311"/>
              </p:ext>
            </p:extLst>
          </p:nvPr>
        </p:nvGraphicFramePr>
        <p:xfrm>
          <a:off x="1524000" y="1397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93673345"/>
      </p:ext>
    </p:extLst>
  </p:cSld>
  <p:clrMapOvr>
    <a:masterClrMapping/>
  </p:clrMapOvr>
  <p:transition advClick="0"/>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5 </a:t>
            </a:r>
            <a:r>
              <a:rPr lang="zh-CN" altLang="en-US" dirty="0" smtClean="0"/>
              <a:t>收割撤退：收割战果</a:t>
            </a:r>
            <a:endParaRPr lang="zh-CN" altLang="en-US" dirty="0"/>
          </a:p>
        </p:txBody>
      </p:sp>
      <p:graphicFrame>
        <p:nvGraphicFramePr>
          <p:cNvPr id="6" name="图示 5"/>
          <p:cNvGraphicFramePr/>
          <p:nvPr>
            <p:extLst>
              <p:ext uri="{D42A27DB-BD31-4B8C-83A1-F6EECF244321}">
                <p14:modId xmlns:p14="http://schemas.microsoft.com/office/powerpoint/2010/main" val="3205273969"/>
              </p:ext>
            </p:extLst>
          </p:nvPr>
        </p:nvGraphicFramePr>
        <p:xfrm>
          <a:off x="1524000" y="13970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6620767"/>
      </p:ext>
    </p:extLst>
  </p:cSld>
  <p:clrMapOvr>
    <a:masterClrMapping/>
  </p:clrMapOvr>
  <p:transition advClick="0"/>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219334" cy="561975"/>
          </a:xfrm>
        </p:spPr>
        <p:txBody>
          <a:bodyPr/>
          <a:lstStyle/>
          <a:p>
            <a:r>
              <a:rPr lang="en-US" altLang="zh-CN" dirty="0" smtClean="0"/>
              <a:t>3.5 </a:t>
            </a:r>
            <a:r>
              <a:rPr lang="zh-CN" altLang="en-US" dirty="0" smtClean="0"/>
              <a:t>收割撤退：收割战果</a:t>
            </a:r>
            <a:r>
              <a:rPr lang="en-US" altLang="zh-CN" dirty="0" smtClean="0"/>
              <a:t>—</a:t>
            </a:r>
            <a:r>
              <a:rPr lang="zh-CN" altLang="en-US" dirty="0" smtClean="0"/>
              <a:t>既得战果</a:t>
            </a:r>
            <a:r>
              <a:rPr lang="en-US" altLang="zh-CN" dirty="0" smtClean="0"/>
              <a:t>—</a:t>
            </a:r>
            <a:r>
              <a:rPr lang="zh-CN" altLang="en-US" dirty="0" smtClean="0"/>
              <a:t>收割转移</a:t>
            </a:r>
            <a:endParaRPr lang="zh-CN" altLang="en-US" dirty="0"/>
          </a:p>
        </p:txBody>
      </p:sp>
      <p:graphicFrame>
        <p:nvGraphicFramePr>
          <p:cNvPr id="4" name="内容占位符 3"/>
          <p:cNvGraphicFramePr>
            <a:graphicFrameLocks noGrp="1"/>
          </p:cNvGraphicFramePr>
          <p:nvPr>
            <p:ph idx="1"/>
            <p:extLst>
              <p:ext uri="{D42A27DB-BD31-4B8C-83A1-F6EECF244321}">
                <p14:modId xmlns:p14="http://schemas.microsoft.com/office/powerpoint/2010/main" val="913286132"/>
              </p:ext>
            </p:extLst>
          </p:nvPr>
        </p:nvGraphicFramePr>
        <p:xfrm>
          <a:off x="1710147" y="937010"/>
          <a:ext cx="5781621" cy="43160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38478379"/>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563282" cy="561975"/>
          </a:xfrm>
        </p:spPr>
        <p:txBody>
          <a:bodyPr/>
          <a:lstStyle/>
          <a:p>
            <a:r>
              <a:rPr lang="en-US" altLang="zh-CN" dirty="0" smtClean="0"/>
              <a:t>3.5 </a:t>
            </a:r>
            <a:r>
              <a:rPr lang="zh-CN" altLang="en-US" dirty="0" smtClean="0"/>
              <a:t>收割撤退：收割战果</a:t>
            </a:r>
            <a:r>
              <a:rPr lang="en-US" altLang="zh-CN" dirty="0" smtClean="0"/>
              <a:t>—</a:t>
            </a:r>
            <a:r>
              <a:rPr lang="zh-CN" altLang="en-US" dirty="0" smtClean="0"/>
              <a:t>伏击未来</a:t>
            </a:r>
            <a:endParaRPr lang="zh-CN" altLang="en-US" dirty="0"/>
          </a:p>
        </p:txBody>
      </p:sp>
      <p:graphicFrame>
        <p:nvGraphicFramePr>
          <p:cNvPr id="4" name="内容占位符 3"/>
          <p:cNvGraphicFramePr>
            <a:graphicFrameLocks noGrp="1"/>
          </p:cNvGraphicFramePr>
          <p:nvPr>
            <p:ph idx="1"/>
            <p:extLst>
              <p:ext uri="{D42A27DB-BD31-4B8C-83A1-F6EECF244321}">
                <p14:modId xmlns:p14="http://schemas.microsoft.com/office/powerpoint/2010/main" val="2425301146"/>
              </p:ext>
            </p:extLst>
          </p:nvPr>
        </p:nvGraphicFramePr>
        <p:xfrm>
          <a:off x="1158456" y="926121"/>
          <a:ext cx="6976551" cy="45665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1247376"/>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5 </a:t>
            </a:r>
            <a:r>
              <a:rPr lang="zh-CN" altLang="en-US" dirty="0" smtClean="0"/>
              <a:t>收割撤退：撤退清痕</a:t>
            </a:r>
            <a:endParaRPr lang="zh-CN" altLang="en-US" dirty="0"/>
          </a:p>
        </p:txBody>
      </p:sp>
      <p:graphicFrame>
        <p:nvGraphicFramePr>
          <p:cNvPr id="6" name="内容占位符 5"/>
          <p:cNvGraphicFramePr>
            <a:graphicFrameLocks noGrp="1"/>
          </p:cNvGraphicFramePr>
          <p:nvPr>
            <p:ph idx="1"/>
            <p:extLst>
              <p:ext uri="{D42A27DB-BD31-4B8C-83A1-F6EECF244321}">
                <p14:modId xmlns:p14="http://schemas.microsoft.com/office/powerpoint/2010/main" val="3143299581"/>
              </p:ext>
            </p:extLst>
          </p:nvPr>
        </p:nvGraphicFramePr>
        <p:xfrm>
          <a:off x="1343256" y="1264256"/>
          <a:ext cx="6804364" cy="32005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00569217"/>
      </p:ext>
    </p:extLst>
  </p:cSld>
  <p:clrMapOvr>
    <a:masterClrMapping/>
  </p:clrMapOvr>
  <p:transition advClick="0"/>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403891" cy="561975"/>
          </a:xfrm>
        </p:spPr>
        <p:txBody>
          <a:bodyPr/>
          <a:lstStyle/>
          <a:p>
            <a:r>
              <a:rPr lang="en-US" altLang="zh-CN" dirty="0" smtClean="0"/>
              <a:t>3.5 </a:t>
            </a:r>
            <a:r>
              <a:rPr lang="zh-CN" altLang="en-US" dirty="0" smtClean="0"/>
              <a:t>收割撤退：撤退清痕</a:t>
            </a:r>
            <a:r>
              <a:rPr lang="en-US" altLang="zh-CN" dirty="0" smtClean="0"/>
              <a:t>—</a:t>
            </a:r>
            <a:r>
              <a:rPr lang="zh-CN" altLang="en-US" dirty="0" smtClean="0"/>
              <a:t>清除痕迹</a:t>
            </a:r>
            <a:endParaRPr lang="zh-CN" altLang="en-US" dirty="0"/>
          </a:p>
        </p:txBody>
      </p:sp>
      <p:graphicFrame>
        <p:nvGraphicFramePr>
          <p:cNvPr id="4" name="内容占位符 3"/>
          <p:cNvGraphicFramePr>
            <a:graphicFrameLocks noGrp="1"/>
          </p:cNvGraphicFramePr>
          <p:nvPr>
            <p:ph idx="1"/>
            <p:extLst>
              <p:ext uri="{D42A27DB-BD31-4B8C-83A1-F6EECF244321}">
                <p14:modId xmlns:p14="http://schemas.microsoft.com/office/powerpoint/2010/main" val="1200354029"/>
              </p:ext>
            </p:extLst>
          </p:nvPr>
        </p:nvGraphicFramePr>
        <p:xfrm>
          <a:off x="398463" y="1963972"/>
          <a:ext cx="8359775" cy="25285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9709543"/>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9" descr="H:\ppt\匿名者\15163142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870" y="3000927"/>
            <a:ext cx="3996444" cy="2079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p:txBody>
          <a:bodyPr/>
          <a:lstStyle/>
          <a:p>
            <a:r>
              <a:rPr lang="en-US" altLang="zh-CN" dirty="0" smtClean="0"/>
              <a:t>1.2 </a:t>
            </a:r>
            <a:r>
              <a:rPr lang="zh-CN" altLang="en-US" dirty="0" smtClean="0"/>
              <a:t>黑客入侵：基本概念</a:t>
            </a:r>
            <a:endParaRPr lang="zh-CN" altLang="en-US" dirty="0"/>
          </a:p>
        </p:txBody>
      </p:sp>
      <p:sp>
        <p:nvSpPr>
          <p:cNvPr id="3" name="内容占位符 2"/>
          <p:cNvSpPr>
            <a:spLocks noGrp="1"/>
          </p:cNvSpPr>
          <p:nvPr>
            <p:ph idx="1"/>
          </p:nvPr>
        </p:nvSpPr>
        <p:spPr/>
        <p:txBody>
          <a:bodyPr/>
          <a:lstStyle/>
          <a:p>
            <a:r>
              <a:rPr lang="zh-CN" altLang="en-US" dirty="0"/>
              <a:t>黑客入侵：运用计算机技术，在未授权的情况下挫败信息网络访问控制措施、策略，非法访问、利用信息系统，谋取资金、物品、信息等。</a:t>
            </a:r>
            <a:endParaRPr lang="en-US" altLang="zh-CN" dirty="0"/>
          </a:p>
          <a:p>
            <a:endParaRPr lang="en-US" altLang="zh-CN" dirty="0"/>
          </a:p>
          <a:p>
            <a:endParaRPr lang="en-US" altLang="zh-CN" dirty="0"/>
          </a:p>
        </p:txBody>
      </p:sp>
      <p:grpSp>
        <p:nvGrpSpPr>
          <p:cNvPr id="8" name="组合 7"/>
          <p:cNvGrpSpPr/>
          <p:nvPr/>
        </p:nvGrpSpPr>
        <p:grpSpPr>
          <a:xfrm>
            <a:off x="2285901" y="1969544"/>
            <a:ext cx="6472204" cy="4372533"/>
            <a:chOff x="397870" y="1969544"/>
            <a:chExt cx="6472204" cy="4372533"/>
          </a:xfrm>
        </p:grpSpPr>
        <p:pic>
          <p:nvPicPr>
            <p:cNvPr id="4" name="图片 3"/>
            <p:cNvPicPr>
              <a:picLocks noChangeAspect="1"/>
            </p:cNvPicPr>
            <p:nvPr/>
          </p:nvPicPr>
          <p:blipFill>
            <a:blip r:embed="rId4"/>
            <a:stretch>
              <a:fillRect/>
            </a:stretch>
          </p:blipFill>
          <p:spPr>
            <a:xfrm>
              <a:off x="397870" y="1969544"/>
              <a:ext cx="6472204" cy="4372533"/>
            </a:xfrm>
            <a:prstGeom prst="rect">
              <a:avLst/>
            </a:prstGeom>
          </p:spPr>
        </p:pic>
        <p:sp>
          <p:nvSpPr>
            <p:cNvPr id="7" name="圆角矩形 6"/>
            <p:cNvSpPr/>
            <p:nvPr/>
          </p:nvSpPr>
          <p:spPr bwMode="auto">
            <a:xfrm>
              <a:off x="466659" y="5265683"/>
              <a:ext cx="3008061" cy="346841"/>
            </a:xfrm>
            <a:prstGeom prst="roundRect">
              <a:avLst/>
            </a:prstGeom>
            <a:noFill/>
            <a:ln w="9525" cap="flat" cmpd="sng" algn="ctr">
              <a:solidFill>
                <a:srgbClr val="FF0000"/>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algn="ctr"/>
              <a:endParaRPr lang="zh-CN" altLang="en-US" dirty="0" smtClean="0">
                <a:ln>
                  <a:solidFill>
                    <a:srgbClr val="FF0000"/>
                  </a:solidFill>
                </a:ln>
              </a:endParaRPr>
            </a:p>
          </p:txBody>
        </p:sp>
      </p:grpSp>
      <p:pic>
        <p:nvPicPr>
          <p:cNvPr id="9" name="图片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94314" y="1969544"/>
            <a:ext cx="4286250" cy="4292356"/>
          </a:xfrm>
          <a:prstGeom prst="rect">
            <a:avLst/>
          </a:prstGeom>
        </p:spPr>
      </p:pic>
    </p:spTree>
    <p:extLst>
      <p:ext uri="{BB962C8B-B14F-4D97-AF65-F5344CB8AC3E}">
        <p14:creationId xmlns:p14="http://schemas.microsoft.com/office/powerpoint/2010/main" val="824382775"/>
      </p:ext>
    </p:extLst>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870" y="132671"/>
            <a:ext cx="7798174" cy="561975"/>
          </a:xfrm>
        </p:spPr>
        <p:txBody>
          <a:bodyPr/>
          <a:lstStyle/>
          <a:p>
            <a:r>
              <a:rPr lang="en-US" altLang="zh-CN" dirty="0" smtClean="0"/>
              <a:t>3.5 </a:t>
            </a:r>
            <a:r>
              <a:rPr lang="zh-CN" altLang="en-US" dirty="0" smtClean="0"/>
              <a:t>收割撤退：撤退清痕</a:t>
            </a:r>
            <a:r>
              <a:rPr lang="en-US" altLang="zh-CN" dirty="0" smtClean="0"/>
              <a:t>—</a:t>
            </a:r>
            <a:r>
              <a:rPr lang="zh-CN" altLang="en-US" dirty="0" smtClean="0"/>
              <a:t>清除权限、装备</a:t>
            </a:r>
            <a:endParaRPr lang="zh-CN" altLang="en-US" dirty="0"/>
          </a:p>
        </p:txBody>
      </p:sp>
      <p:graphicFrame>
        <p:nvGraphicFramePr>
          <p:cNvPr id="4" name="内容占位符 3"/>
          <p:cNvGraphicFramePr>
            <a:graphicFrameLocks noGrp="1"/>
          </p:cNvGraphicFramePr>
          <p:nvPr>
            <p:ph idx="1"/>
            <p:extLst>
              <p:ext uri="{D42A27DB-BD31-4B8C-83A1-F6EECF244321}">
                <p14:modId xmlns:p14="http://schemas.microsoft.com/office/powerpoint/2010/main" val="3765712593"/>
              </p:ext>
            </p:extLst>
          </p:nvPr>
        </p:nvGraphicFramePr>
        <p:xfrm>
          <a:off x="1123678" y="1622067"/>
          <a:ext cx="7022032" cy="3013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42324106"/>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6 </a:t>
            </a:r>
            <a:r>
              <a:rPr lang="zh-CN" altLang="en-US" dirty="0" smtClean="0"/>
              <a:t>攻击工具</a:t>
            </a:r>
            <a:endParaRPr lang="zh-CN" altLang="en-US" dirty="0"/>
          </a:p>
        </p:txBody>
      </p:sp>
      <p:graphicFrame>
        <p:nvGraphicFramePr>
          <p:cNvPr id="4" name="图示 3"/>
          <p:cNvGraphicFramePr/>
          <p:nvPr>
            <p:extLst>
              <p:ext uri="{D42A27DB-BD31-4B8C-83A1-F6EECF244321}">
                <p14:modId xmlns:p14="http://schemas.microsoft.com/office/powerpoint/2010/main" val="1821624842"/>
              </p:ext>
            </p:extLst>
          </p:nvPr>
        </p:nvGraphicFramePr>
        <p:xfrm>
          <a:off x="1077104" y="1397000"/>
          <a:ext cx="6887636" cy="38371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18752320"/>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07260" y="113096"/>
            <a:ext cx="7092498" cy="609600"/>
          </a:xfrm>
        </p:spPr>
        <p:txBody>
          <a:bodyPr/>
          <a:lstStyle/>
          <a:p>
            <a:r>
              <a:rPr lang="en-US" altLang="zh-CN" dirty="0" smtClean="0"/>
              <a:t>3.7 </a:t>
            </a:r>
            <a:r>
              <a:rPr lang="zh-CN" altLang="en-US" dirty="0" smtClean="0"/>
              <a:t>问题解答：为什么要了解黑客入侵的行为轨迹？</a:t>
            </a:r>
            <a:endParaRPr lang="zh-CN" altLang="en-US" dirty="0"/>
          </a:p>
        </p:txBody>
      </p:sp>
      <p:graphicFrame>
        <p:nvGraphicFramePr>
          <p:cNvPr id="5" name="图示 4"/>
          <p:cNvGraphicFramePr/>
          <p:nvPr>
            <p:extLst>
              <p:ext uri="{D42A27DB-BD31-4B8C-83A1-F6EECF244321}">
                <p14:modId xmlns:p14="http://schemas.microsoft.com/office/powerpoint/2010/main" val="831967381"/>
              </p:ext>
            </p:extLst>
          </p:nvPr>
        </p:nvGraphicFramePr>
        <p:xfrm>
          <a:off x="904726" y="1144689"/>
          <a:ext cx="7558204" cy="41209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7897808"/>
      </p:ext>
    </p:extLst>
  </p:cSld>
  <p:clrMapOvr>
    <a:masterClrMapping/>
  </p:clrMapOvr>
  <p:transition advClick="0"/>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3.8 </a:t>
            </a:r>
            <a:r>
              <a:rPr lang="zh-CN" altLang="en-US" dirty="0" smtClean="0"/>
              <a:t>小结</a:t>
            </a:r>
            <a:endParaRPr lang="zh-CN" altLang="en-US" dirty="0"/>
          </a:p>
        </p:txBody>
      </p:sp>
      <p:sp>
        <p:nvSpPr>
          <p:cNvPr id="3" name="内容占位符 2"/>
          <p:cNvSpPr>
            <a:spLocks noGrp="1"/>
          </p:cNvSpPr>
          <p:nvPr>
            <p:ph idx="1"/>
          </p:nvPr>
        </p:nvSpPr>
        <p:spPr/>
        <p:txBody>
          <a:bodyPr/>
          <a:lstStyle/>
          <a:p>
            <a:r>
              <a:rPr lang="zh-CN" altLang="en-US" dirty="0" smtClean="0"/>
              <a:t>小结</a:t>
            </a:r>
            <a:endParaRPr lang="en-US" altLang="zh-CN" dirty="0" smtClean="0"/>
          </a:p>
          <a:p>
            <a:pPr lvl="1"/>
            <a:r>
              <a:rPr lang="zh-CN" altLang="en-US" dirty="0" smtClean="0"/>
              <a:t>黑客入侵的行为轨迹</a:t>
            </a:r>
            <a:endParaRPr lang="en-US" altLang="zh-CN" dirty="0" smtClean="0"/>
          </a:p>
          <a:p>
            <a:pPr lvl="2"/>
            <a:r>
              <a:rPr lang="zh-CN" altLang="en-US" dirty="0" smtClean="0"/>
              <a:t>明确目标</a:t>
            </a:r>
            <a:endParaRPr lang="en-US" altLang="zh-CN" dirty="0" smtClean="0"/>
          </a:p>
          <a:p>
            <a:pPr lvl="2"/>
            <a:r>
              <a:rPr lang="zh-CN" altLang="en-US" dirty="0" smtClean="0"/>
              <a:t>控制目标</a:t>
            </a:r>
            <a:endParaRPr lang="en-US" altLang="zh-CN" dirty="0" smtClean="0"/>
          </a:p>
          <a:p>
            <a:pPr lvl="2"/>
            <a:r>
              <a:rPr lang="zh-CN" altLang="en-US" dirty="0" smtClean="0"/>
              <a:t>收割撤退</a:t>
            </a:r>
            <a:endParaRPr lang="en-US" altLang="zh-CN" dirty="0" smtClean="0"/>
          </a:p>
        </p:txBody>
      </p:sp>
    </p:spTree>
    <p:extLst>
      <p:ext uri="{BB962C8B-B14F-4D97-AF65-F5344CB8AC3E}">
        <p14:creationId xmlns:p14="http://schemas.microsoft.com/office/powerpoint/2010/main" val="1772300516"/>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AutoShape 11"/>
          <p:cNvSpPr>
            <a:spLocks noChangeArrowheads="1"/>
          </p:cNvSpPr>
          <p:nvPr/>
        </p:nvSpPr>
        <p:spPr bwMode="auto">
          <a:xfrm>
            <a:off x="1780526" y="2089648"/>
            <a:ext cx="540556" cy="295529"/>
          </a:xfrm>
          <a:prstGeom prst="roundRect">
            <a:avLst>
              <a:gd name="adj" fmla="val 16667"/>
            </a:avLst>
          </a:prstGeom>
          <a:solidFill>
            <a:srgbClr val="9999FF"/>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4</a:t>
            </a:r>
            <a:endParaRPr kumimoji="1" lang="en-GB" altLang="zh-CN" b="0" kern="0" dirty="0">
              <a:latin typeface="微软雅黑" pitchFamily="34" charset="-122"/>
              <a:ea typeface="微软雅黑" pitchFamily="34" charset="-122"/>
            </a:endParaRPr>
          </a:p>
        </p:txBody>
      </p:sp>
      <p:sp>
        <p:nvSpPr>
          <p:cNvPr id="5" name="AutoShape 3"/>
          <p:cNvSpPr>
            <a:spLocks noChangeArrowheads="1"/>
          </p:cNvSpPr>
          <p:nvPr/>
        </p:nvSpPr>
        <p:spPr bwMode="auto">
          <a:xfrm>
            <a:off x="2561152" y="2089648"/>
            <a:ext cx="4686938" cy="295529"/>
          </a:xfrm>
          <a:prstGeom prst="roundRect">
            <a:avLst>
              <a:gd name="adj" fmla="val 16667"/>
            </a:avLst>
          </a:prstGeom>
          <a:solidFill>
            <a:srgbClr val="9999FF"/>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eaLnBrk="0" fontAlgn="auto" hangingPunct="0">
              <a:spcBef>
                <a:spcPts val="0"/>
              </a:spcBef>
              <a:spcAft>
                <a:spcPts val="0"/>
              </a:spcAft>
            </a:pPr>
            <a:r>
              <a:rPr kumimoji="1" lang="zh-CN" altLang="en-US" b="0" kern="0" dirty="0" smtClean="0">
                <a:latin typeface="微软雅黑" pitchFamily="34" charset="-122"/>
                <a:ea typeface="微软雅黑" pitchFamily="34" charset="-122"/>
              </a:rPr>
              <a:t>渗透测试的课程</a:t>
            </a:r>
            <a:r>
              <a:rPr kumimoji="1" lang="zh-CN" altLang="en-US" b="0" kern="0" dirty="0">
                <a:latin typeface="微软雅黑" pitchFamily="34" charset="-122"/>
                <a:ea typeface="微软雅黑" pitchFamily="34" charset="-122"/>
              </a:rPr>
              <a:t>回顾</a:t>
            </a:r>
          </a:p>
        </p:txBody>
      </p:sp>
      <p:sp>
        <p:nvSpPr>
          <p:cNvPr id="8" name="AutoShape 11"/>
          <p:cNvSpPr>
            <a:spLocks noChangeArrowheads="1"/>
          </p:cNvSpPr>
          <p:nvPr/>
        </p:nvSpPr>
        <p:spPr bwMode="auto">
          <a:xfrm>
            <a:off x="1783153" y="1720236"/>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3</a:t>
            </a:r>
            <a:endParaRPr kumimoji="1" lang="en-GB" altLang="zh-CN" b="0" kern="0" dirty="0">
              <a:latin typeface="微软雅黑" pitchFamily="34" charset="-122"/>
              <a:ea typeface="微软雅黑" pitchFamily="34" charset="-122"/>
            </a:endParaRPr>
          </a:p>
        </p:txBody>
      </p:sp>
      <p:sp>
        <p:nvSpPr>
          <p:cNvPr id="9" name="AutoShape 3"/>
          <p:cNvSpPr>
            <a:spLocks noChangeArrowheads="1"/>
          </p:cNvSpPr>
          <p:nvPr/>
        </p:nvSpPr>
        <p:spPr bwMode="auto">
          <a:xfrm>
            <a:off x="2563779" y="1720236"/>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pPr>
            <a:r>
              <a:rPr kumimoji="1" lang="zh-CN" altLang="en-US" b="0" kern="0" dirty="0">
                <a:latin typeface="微软雅黑" pitchFamily="34" charset="-122"/>
                <a:ea typeface="微软雅黑" pitchFamily="34" charset="-122"/>
              </a:rPr>
              <a:t>黑客入侵的行为轨迹</a:t>
            </a:r>
          </a:p>
        </p:txBody>
      </p:sp>
      <p:sp>
        <p:nvSpPr>
          <p:cNvPr id="24" name="AutoShape 11"/>
          <p:cNvSpPr>
            <a:spLocks noChangeArrowheads="1"/>
          </p:cNvSpPr>
          <p:nvPr/>
        </p:nvSpPr>
        <p:spPr bwMode="auto">
          <a:xfrm>
            <a:off x="1783460" y="1334299"/>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2</a:t>
            </a:r>
            <a:endParaRPr kumimoji="1" lang="en-GB" altLang="zh-CN" b="0" kern="0" dirty="0">
              <a:latin typeface="微软雅黑" pitchFamily="34" charset="-122"/>
              <a:ea typeface="微软雅黑" pitchFamily="34" charset="-122"/>
            </a:endParaRPr>
          </a:p>
        </p:txBody>
      </p:sp>
      <p:sp>
        <p:nvSpPr>
          <p:cNvPr id="25" name="AutoShape 3"/>
          <p:cNvSpPr>
            <a:spLocks noChangeArrowheads="1"/>
          </p:cNvSpPr>
          <p:nvPr/>
        </p:nvSpPr>
        <p:spPr bwMode="auto">
          <a:xfrm>
            <a:off x="2564086" y="1334299"/>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pPr>
            <a:r>
              <a:rPr kumimoji="1" lang="zh-CN" altLang="en-US" b="0" kern="0" dirty="0">
                <a:latin typeface="微软雅黑" pitchFamily="34" charset="-122"/>
                <a:ea typeface="微软雅黑" pitchFamily="34" charset="-122"/>
              </a:rPr>
              <a:t>渗透测试的执行步骤</a:t>
            </a:r>
          </a:p>
        </p:txBody>
      </p:sp>
      <p:sp>
        <p:nvSpPr>
          <p:cNvPr id="26" name="AutoShape 11"/>
          <p:cNvSpPr>
            <a:spLocks noChangeArrowheads="1"/>
          </p:cNvSpPr>
          <p:nvPr/>
        </p:nvSpPr>
        <p:spPr bwMode="auto">
          <a:xfrm>
            <a:off x="1786087" y="964887"/>
            <a:ext cx="540556" cy="295529"/>
          </a:xfrm>
          <a:prstGeom prst="roundRect">
            <a:avLst>
              <a:gd name="adj" fmla="val 16667"/>
            </a:avLst>
          </a:prstGeom>
          <a:solidFill>
            <a:schemeClr val="bg1"/>
          </a:solidFill>
          <a:ln w="9525">
            <a:solidFill>
              <a:srgbClr val="7D8C96"/>
            </a:solidFill>
            <a:round/>
            <a:headEnd/>
            <a:tailEnd/>
          </a:ln>
          <a:effectLst>
            <a:outerShdw dist="53882" dir="2700000" algn="ctr" rotWithShape="0">
              <a:srgbClr val="D0D0D0"/>
            </a:outerShdw>
          </a:effectLst>
        </p:spPr>
        <p:txBody>
          <a:bodyPr lIns="36000" tIns="0" rIns="36000" bIns="0" anchor="ctr"/>
          <a:lstStyle/>
          <a:p>
            <a:pPr marL="241300" indent="-241300" algn="ctr" eaLnBrk="0" fontAlgn="auto" hangingPunct="0">
              <a:spcBef>
                <a:spcPts val="0"/>
              </a:spcBef>
              <a:spcAft>
                <a:spcPts val="0"/>
              </a:spcAft>
            </a:pPr>
            <a:r>
              <a:rPr kumimoji="1" lang="en-US" altLang="zh-CN" b="0" kern="0" dirty="0">
                <a:latin typeface="微软雅黑" pitchFamily="34" charset="-122"/>
                <a:ea typeface="微软雅黑" pitchFamily="34" charset="-122"/>
              </a:rPr>
              <a:t>1</a:t>
            </a:r>
            <a:endParaRPr kumimoji="1" lang="en-GB" altLang="zh-CN" b="0" kern="0" dirty="0">
              <a:latin typeface="微软雅黑" pitchFamily="34" charset="-122"/>
              <a:ea typeface="微软雅黑" pitchFamily="34" charset="-122"/>
            </a:endParaRPr>
          </a:p>
        </p:txBody>
      </p:sp>
      <p:sp>
        <p:nvSpPr>
          <p:cNvPr id="27" name="AutoShape 3"/>
          <p:cNvSpPr>
            <a:spLocks noChangeArrowheads="1"/>
          </p:cNvSpPr>
          <p:nvPr/>
        </p:nvSpPr>
        <p:spPr bwMode="auto">
          <a:xfrm>
            <a:off x="2566713" y="964887"/>
            <a:ext cx="4686938"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pPr>
            <a:r>
              <a:rPr kumimoji="1" lang="zh-CN" altLang="en-US" b="0" kern="0" dirty="0">
                <a:latin typeface="微软雅黑" pitchFamily="34" charset="-122"/>
                <a:ea typeface="微软雅黑" pitchFamily="34" charset="-122"/>
              </a:rPr>
              <a:t>渗透测试的基本概念</a:t>
            </a:r>
          </a:p>
        </p:txBody>
      </p:sp>
      <p:sp>
        <p:nvSpPr>
          <p:cNvPr id="11" name="AutoShape 11"/>
          <p:cNvSpPr>
            <a:spLocks noChangeArrowheads="1"/>
          </p:cNvSpPr>
          <p:nvPr/>
        </p:nvSpPr>
        <p:spPr bwMode="auto">
          <a:xfrm>
            <a:off x="2608346" y="2870351"/>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smtClean="0">
                <a:solidFill>
                  <a:prstClr val="black"/>
                </a:solidFill>
                <a:latin typeface="微软雅黑" pitchFamily="34" charset="-122"/>
                <a:ea typeface="微软雅黑" pitchFamily="34" charset="-122"/>
              </a:rPr>
              <a:t>4.2</a:t>
            </a:r>
            <a:endParaRPr kumimoji="1" lang="en-GB" altLang="zh-CN" sz="1400" b="0" kern="0" dirty="0">
              <a:solidFill>
                <a:prstClr val="black"/>
              </a:solidFill>
              <a:latin typeface="微软雅黑" pitchFamily="34" charset="-122"/>
              <a:ea typeface="微软雅黑" pitchFamily="34" charset="-122"/>
            </a:endParaRPr>
          </a:p>
        </p:txBody>
      </p:sp>
      <p:sp>
        <p:nvSpPr>
          <p:cNvPr id="12" name="AutoShape 3"/>
          <p:cNvSpPr>
            <a:spLocks noChangeArrowheads="1"/>
          </p:cNvSpPr>
          <p:nvPr/>
        </p:nvSpPr>
        <p:spPr bwMode="auto">
          <a:xfrm>
            <a:off x="3329517" y="2870351"/>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后续课程</a:t>
            </a:r>
            <a:endParaRPr kumimoji="1" lang="zh-CN" altLang="en-US" sz="1400" b="0" kern="0" dirty="0">
              <a:solidFill>
                <a:prstClr val="black"/>
              </a:solidFill>
              <a:latin typeface="微软雅黑" pitchFamily="34" charset="-122"/>
              <a:ea typeface="微软雅黑" pitchFamily="34" charset="-122"/>
            </a:endParaRPr>
          </a:p>
        </p:txBody>
      </p:sp>
      <p:sp>
        <p:nvSpPr>
          <p:cNvPr id="13" name="AutoShape 11"/>
          <p:cNvSpPr>
            <a:spLocks noChangeArrowheads="1"/>
          </p:cNvSpPr>
          <p:nvPr/>
        </p:nvSpPr>
        <p:spPr bwMode="auto">
          <a:xfrm>
            <a:off x="2608346" y="2503482"/>
            <a:ext cx="626490"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en-US" altLang="zh-CN" sz="1400" b="0" kern="0" dirty="0" smtClean="0">
                <a:solidFill>
                  <a:prstClr val="black"/>
                </a:solidFill>
                <a:latin typeface="微软雅黑" pitchFamily="34" charset="-122"/>
                <a:ea typeface="微软雅黑" pitchFamily="34" charset="-122"/>
              </a:rPr>
              <a:t>4.1</a:t>
            </a:r>
            <a:endParaRPr kumimoji="1" lang="en-GB" altLang="zh-CN" sz="1400" b="0" kern="0" dirty="0">
              <a:solidFill>
                <a:prstClr val="black"/>
              </a:solidFill>
              <a:latin typeface="微软雅黑" pitchFamily="34" charset="-122"/>
              <a:ea typeface="微软雅黑" pitchFamily="34" charset="-122"/>
            </a:endParaRPr>
          </a:p>
        </p:txBody>
      </p:sp>
      <p:sp>
        <p:nvSpPr>
          <p:cNvPr id="14" name="AutoShape 3"/>
          <p:cNvSpPr>
            <a:spLocks noChangeArrowheads="1"/>
          </p:cNvSpPr>
          <p:nvPr/>
        </p:nvSpPr>
        <p:spPr bwMode="auto">
          <a:xfrm>
            <a:off x="3329517" y="2503482"/>
            <a:ext cx="3902452" cy="295529"/>
          </a:xfrm>
          <a:prstGeom prst="roundRect">
            <a:avLst>
              <a:gd name="adj" fmla="val 16667"/>
            </a:avLst>
          </a:prstGeom>
          <a:solidFill>
            <a:schemeClr val="bg1"/>
          </a:solidFill>
          <a:ln w="9525" algn="ctr">
            <a:solidFill>
              <a:srgbClr val="7D8C96"/>
            </a:solidFill>
            <a:round/>
            <a:headEnd/>
            <a:tailEnd/>
          </a:ln>
          <a:effectLst>
            <a:outerShdw dist="53882" dir="2700000" algn="ctr" rotWithShape="0">
              <a:srgbClr val="D0D0D0"/>
            </a:outerShdw>
          </a:effectLst>
        </p:spPr>
        <p:txBody>
          <a:bodyPr lIns="144000" tIns="0" rIns="36000" bIns="0" anchor="ctr"/>
          <a:lstStyle/>
          <a:p>
            <a:pPr marL="241300" indent="-241300" eaLnBrk="0" fontAlgn="auto" hangingPunct="0">
              <a:spcBef>
                <a:spcPts val="0"/>
              </a:spcBef>
              <a:spcAft>
                <a:spcPts val="0"/>
              </a:spcAft>
              <a:defRPr/>
            </a:pPr>
            <a:r>
              <a:rPr kumimoji="1" lang="zh-CN" altLang="en-US" sz="1400" b="0" kern="0" dirty="0" smtClean="0">
                <a:solidFill>
                  <a:prstClr val="black"/>
                </a:solidFill>
                <a:latin typeface="微软雅黑" pitchFamily="34" charset="-122"/>
                <a:ea typeface="微软雅黑" pitchFamily="34" charset="-122"/>
              </a:rPr>
              <a:t>课程回顾</a:t>
            </a:r>
            <a:endParaRPr kumimoji="1" lang="zh-CN" altLang="en-US" sz="1400" b="0" kern="0" dirty="0">
              <a:solidFill>
                <a:prstClr val="black"/>
              </a:solidFill>
              <a:latin typeface="微软雅黑" pitchFamily="34" charset="-122"/>
              <a:ea typeface="微软雅黑" pitchFamily="34" charset="-122"/>
            </a:endParaRPr>
          </a:p>
        </p:txBody>
      </p:sp>
    </p:spTree>
    <p:extLst>
      <p:ext uri="{BB962C8B-B14F-4D97-AF65-F5344CB8AC3E}">
        <p14:creationId xmlns:p14="http://schemas.microsoft.com/office/powerpoint/2010/main" val="198962375"/>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4.1 </a:t>
            </a:r>
            <a:r>
              <a:rPr lang="zh-CN" altLang="en-US" dirty="0" smtClean="0"/>
              <a:t>课程回顾</a:t>
            </a:r>
            <a:endParaRPr lang="zh-CN" altLang="en-US" dirty="0"/>
          </a:p>
        </p:txBody>
      </p:sp>
      <p:graphicFrame>
        <p:nvGraphicFramePr>
          <p:cNvPr id="4" name="图示 3"/>
          <p:cNvGraphicFramePr/>
          <p:nvPr>
            <p:extLst>
              <p:ext uri="{D42A27DB-BD31-4B8C-83A1-F6EECF244321}">
                <p14:modId xmlns:p14="http://schemas.microsoft.com/office/powerpoint/2010/main" val="3874771840"/>
              </p:ext>
            </p:extLst>
          </p:nvPr>
        </p:nvGraphicFramePr>
        <p:xfrm>
          <a:off x="2449039" y="1397000"/>
          <a:ext cx="4781107" cy="27603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44939366"/>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4.1 </a:t>
            </a:r>
            <a:r>
              <a:rPr lang="zh-CN" altLang="en-US" dirty="0" smtClean="0"/>
              <a:t>课程回顾：基本概念</a:t>
            </a:r>
            <a:endParaRPr lang="zh-CN" altLang="en-US" dirty="0"/>
          </a:p>
        </p:txBody>
      </p:sp>
      <p:graphicFrame>
        <p:nvGraphicFramePr>
          <p:cNvPr id="4" name="图示 3"/>
          <p:cNvGraphicFramePr/>
          <p:nvPr>
            <p:extLst>
              <p:ext uri="{D42A27DB-BD31-4B8C-83A1-F6EECF244321}">
                <p14:modId xmlns:p14="http://schemas.microsoft.com/office/powerpoint/2010/main" val="506835078"/>
              </p:ext>
            </p:extLst>
          </p:nvPr>
        </p:nvGraphicFramePr>
        <p:xfrm>
          <a:off x="1524000" y="13970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40412732"/>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4.1 </a:t>
            </a:r>
            <a:r>
              <a:rPr lang="zh-CN" altLang="en-US" dirty="0" smtClean="0"/>
              <a:t>课程回顾：渗透测试执行标准</a:t>
            </a:r>
            <a:endParaRPr lang="zh-CN" altLang="en-US" dirty="0"/>
          </a:p>
        </p:txBody>
      </p:sp>
      <p:graphicFrame>
        <p:nvGraphicFramePr>
          <p:cNvPr id="4" name="图示 3"/>
          <p:cNvGraphicFramePr/>
          <p:nvPr>
            <p:extLst>
              <p:ext uri="{D42A27DB-BD31-4B8C-83A1-F6EECF244321}">
                <p14:modId xmlns:p14="http://schemas.microsoft.com/office/powerpoint/2010/main" val="1930667662"/>
              </p:ext>
            </p:extLst>
          </p:nvPr>
        </p:nvGraphicFramePr>
        <p:xfrm>
          <a:off x="1333166" y="1190264"/>
          <a:ext cx="6960042" cy="47175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81669806"/>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4.1 </a:t>
            </a:r>
            <a:r>
              <a:rPr lang="zh-CN" altLang="en-US" dirty="0" smtClean="0"/>
              <a:t>课程回顾：黑客入侵的行为轨迹</a:t>
            </a:r>
            <a:endParaRPr lang="zh-CN" altLang="en-US" dirty="0"/>
          </a:p>
        </p:txBody>
      </p:sp>
      <p:sp>
        <p:nvSpPr>
          <p:cNvPr id="3" name="内容占位符 2"/>
          <p:cNvSpPr>
            <a:spLocks noGrp="1"/>
          </p:cNvSpPr>
          <p:nvPr>
            <p:ph idx="1"/>
          </p:nvPr>
        </p:nvSpPr>
        <p:spPr>
          <a:xfrm>
            <a:off x="0" y="5070561"/>
            <a:ext cx="9143999" cy="1271516"/>
          </a:xfrm>
        </p:spPr>
        <p:txBody>
          <a:bodyPr/>
          <a:lstStyle/>
          <a:p>
            <a:r>
              <a:rPr lang="zh-CN" altLang="en-US" dirty="0" smtClean="0"/>
              <a:t>明确目标：获得学生档案</a:t>
            </a:r>
            <a:r>
              <a:rPr lang="en-US" altLang="zh-CN" dirty="0" smtClean="0"/>
              <a:t>—</a:t>
            </a:r>
            <a:r>
              <a:rPr lang="zh-CN" altLang="en-US" dirty="0" smtClean="0"/>
              <a:t>进入校内网</a:t>
            </a:r>
            <a:r>
              <a:rPr lang="en-US" altLang="zh-CN" dirty="0" smtClean="0"/>
              <a:t>—</a:t>
            </a:r>
            <a:r>
              <a:rPr lang="zh-CN" altLang="en-US" dirty="0" smtClean="0"/>
              <a:t>进入服务器区</a:t>
            </a:r>
            <a:r>
              <a:rPr lang="en-US" altLang="zh-CN" dirty="0" smtClean="0"/>
              <a:t>—</a:t>
            </a:r>
            <a:r>
              <a:rPr lang="zh-CN" altLang="en-US" dirty="0" smtClean="0"/>
              <a:t>进入服务器</a:t>
            </a:r>
            <a:r>
              <a:rPr lang="en-US" altLang="zh-CN" dirty="0" smtClean="0"/>
              <a:t>—</a:t>
            </a:r>
            <a:r>
              <a:rPr lang="zh-CN" altLang="en-US" dirty="0" smtClean="0"/>
              <a:t>获得档案；</a:t>
            </a:r>
            <a:endParaRPr lang="en-US" altLang="zh-CN" dirty="0" smtClean="0"/>
          </a:p>
          <a:p>
            <a:r>
              <a:rPr lang="zh-CN" altLang="en-US" dirty="0" smtClean="0"/>
              <a:t>控制目标：嗅探踩点网络、应用边界</a:t>
            </a:r>
            <a:r>
              <a:rPr lang="en-US" altLang="zh-CN" dirty="0" smtClean="0"/>
              <a:t>—</a:t>
            </a:r>
            <a:r>
              <a:rPr lang="zh-CN" altLang="en-US" dirty="0" smtClean="0"/>
              <a:t>精确定位进入服务器区</a:t>
            </a:r>
            <a:r>
              <a:rPr lang="en-US" altLang="zh-CN" dirty="0" smtClean="0"/>
              <a:t>—</a:t>
            </a:r>
            <a:r>
              <a:rPr lang="zh-CN" altLang="en-US" dirty="0" smtClean="0"/>
              <a:t>精确打击控制服务器；</a:t>
            </a:r>
            <a:endParaRPr lang="en-US" altLang="zh-CN" dirty="0" smtClean="0"/>
          </a:p>
          <a:p>
            <a:r>
              <a:rPr lang="zh-CN" altLang="en-US" dirty="0" smtClean="0"/>
              <a:t>收割撤退：收割转移学生档案</a:t>
            </a:r>
            <a:r>
              <a:rPr lang="en-US" altLang="zh-CN" dirty="0" smtClean="0"/>
              <a:t>—</a:t>
            </a:r>
            <a:r>
              <a:rPr lang="zh-CN" altLang="en-US" dirty="0" smtClean="0"/>
              <a:t>撤退清痕打扫战场。</a:t>
            </a:r>
            <a:endParaRPr lang="zh-CN" altLang="en-US" dirty="0"/>
          </a:p>
        </p:txBody>
      </p:sp>
      <p:pic>
        <p:nvPicPr>
          <p:cNvPr id="4" name="图片 3"/>
          <p:cNvPicPr>
            <a:picLocks noChangeAspect="1"/>
          </p:cNvPicPr>
          <p:nvPr/>
        </p:nvPicPr>
        <p:blipFill>
          <a:blip r:embed="rId2"/>
          <a:stretch>
            <a:fillRect/>
          </a:stretch>
        </p:blipFill>
        <p:spPr>
          <a:xfrm>
            <a:off x="323957" y="771788"/>
            <a:ext cx="8434148" cy="4221631"/>
          </a:xfrm>
          <a:prstGeom prst="rect">
            <a:avLst/>
          </a:prstGeom>
        </p:spPr>
      </p:pic>
      <p:grpSp>
        <p:nvGrpSpPr>
          <p:cNvPr id="7" name="组合 6"/>
          <p:cNvGrpSpPr/>
          <p:nvPr/>
        </p:nvGrpSpPr>
        <p:grpSpPr>
          <a:xfrm>
            <a:off x="1047307" y="2584891"/>
            <a:ext cx="2663536" cy="597876"/>
            <a:chOff x="1047307" y="2584891"/>
            <a:chExt cx="2663536" cy="597876"/>
          </a:xfrm>
        </p:grpSpPr>
        <p:sp>
          <p:nvSpPr>
            <p:cNvPr id="5" name="椭圆 4"/>
            <p:cNvSpPr/>
            <p:nvPr/>
          </p:nvSpPr>
          <p:spPr bwMode="auto">
            <a:xfrm>
              <a:off x="1047307" y="2584891"/>
              <a:ext cx="1127051" cy="595423"/>
            </a:xfrm>
            <a:prstGeom prst="ellipse">
              <a:avLst/>
            </a:prstGeom>
            <a:noFill/>
            <a:ln w="9525" cap="flat" cmpd="sng" algn="ctr">
              <a:solidFill>
                <a:srgbClr val="FF0000"/>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algn="ctr"/>
              <a:endParaRPr lang="zh-CN" altLang="en-US" dirty="0" smtClean="0">
                <a:ln>
                  <a:solidFill>
                    <a:srgbClr val="FF0000"/>
                  </a:solidFill>
                </a:ln>
              </a:endParaRPr>
            </a:p>
          </p:txBody>
        </p:sp>
        <p:sp>
          <p:nvSpPr>
            <p:cNvPr id="6" name="文本框 5"/>
            <p:cNvSpPr txBox="1"/>
            <p:nvPr/>
          </p:nvSpPr>
          <p:spPr>
            <a:xfrm>
              <a:off x="2078665" y="2844213"/>
              <a:ext cx="1632178" cy="338554"/>
            </a:xfrm>
            <a:prstGeom prst="rect">
              <a:avLst/>
            </a:prstGeom>
            <a:noFill/>
          </p:spPr>
          <p:txBody>
            <a:bodyPr wrap="none" rtlCol="0">
              <a:spAutoFit/>
            </a:bodyPr>
            <a:lstStyle/>
            <a:p>
              <a:r>
                <a:rPr lang="zh-CN" altLang="en-US" dirty="0" smtClean="0">
                  <a:solidFill>
                    <a:srgbClr val="FF0000"/>
                  </a:solidFill>
                </a:rPr>
                <a:t>目标：学生档案</a:t>
              </a:r>
              <a:endParaRPr lang="zh-CN" altLang="en-US" dirty="0">
                <a:solidFill>
                  <a:srgbClr val="FF0000"/>
                </a:solidFill>
              </a:endParaRPr>
            </a:p>
          </p:txBody>
        </p:sp>
      </p:grpSp>
      <p:sp>
        <p:nvSpPr>
          <p:cNvPr id="9" name="圆角矩形 8"/>
          <p:cNvSpPr/>
          <p:nvPr/>
        </p:nvSpPr>
        <p:spPr bwMode="auto">
          <a:xfrm>
            <a:off x="397870" y="1765005"/>
            <a:ext cx="8033749" cy="2860158"/>
          </a:xfrm>
          <a:prstGeom prst="roundRect">
            <a:avLst/>
          </a:prstGeom>
          <a:solidFill>
            <a:srgbClr val="FFFF00">
              <a:alpha val="24000"/>
            </a:srgbClr>
          </a:solidFill>
          <a:ln w="9525" cap="flat" cmpd="sng" algn="ctr">
            <a:solidFill>
              <a:srgbClr val="FFFF00"/>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algn="ctr"/>
            <a:endParaRPr lang="zh-CN" altLang="en-US" dirty="0" smtClean="0">
              <a:ln>
                <a:solidFill>
                  <a:srgbClr val="FF0000"/>
                </a:solidFill>
              </a:ln>
            </a:endParaRPr>
          </a:p>
        </p:txBody>
      </p:sp>
      <p:sp>
        <p:nvSpPr>
          <p:cNvPr id="10" name="圆角矩形 9"/>
          <p:cNvSpPr/>
          <p:nvPr/>
        </p:nvSpPr>
        <p:spPr bwMode="auto">
          <a:xfrm>
            <a:off x="579474" y="2493334"/>
            <a:ext cx="1908545" cy="738963"/>
          </a:xfrm>
          <a:prstGeom prst="roundRect">
            <a:avLst/>
          </a:prstGeom>
          <a:solidFill>
            <a:srgbClr val="FF0000">
              <a:alpha val="37000"/>
            </a:srgbClr>
          </a:solidFill>
          <a:ln w="9525" cap="flat" cmpd="sng" algn="ctr">
            <a:solidFill>
              <a:srgbClr val="FF0000"/>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algn="ctr"/>
            <a:endParaRPr lang="zh-CN" altLang="en-US" dirty="0" smtClean="0">
              <a:ln>
                <a:solidFill>
                  <a:srgbClr val="FF0000"/>
                </a:solidFill>
              </a:ln>
            </a:endParaRPr>
          </a:p>
        </p:txBody>
      </p:sp>
      <p:grpSp>
        <p:nvGrpSpPr>
          <p:cNvPr id="11" name="组合 10"/>
          <p:cNvGrpSpPr/>
          <p:nvPr/>
        </p:nvGrpSpPr>
        <p:grpSpPr>
          <a:xfrm>
            <a:off x="1790633" y="2364025"/>
            <a:ext cx="288032" cy="504056"/>
            <a:chOff x="539552" y="2564904"/>
            <a:chExt cx="288032" cy="504056"/>
          </a:xfrm>
          <a:solidFill>
            <a:srgbClr val="FF0000"/>
          </a:solidFill>
        </p:grpSpPr>
        <p:cxnSp>
          <p:nvCxnSpPr>
            <p:cNvPr id="12" name="直接连接符 11"/>
            <p:cNvCxnSpPr/>
            <p:nvPr/>
          </p:nvCxnSpPr>
          <p:spPr bwMode="auto">
            <a:xfrm flipV="1">
              <a:off x="539552" y="2564904"/>
              <a:ext cx="0" cy="504056"/>
            </a:xfrm>
            <a:prstGeom prst="line">
              <a:avLst/>
            </a:prstGeom>
            <a:grpFill/>
            <a:ln>
              <a:headEnd type="none" w="med" len="med"/>
              <a:tailEnd type="none" w="med" len="med"/>
            </a:ln>
          </p:spPr>
          <p:style>
            <a:lnRef idx="1">
              <a:schemeClr val="accent6"/>
            </a:lnRef>
            <a:fillRef idx="3">
              <a:schemeClr val="accent6"/>
            </a:fillRef>
            <a:effectRef idx="2">
              <a:schemeClr val="accent6"/>
            </a:effectRef>
            <a:fontRef idx="minor">
              <a:schemeClr val="lt1"/>
            </a:fontRef>
          </p:style>
        </p:cxnSp>
        <p:sp>
          <p:nvSpPr>
            <p:cNvPr id="13" name="流程图: 资料带 12"/>
            <p:cNvSpPr/>
            <p:nvPr/>
          </p:nvSpPr>
          <p:spPr bwMode="auto">
            <a:xfrm>
              <a:off x="539552" y="2564904"/>
              <a:ext cx="288032" cy="288032"/>
            </a:xfrm>
            <a:prstGeom prst="flowChartPunchedTape">
              <a:avLst/>
            </a:prstGeom>
            <a:grpFill/>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wrap="none" anchor="ctr"/>
            <a:lstStyle/>
            <a:p>
              <a:pPr algn="ctr">
                <a:defRPr/>
              </a:pPr>
              <a:endParaRPr lang="zh-CN" altLang="en-US" i="1">
                <a:solidFill>
                  <a:schemeClr val="tx1"/>
                </a:solidFill>
                <a:latin typeface="Verdana" pitchFamily="34" charset="0"/>
                <a:ea typeface="宋体" charset="-122"/>
              </a:endParaRPr>
            </a:p>
          </p:txBody>
        </p:sp>
      </p:grpSp>
    </p:spTree>
    <p:extLst>
      <p:ext uri="{BB962C8B-B14F-4D97-AF65-F5344CB8AC3E}">
        <p14:creationId xmlns:p14="http://schemas.microsoft.com/office/powerpoint/2010/main" val="99791070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4.2 </a:t>
            </a:r>
            <a:r>
              <a:rPr lang="zh-CN" altLang="en-US" dirty="0" smtClean="0"/>
              <a:t>后续课程</a:t>
            </a:r>
            <a:endParaRPr lang="zh-CN" altLang="en-US" dirty="0"/>
          </a:p>
        </p:txBody>
      </p:sp>
      <p:sp>
        <p:nvSpPr>
          <p:cNvPr id="3" name="内容占位符 2"/>
          <p:cNvSpPr>
            <a:spLocks noGrp="1"/>
          </p:cNvSpPr>
          <p:nvPr>
            <p:ph idx="1"/>
          </p:nvPr>
        </p:nvSpPr>
        <p:spPr/>
        <p:txBody>
          <a:bodyPr/>
          <a:lstStyle/>
          <a:p>
            <a:pPr marL="0" indent="0">
              <a:buNone/>
            </a:pPr>
            <a:r>
              <a:rPr lang="zh-CN" altLang="en-US" sz="2800" dirty="0" smtClean="0"/>
              <a:t>第一部分 渗透测试基础知识</a:t>
            </a:r>
            <a:endParaRPr lang="en-US" altLang="zh-CN" sz="2800" dirty="0" smtClean="0"/>
          </a:p>
          <a:p>
            <a:pPr marL="0" indent="0">
              <a:buNone/>
            </a:pPr>
            <a:r>
              <a:rPr lang="zh-CN" altLang="en-US" sz="2800" dirty="0" smtClean="0">
                <a:solidFill>
                  <a:srgbClr val="FF0000"/>
                </a:solidFill>
              </a:rPr>
              <a:t>第二部分 </a:t>
            </a:r>
            <a:r>
              <a:rPr lang="en-US" altLang="zh-CN" sz="2800" dirty="0" smtClean="0">
                <a:solidFill>
                  <a:srgbClr val="FF0000"/>
                </a:solidFill>
              </a:rPr>
              <a:t>WEB</a:t>
            </a:r>
            <a:r>
              <a:rPr lang="zh-CN" altLang="en-US" sz="2800" dirty="0" smtClean="0">
                <a:solidFill>
                  <a:srgbClr val="FF0000"/>
                </a:solidFill>
              </a:rPr>
              <a:t>应用安全漏洞</a:t>
            </a:r>
            <a:endParaRPr lang="en-US" altLang="zh-CN" sz="2800" dirty="0" smtClean="0">
              <a:solidFill>
                <a:srgbClr val="FF0000"/>
              </a:solidFill>
            </a:endParaRPr>
          </a:p>
          <a:p>
            <a:pPr marL="0" indent="0">
              <a:buNone/>
            </a:pPr>
            <a:r>
              <a:rPr lang="zh-CN" altLang="en-US" sz="2800" dirty="0" smtClean="0"/>
              <a:t>第三部分 主机安全漏洞</a:t>
            </a:r>
            <a:endParaRPr lang="zh-CN" altLang="en-US" sz="2800" dirty="0"/>
          </a:p>
        </p:txBody>
      </p:sp>
    </p:spTree>
    <p:extLst>
      <p:ext uri="{BB962C8B-B14F-4D97-AF65-F5344CB8AC3E}">
        <p14:creationId xmlns:p14="http://schemas.microsoft.com/office/powerpoint/2010/main" val="317149732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1.3 </a:t>
            </a:r>
            <a:r>
              <a:rPr lang="zh-CN" altLang="en-US" dirty="0" smtClean="0"/>
              <a:t>安全漏洞：基本概念</a:t>
            </a:r>
            <a:endParaRPr lang="zh-CN" altLang="en-US" dirty="0"/>
          </a:p>
        </p:txBody>
      </p:sp>
      <p:sp>
        <p:nvSpPr>
          <p:cNvPr id="3" name="内容占位符 2"/>
          <p:cNvSpPr>
            <a:spLocks noGrp="1"/>
          </p:cNvSpPr>
          <p:nvPr>
            <p:ph idx="1"/>
          </p:nvPr>
        </p:nvSpPr>
        <p:spPr/>
        <p:txBody>
          <a:bodyPr/>
          <a:lstStyle/>
          <a:p>
            <a:r>
              <a:rPr lang="zh-CN" altLang="en-US" dirty="0"/>
              <a:t>安全漏洞：计算机信息系统在需求、设计、实现、配置、运行等过程中，有意或无意产生的缺陷。这些缺陷以不同形式存在于计算机信息系统的各个层次和环节之中，一旦被恶意主体所利用，就会对计算机信息系统的安全造成损害，从而影响计算机信息系统的正常</a:t>
            </a:r>
            <a:r>
              <a:rPr lang="zh-CN" altLang="en-US" dirty="0" smtClean="0"/>
              <a:t>运行。如：</a:t>
            </a:r>
            <a:endParaRPr lang="en-US" altLang="zh-CN" dirty="0"/>
          </a:p>
          <a:p>
            <a:pPr lvl="1"/>
            <a:r>
              <a:rPr lang="zh-CN" altLang="en-US" dirty="0" smtClean="0"/>
              <a:t>设计阶段</a:t>
            </a:r>
            <a:r>
              <a:rPr lang="zh-CN" altLang="en-US" dirty="0"/>
              <a:t>引入的一个设计得非常容易被破解的加密算法</a:t>
            </a:r>
            <a:r>
              <a:rPr lang="zh-CN" altLang="en-US" dirty="0" smtClean="0"/>
              <a:t>，</a:t>
            </a:r>
            <a:endParaRPr lang="en-US" altLang="zh-CN" dirty="0" smtClean="0"/>
          </a:p>
          <a:p>
            <a:pPr lvl="1"/>
            <a:r>
              <a:rPr lang="zh-CN" altLang="en-US" dirty="0" smtClean="0"/>
              <a:t>实现阶段</a:t>
            </a:r>
            <a:r>
              <a:rPr lang="zh-CN" altLang="en-US" dirty="0"/>
              <a:t>引入的一个代码缓冲区溢出问题</a:t>
            </a:r>
            <a:r>
              <a:rPr lang="zh-CN" altLang="en-US" dirty="0" smtClean="0"/>
              <a:t>，</a:t>
            </a:r>
            <a:endParaRPr lang="en-US" altLang="zh-CN" dirty="0" smtClean="0"/>
          </a:p>
          <a:p>
            <a:pPr lvl="1"/>
            <a:r>
              <a:rPr lang="zh-CN" altLang="en-US" dirty="0" smtClean="0"/>
              <a:t>运</a:t>
            </a:r>
            <a:r>
              <a:rPr lang="zh-CN" altLang="en-US" dirty="0"/>
              <a:t>维阶段的一个错误的安全</a:t>
            </a:r>
            <a:r>
              <a:rPr lang="zh-CN" altLang="en-US" dirty="0" smtClean="0"/>
              <a:t>配置。</a:t>
            </a:r>
            <a:endParaRPr lang="zh-CN" altLang="en-US" dirty="0"/>
          </a:p>
        </p:txBody>
      </p:sp>
      <p:grpSp>
        <p:nvGrpSpPr>
          <p:cNvPr id="7" name="组合 6"/>
          <p:cNvGrpSpPr/>
          <p:nvPr/>
        </p:nvGrpSpPr>
        <p:grpSpPr>
          <a:xfrm>
            <a:off x="861514" y="2282393"/>
            <a:ext cx="7432948" cy="4059684"/>
            <a:chOff x="794583" y="2282393"/>
            <a:chExt cx="7432948" cy="4059684"/>
          </a:xfrm>
        </p:grpSpPr>
        <p:pic>
          <p:nvPicPr>
            <p:cNvPr id="5" name="图片 4"/>
            <p:cNvPicPr>
              <a:picLocks noChangeAspect="1"/>
            </p:cNvPicPr>
            <p:nvPr/>
          </p:nvPicPr>
          <p:blipFill>
            <a:blip r:embed="rId3"/>
            <a:stretch>
              <a:fillRect/>
            </a:stretch>
          </p:blipFill>
          <p:spPr>
            <a:xfrm>
              <a:off x="794583" y="2282393"/>
              <a:ext cx="7432948" cy="4059684"/>
            </a:xfrm>
            <a:prstGeom prst="rect">
              <a:avLst/>
            </a:prstGeom>
          </p:spPr>
        </p:pic>
        <p:sp>
          <p:nvSpPr>
            <p:cNvPr id="6" name="文本框 5"/>
            <p:cNvSpPr txBox="1"/>
            <p:nvPr/>
          </p:nvSpPr>
          <p:spPr>
            <a:xfrm>
              <a:off x="6016121" y="5133252"/>
              <a:ext cx="1218603" cy="338554"/>
            </a:xfrm>
            <a:prstGeom prst="rect">
              <a:avLst/>
            </a:prstGeom>
            <a:noFill/>
            <a:ln>
              <a:solidFill>
                <a:srgbClr val="FF0000"/>
              </a:solidFill>
            </a:ln>
          </p:spPr>
          <p:txBody>
            <a:bodyPr wrap="none" rtlCol="0">
              <a:spAutoFit/>
            </a:bodyPr>
            <a:lstStyle/>
            <a:p>
              <a:r>
                <a:rPr lang="zh-CN" altLang="en-US" dirty="0" smtClean="0">
                  <a:solidFill>
                    <a:srgbClr val="FF0000"/>
                  </a:solidFill>
                </a:rPr>
                <a:t>来源：乌云</a:t>
              </a:r>
              <a:endParaRPr lang="zh-CN" altLang="en-US" dirty="0">
                <a:solidFill>
                  <a:srgbClr val="FF0000"/>
                </a:solidFill>
              </a:endParaRPr>
            </a:p>
          </p:txBody>
        </p:sp>
      </p:grpSp>
    </p:spTree>
    <p:extLst>
      <p:ext uri="{BB962C8B-B14F-4D97-AF65-F5344CB8AC3E}">
        <p14:creationId xmlns:p14="http://schemas.microsoft.com/office/powerpoint/2010/main" val="22849725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dirty="0"/>
          </a:p>
        </p:txBody>
      </p:sp>
      <p:pic>
        <p:nvPicPr>
          <p:cNvPr id="56322" name="Picture 3" descr="J0289893"/>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tretch>
            <a:fillRect/>
          </a:stretch>
        </p:blipFill>
        <p:spPr bwMode="auto">
          <a:xfrm>
            <a:off x="2666422" y="1928053"/>
            <a:ext cx="3657600" cy="242620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2861952" y="4678878"/>
            <a:ext cx="3859481" cy="1015663"/>
          </a:xfrm>
          <a:prstGeom prst="rect">
            <a:avLst/>
          </a:prstGeom>
          <a:noFill/>
        </p:spPr>
        <p:txBody>
          <a:bodyPr wrap="square" rtlCol="0">
            <a:spAutoFit/>
          </a:bodyPr>
          <a:lstStyle/>
          <a:p>
            <a:pPr algn="ctr"/>
            <a:r>
              <a:rPr lang="zh-CN" altLang="en-US" sz="2800" dirty="0" smtClean="0">
                <a:solidFill>
                  <a:srgbClr val="FF0000"/>
                </a:solidFill>
                <a:latin typeface="微软雅黑" pitchFamily="34" charset="-122"/>
                <a:ea typeface="微软雅黑" pitchFamily="34" charset="-122"/>
                <a:sym typeface="微软雅黑" pitchFamily="34" charset="-122"/>
              </a:rPr>
              <a:t>谢谢！</a:t>
            </a:r>
          </a:p>
          <a:p>
            <a:endParaRPr lang="zh-CN" altLang="en-US" sz="3200"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338570900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3 </a:t>
            </a:r>
            <a:r>
              <a:rPr lang="zh-CN" altLang="en-US" dirty="0"/>
              <a:t>安全漏洞</a:t>
            </a:r>
            <a:r>
              <a:rPr lang="zh-CN" altLang="en-US" dirty="0" smtClean="0"/>
              <a:t>：危害等级划分</a:t>
            </a:r>
            <a:endParaRPr lang="zh-CN" altLang="en-US" dirty="0"/>
          </a:p>
        </p:txBody>
      </p:sp>
      <p:sp>
        <p:nvSpPr>
          <p:cNvPr id="3" name="内容占位符 2"/>
          <p:cNvSpPr>
            <a:spLocks noGrp="1"/>
          </p:cNvSpPr>
          <p:nvPr>
            <p:ph idx="1"/>
          </p:nvPr>
        </p:nvSpPr>
        <p:spPr/>
        <p:txBody>
          <a:bodyPr/>
          <a:lstStyle/>
          <a:p>
            <a:r>
              <a:rPr lang="zh-CN" altLang="zh-CN" dirty="0" smtClean="0"/>
              <a:t>危害</a:t>
            </a:r>
            <a:r>
              <a:rPr lang="zh-CN" altLang="zh-CN" dirty="0"/>
              <a:t>程度从低至高依次为：低危、中危、高危和超</a:t>
            </a:r>
            <a:r>
              <a:rPr lang="zh-CN" altLang="zh-CN" dirty="0" smtClean="0"/>
              <a:t>危</a:t>
            </a:r>
            <a:r>
              <a:rPr lang="zh-CN" altLang="en-US" dirty="0" smtClean="0"/>
              <a:t>。</a:t>
            </a:r>
            <a:endParaRPr lang="en-US" altLang="zh-CN" dirty="0" smtClean="0"/>
          </a:p>
          <a:p>
            <a:endParaRPr lang="en-US" altLang="zh-CN" dirty="0" smtClean="0"/>
          </a:p>
          <a:p>
            <a:pPr lvl="1"/>
            <a:endParaRPr lang="en-US" altLang="zh-CN" dirty="0" smtClean="0"/>
          </a:p>
        </p:txBody>
      </p:sp>
      <p:graphicFrame>
        <p:nvGraphicFramePr>
          <p:cNvPr id="6" name="图示 5"/>
          <p:cNvGraphicFramePr/>
          <p:nvPr>
            <p:extLst>
              <p:ext uri="{D42A27DB-BD31-4B8C-83A1-F6EECF244321}">
                <p14:modId xmlns:p14="http://schemas.microsoft.com/office/powerpoint/2010/main" val="3185282772"/>
              </p:ext>
            </p:extLst>
          </p:nvPr>
        </p:nvGraphicFramePr>
        <p:xfrm>
          <a:off x="1770862" y="1524932"/>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图片 3"/>
          <p:cNvPicPr>
            <a:picLocks noChangeAspect="1"/>
          </p:cNvPicPr>
          <p:nvPr/>
        </p:nvPicPr>
        <p:blipFill>
          <a:blip r:embed="rId8"/>
          <a:stretch>
            <a:fillRect/>
          </a:stretch>
        </p:blipFill>
        <p:spPr>
          <a:xfrm>
            <a:off x="272123" y="1204423"/>
            <a:ext cx="3468691" cy="4938211"/>
          </a:xfrm>
          <a:prstGeom prst="rect">
            <a:avLst/>
          </a:prstGeom>
        </p:spPr>
      </p:pic>
      <p:pic>
        <p:nvPicPr>
          <p:cNvPr id="5" name="图片 4"/>
          <p:cNvPicPr>
            <a:picLocks noChangeAspect="1"/>
          </p:cNvPicPr>
          <p:nvPr/>
        </p:nvPicPr>
        <p:blipFill>
          <a:blip r:embed="rId9"/>
          <a:stretch>
            <a:fillRect/>
          </a:stretch>
        </p:blipFill>
        <p:spPr>
          <a:xfrm>
            <a:off x="2664091" y="1127283"/>
            <a:ext cx="6351033" cy="5015351"/>
          </a:xfrm>
          <a:prstGeom prst="rect">
            <a:avLst/>
          </a:prstGeom>
        </p:spPr>
      </p:pic>
    </p:spTree>
    <p:extLst>
      <p:ext uri="{BB962C8B-B14F-4D97-AF65-F5344CB8AC3E}">
        <p14:creationId xmlns:p14="http://schemas.microsoft.com/office/powerpoint/2010/main" val="18054775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1.3 </a:t>
            </a:r>
            <a:r>
              <a:rPr lang="zh-CN" altLang="en-US" dirty="0" smtClean="0"/>
              <a:t>安全漏洞</a:t>
            </a:r>
            <a:endParaRPr lang="zh-CN" altLang="en-US" dirty="0"/>
          </a:p>
        </p:txBody>
      </p:sp>
      <p:sp>
        <p:nvSpPr>
          <p:cNvPr id="3" name="内容占位符 2"/>
          <p:cNvSpPr>
            <a:spLocks noGrp="1"/>
          </p:cNvSpPr>
          <p:nvPr>
            <p:ph idx="1"/>
          </p:nvPr>
        </p:nvSpPr>
        <p:spPr/>
        <p:txBody>
          <a:bodyPr/>
          <a:lstStyle/>
          <a:p>
            <a:r>
              <a:rPr lang="zh-CN" altLang="en-US" dirty="0"/>
              <a:t>漏洞平台</a:t>
            </a:r>
            <a:endParaRPr lang="en-US" altLang="zh-CN" dirty="0"/>
          </a:p>
          <a:p>
            <a:pPr lvl="1"/>
            <a:r>
              <a:rPr lang="zh-CN" altLang="en-US" dirty="0"/>
              <a:t>中国国家信息安全漏洞库：</a:t>
            </a:r>
            <a:r>
              <a:rPr lang="en-US" altLang="zh-CN" dirty="0"/>
              <a:t>http://www.cnnvd.org.cn/</a:t>
            </a:r>
          </a:p>
          <a:p>
            <a:pPr lvl="1"/>
            <a:r>
              <a:rPr lang="zh-CN" altLang="en-US" dirty="0"/>
              <a:t>美国国家漏洞库：</a:t>
            </a:r>
            <a:r>
              <a:rPr lang="en-US" altLang="zh-CN" dirty="0"/>
              <a:t>http://web.nvd.nist.gov</a:t>
            </a:r>
          </a:p>
          <a:p>
            <a:pPr lvl="1"/>
            <a:r>
              <a:rPr lang="zh-CN" altLang="en-US" dirty="0"/>
              <a:t>美国国家信息安全应急小组：</a:t>
            </a:r>
            <a:r>
              <a:rPr lang="en-US" altLang="zh-CN" dirty="0"/>
              <a:t>http://secunia.com</a:t>
            </a:r>
          </a:p>
          <a:p>
            <a:pPr lvl="1"/>
            <a:r>
              <a:rPr lang="zh-CN" altLang="en-US" dirty="0"/>
              <a:t>国际权威漏洞机构</a:t>
            </a:r>
            <a:r>
              <a:rPr lang="en-US" altLang="zh-CN" dirty="0" err="1"/>
              <a:t>Secunia</a:t>
            </a:r>
            <a:r>
              <a:rPr lang="zh-CN" altLang="en-US" dirty="0"/>
              <a:t>：</a:t>
            </a:r>
            <a:r>
              <a:rPr lang="en-US" altLang="zh-CN" dirty="0"/>
              <a:t>http://secunia.com </a:t>
            </a:r>
          </a:p>
          <a:p>
            <a:pPr lvl="1"/>
            <a:r>
              <a:rPr lang="zh-CN" altLang="en-US" dirty="0"/>
              <a:t>国际权威漏洞库</a:t>
            </a:r>
            <a:r>
              <a:rPr lang="en-US" altLang="zh-CN" dirty="0" err="1"/>
              <a:t>SecurityFocus</a:t>
            </a:r>
            <a:r>
              <a:rPr lang="zh-CN" altLang="en-US" dirty="0"/>
              <a:t>：</a:t>
            </a:r>
            <a:r>
              <a:rPr lang="en-US" altLang="zh-CN" dirty="0"/>
              <a:t>http://www.securityfocus.com</a:t>
            </a:r>
          </a:p>
          <a:p>
            <a:pPr lvl="1"/>
            <a:r>
              <a:rPr lang="en-US" altLang="zh-CN" dirty="0"/>
              <a:t>IBM</a:t>
            </a:r>
            <a:r>
              <a:rPr lang="zh-CN" altLang="en-US" dirty="0"/>
              <a:t>网络安全漏洞库</a:t>
            </a:r>
            <a:r>
              <a:rPr lang="en-US" altLang="zh-CN" dirty="0" err="1"/>
              <a:t>Xforce</a:t>
            </a:r>
            <a:r>
              <a:rPr lang="zh-CN" altLang="en-US" dirty="0"/>
              <a:t>：</a:t>
            </a:r>
            <a:r>
              <a:rPr lang="en-US" altLang="zh-CN" dirty="0"/>
              <a:t>http://xforce.iss.net </a:t>
            </a:r>
          </a:p>
          <a:p>
            <a:pPr lvl="1"/>
            <a:r>
              <a:rPr lang="zh-CN" altLang="en-US" dirty="0"/>
              <a:t>国际权威漏洞库</a:t>
            </a:r>
            <a:r>
              <a:rPr lang="en-US" altLang="zh-CN" dirty="0"/>
              <a:t>OSVDB</a:t>
            </a:r>
            <a:r>
              <a:rPr lang="zh-CN" altLang="en-US" dirty="0"/>
              <a:t>：</a:t>
            </a:r>
            <a:r>
              <a:rPr lang="en-US" altLang="zh-CN" dirty="0"/>
              <a:t>http://osvdb.org</a:t>
            </a:r>
          </a:p>
          <a:p>
            <a:pPr lvl="1"/>
            <a:r>
              <a:rPr lang="zh-CN" altLang="en-US" dirty="0"/>
              <a:t>俄罗斯知名安全实验室</a:t>
            </a:r>
            <a:r>
              <a:rPr lang="en-US" altLang="zh-CN" dirty="0"/>
              <a:t>SecurityLab.ru</a:t>
            </a:r>
            <a:r>
              <a:rPr lang="zh-CN" altLang="en-US" dirty="0"/>
              <a:t>：</a:t>
            </a:r>
            <a:r>
              <a:rPr lang="en-US" altLang="zh-CN" dirty="0"/>
              <a:t>http://en.securitylab.ru </a:t>
            </a:r>
          </a:p>
          <a:p>
            <a:pPr lvl="1"/>
            <a:r>
              <a:rPr lang="zh-CN" altLang="en-US" dirty="0"/>
              <a:t>国内权威漏洞库：</a:t>
            </a:r>
            <a:r>
              <a:rPr lang="en-US" altLang="zh-CN" dirty="0"/>
              <a:t>http://sebug.net </a:t>
            </a:r>
          </a:p>
          <a:p>
            <a:pPr lvl="1"/>
            <a:r>
              <a:rPr lang="zh-CN" altLang="en-US" dirty="0"/>
              <a:t>乌云：</a:t>
            </a:r>
            <a:r>
              <a:rPr lang="en-US" altLang="zh-CN" dirty="0"/>
              <a:t>http://www.wooyun.org/</a:t>
            </a:r>
          </a:p>
          <a:p>
            <a:pPr lvl="1"/>
            <a:r>
              <a:rPr lang="zh-CN" altLang="en-US" dirty="0"/>
              <a:t>补天：</a:t>
            </a:r>
            <a:r>
              <a:rPr lang="en-US" altLang="zh-CN" dirty="0"/>
              <a:t>http://loudong.360.cn/</a:t>
            </a:r>
          </a:p>
        </p:txBody>
      </p:sp>
    </p:spTree>
    <p:extLst>
      <p:ext uri="{BB962C8B-B14F-4D97-AF65-F5344CB8AC3E}">
        <p14:creationId xmlns:p14="http://schemas.microsoft.com/office/powerpoint/2010/main" val="107308580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1.4 </a:t>
            </a:r>
            <a:r>
              <a:rPr lang="zh-CN" altLang="en-US" dirty="0" smtClean="0"/>
              <a:t>问题</a:t>
            </a:r>
            <a:endParaRPr lang="zh-CN" altLang="en-US" dirty="0"/>
          </a:p>
        </p:txBody>
      </p:sp>
      <p:sp>
        <p:nvSpPr>
          <p:cNvPr id="3" name="内容占位符 2"/>
          <p:cNvSpPr>
            <a:spLocks noGrp="1"/>
          </p:cNvSpPr>
          <p:nvPr>
            <p:ph idx="1"/>
          </p:nvPr>
        </p:nvSpPr>
        <p:spPr/>
        <p:txBody>
          <a:bodyPr/>
          <a:lstStyle/>
          <a:p>
            <a:r>
              <a:rPr lang="zh-CN" altLang="en-US" dirty="0" smtClean="0"/>
              <a:t>问题：谈谈渗透测试和黑客入侵不同的地方？</a:t>
            </a:r>
            <a:endParaRPr lang="en-US" altLang="zh-CN" dirty="0"/>
          </a:p>
        </p:txBody>
      </p:sp>
      <p:graphicFrame>
        <p:nvGraphicFramePr>
          <p:cNvPr id="4" name="图示 3"/>
          <p:cNvGraphicFramePr/>
          <p:nvPr>
            <p:extLst>
              <p:ext uri="{D42A27DB-BD31-4B8C-83A1-F6EECF244321}">
                <p14:modId xmlns:p14="http://schemas.microsoft.com/office/powerpoint/2010/main" val="3761636866"/>
              </p:ext>
            </p:extLst>
          </p:nvPr>
        </p:nvGraphicFramePr>
        <p:xfrm>
          <a:off x="1902118" y="1874883"/>
          <a:ext cx="5254641" cy="24829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394972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中国石化汇报文档4比3A">
  <a:themeElements>
    <a:clrScheme name="资金业务培训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资金业务培训">
      <a:majorFont>
        <a:latin typeface="Arial"/>
        <a:ea typeface="黑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spPr>
      <a:bodyPr vert="horz" wrap="square" lIns="91440" tIns="45720" rIns="91440" bIns="45720" numCol="1" rtlCol="0" anchor="t" anchorCtr="0" compatLnSpc="1">
        <a:prstTxWarp prst="textNoShape">
          <a:avLst/>
        </a:prstTxWarp>
      </a:bodyPr>
      <a:lstStyle>
        <a:defPPr algn="ctr">
          <a:defRPr dirty="0" smtClean="0">
            <a:ln>
              <a:solidFill>
                <a:srgbClr val="FF0000"/>
              </a:solidFill>
            </a:ln>
          </a:defRPr>
        </a:defPPr>
      </a:lstStyle>
    </a:spDef>
    <a:lnDef>
      <a:spPr bwMode="auto">
        <a:solidFill>
          <a:srgbClr val="009999">
            <a:alpha val="39999"/>
          </a:srgbClr>
        </a:solidFill>
        <a:ln w="38100" cap="flat" cmpd="sng" algn="ctr">
          <a:solidFill>
            <a:schemeClr val="tx1"/>
          </a:solidFill>
          <a:prstDash val="solid"/>
          <a:round/>
          <a:headEnd type="none" w="med" len="med"/>
          <a:tailEnd type="none"/>
        </a:ln>
        <a:effectLst/>
      </a:spPr>
      <a:bodyPr/>
      <a:lstStyle/>
    </a:lnDef>
  </a:objectDefaults>
  <a:extraClrSchemeLst>
    <a:extraClrScheme>
      <a:clrScheme name="资金业务培训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资金业务培训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资金业务培训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资金业务培训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资金业务培训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资金业务培训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资金业务培训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资金业务培训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资金业务培训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资金业务培训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资金业务培训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资金业务培训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中国石化汇报文档4比3A" id="{2277959A-B48E-40D7-A66A-4B062BF1EEFE}" vid="{B6E9453D-DFC8-440C-A635-2F9FDBD8EFE9}"/>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636</Words>
  <Application>Microsoft Office PowerPoint</Application>
  <PresentationFormat>全屏显示(4:3)</PresentationFormat>
  <Paragraphs>633</Paragraphs>
  <Slides>60</Slides>
  <Notes>39</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60</vt:i4>
      </vt:variant>
    </vt:vector>
  </HeadingPairs>
  <TitlesOfParts>
    <vt:vector size="72" baseType="lpstr">
      <vt:lpstr>黑体</vt:lpstr>
      <vt:lpstr>华文楷体</vt:lpstr>
      <vt:lpstr>楷体</vt:lpstr>
      <vt:lpstr>宋体</vt:lpstr>
      <vt:lpstr>微软雅黑</vt:lpstr>
      <vt:lpstr>Arial</vt:lpstr>
      <vt:lpstr>Calibri</vt:lpstr>
      <vt:lpstr>Times New Roman</vt:lpstr>
      <vt:lpstr>Verdana</vt:lpstr>
      <vt:lpstr>Wingdings</vt:lpstr>
      <vt:lpstr>中国石化汇报文档4比3A</vt:lpstr>
      <vt:lpstr>think-cell Slide</vt:lpstr>
      <vt:lpstr>课程内容介绍</vt:lpstr>
      <vt:lpstr>目录</vt:lpstr>
      <vt:lpstr>1.1 渗透测试：基本概念</vt:lpstr>
      <vt:lpstr>1.1 渗透测试：实施方式</vt:lpstr>
      <vt:lpstr>1.2 黑客入侵：基本概念</vt:lpstr>
      <vt:lpstr>1.3 安全漏洞：基本概念</vt:lpstr>
      <vt:lpstr>1.3 安全漏洞：危害等级划分</vt:lpstr>
      <vt:lpstr>1.3 安全漏洞</vt:lpstr>
      <vt:lpstr>1.4 问题</vt:lpstr>
      <vt:lpstr>1.5 小结</vt:lpstr>
      <vt:lpstr>目录</vt:lpstr>
      <vt:lpstr>2.1 渗透测试执行标准来源</vt:lpstr>
      <vt:lpstr>2.2 渗透测试执行标准七个阶段</vt:lpstr>
      <vt:lpstr>2.3 渗透执行标准分解：前期交互阶段</vt:lpstr>
      <vt:lpstr>2.3 渗透执行标准分解：情报搜集阶段</vt:lpstr>
      <vt:lpstr>2.3 渗透执行标准分解：威胁建模阶段</vt:lpstr>
      <vt:lpstr>2.3 渗透执行标准分解：漏洞分析阶段</vt:lpstr>
      <vt:lpstr>2.3 渗透执行标准分解：渗透攻击阶段</vt:lpstr>
      <vt:lpstr>2.3 渗透执行标准分解：后渗透攻击阶段</vt:lpstr>
      <vt:lpstr>2.3 渗透执行标准分解：报告阶段</vt:lpstr>
      <vt:lpstr>2.4 问题</vt:lpstr>
      <vt:lpstr>2.5 小结</vt:lpstr>
      <vt:lpstr>目录</vt:lpstr>
      <vt:lpstr>3.1 问题：为什么要了解黑客入侵的行为轨迹？</vt:lpstr>
      <vt:lpstr>3.2 行为轨迹：三个阶段</vt:lpstr>
      <vt:lpstr>3.3 明确目标</vt:lpstr>
      <vt:lpstr>3.3 明确目标：入侵企图</vt:lpstr>
      <vt:lpstr>3.4 控制目标</vt:lpstr>
      <vt:lpstr>3.4 控制目标：嗅探踩点</vt:lpstr>
      <vt:lpstr>3.4 控制目标：精准定位</vt:lpstr>
      <vt:lpstr>3.4 控制目标：精准定位—入侵环境</vt:lpstr>
      <vt:lpstr>3.4 控制目标：入侵环境和嗅探踩点</vt:lpstr>
      <vt:lpstr>3.4 控制目标：精确打击</vt:lpstr>
      <vt:lpstr>3.4 控制目标：漏洞利用—不同层面的安全漏洞</vt:lpstr>
      <vt:lpstr>3.4 控制目标：漏洞利用—技术层面常见的漏洞对象</vt:lpstr>
      <vt:lpstr>3.4 控制目标：漏洞利用—技术层面—应用程序安全漏洞</vt:lpstr>
      <vt:lpstr>3.4 控制目标：漏洞利用—技术层面—应用程序安全漏洞</vt:lpstr>
      <vt:lpstr>3.4 控制目标：漏洞利用—技术层面—网络漏洞</vt:lpstr>
      <vt:lpstr>3.4 控制目标：漏洞利用—技术层面—操作系统漏洞</vt:lpstr>
      <vt:lpstr>3.4 控制目标：漏洞利用—技术层面—数据库漏洞</vt:lpstr>
      <vt:lpstr>3.4 控制目标：漏洞利用—技术层面—中间件漏洞</vt:lpstr>
      <vt:lpstr>3.4 控制目标：漏洞利用—人员层面—意识漏洞</vt:lpstr>
      <vt:lpstr>3.4 控制目标：漏洞利用—管理层面的漏洞</vt:lpstr>
      <vt:lpstr>3.5 收割撤退</vt:lpstr>
      <vt:lpstr>3.5 收割撤退：收割战果</vt:lpstr>
      <vt:lpstr>3.5 收割撤退：收割战果—既得战果—收割转移</vt:lpstr>
      <vt:lpstr>3.5 收割撤退：收割战果—伏击未来</vt:lpstr>
      <vt:lpstr>3.5 收割撤退：撤退清痕</vt:lpstr>
      <vt:lpstr>3.5 收割撤退：撤退清痕—清除痕迹</vt:lpstr>
      <vt:lpstr>3.5 收割撤退：撤退清痕—清除权限、装备</vt:lpstr>
      <vt:lpstr>3.6 攻击工具</vt:lpstr>
      <vt:lpstr>3.7 问题解答：为什么要了解黑客入侵的行为轨迹？</vt:lpstr>
      <vt:lpstr>3.8 小结</vt:lpstr>
      <vt:lpstr>目录</vt:lpstr>
      <vt:lpstr>4.1 课程回顾</vt:lpstr>
      <vt:lpstr>4.1 课程回顾：基本概念</vt:lpstr>
      <vt:lpstr>4.1 课程回顾：渗透测试执行标准</vt:lpstr>
      <vt:lpstr>4.1 课程回顾：黑客入侵的行为轨迹</vt:lpstr>
      <vt:lpstr>4.2 后续课程</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7-27T07:14:41Z</dcterms:created>
  <dcterms:modified xsi:type="dcterms:W3CDTF">2018-06-13T04:50:50Z</dcterms:modified>
</cp:coreProperties>
</file>